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748" r:id="rId4"/>
  </p:sldMasterIdLst>
  <p:notesMasterIdLst>
    <p:notesMasterId r:id="rId81"/>
  </p:notesMasterIdLst>
  <p:handoutMasterIdLst>
    <p:handoutMasterId r:id="rId82"/>
  </p:handoutMasterIdLst>
  <p:sldIdLst>
    <p:sldId id="1457" r:id="rId5"/>
    <p:sldId id="1458" r:id="rId6"/>
    <p:sldId id="1459" r:id="rId7"/>
    <p:sldId id="1460" r:id="rId8"/>
    <p:sldId id="1461" r:id="rId9"/>
    <p:sldId id="1462" r:id="rId10"/>
    <p:sldId id="1463" r:id="rId11"/>
    <p:sldId id="1464" r:id="rId12"/>
    <p:sldId id="1465" r:id="rId13"/>
    <p:sldId id="1466" r:id="rId14"/>
    <p:sldId id="1467" r:id="rId15"/>
    <p:sldId id="1468" r:id="rId16"/>
    <p:sldId id="1544" r:id="rId17"/>
    <p:sldId id="1532" r:id="rId18"/>
    <p:sldId id="1545" r:id="rId19"/>
    <p:sldId id="1546" r:id="rId20"/>
    <p:sldId id="1548" r:id="rId21"/>
    <p:sldId id="1481" r:id="rId22"/>
    <p:sldId id="1482" r:id="rId23"/>
    <p:sldId id="1520" r:id="rId24"/>
    <p:sldId id="1519" r:id="rId25"/>
    <p:sldId id="1486" r:id="rId26"/>
    <p:sldId id="1549" r:id="rId27"/>
    <p:sldId id="1550" r:id="rId28"/>
    <p:sldId id="1551" r:id="rId29"/>
    <p:sldId id="260" r:id="rId30"/>
    <p:sldId id="1679" r:id="rId31"/>
    <p:sldId id="607" r:id="rId32"/>
    <p:sldId id="608" r:id="rId33"/>
    <p:sldId id="609" r:id="rId34"/>
    <p:sldId id="263" r:id="rId35"/>
    <p:sldId id="271" r:id="rId36"/>
    <p:sldId id="272" r:id="rId37"/>
    <p:sldId id="275" r:id="rId38"/>
    <p:sldId id="277" r:id="rId39"/>
    <p:sldId id="278" r:id="rId40"/>
    <p:sldId id="283" r:id="rId41"/>
    <p:sldId id="306" r:id="rId42"/>
    <p:sldId id="308" r:id="rId43"/>
    <p:sldId id="258" r:id="rId44"/>
    <p:sldId id="259" r:id="rId45"/>
    <p:sldId id="294" r:id="rId46"/>
    <p:sldId id="296" r:id="rId47"/>
    <p:sldId id="276" r:id="rId48"/>
    <p:sldId id="1565" r:id="rId49"/>
    <p:sldId id="1678" r:id="rId50"/>
    <p:sldId id="1573" r:id="rId51"/>
    <p:sldId id="309" r:id="rId52"/>
    <p:sldId id="313" r:id="rId53"/>
    <p:sldId id="317" r:id="rId54"/>
    <p:sldId id="1675" r:id="rId55"/>
    <p:sldId id="305" r:id="rId56"/>
    <p:sldId id="321" r:id="rId57"/>
    <p:sldId id="320" r:id="rId58"/>
    <p:sldId id="1572" r:id="rId59"/>
    <p:sldId id="322" r:id="rId60"/>
    <p:sldId id="323" r:id="rId61"/>
    <p:sldId id="1578" r:id="rId62"/>
    <p:sldId id="1676" r:id="rId63"/>
    <p:sldId id="1568" r:id="rId64"/>
    <p:sldId id="1677" r:id="rId65"/>
    <p:sldId id="303" r:id="rId66"/>
    <p:sldId id="404" r:id="rId67"/>
    <p:sldId id="415" r:id="rId68"/>
    <p:sldId id="1569" r:id="rId69"/>
    <p:sldId id="1583" r:id="rId70"/>
    <p:sldId id="1662" r:id="rId71"/>
    <p:sldId id="1585" r:id="rId72"/>
    <p:sldId id="1663" r:id="rId73"/>
    <p:sldId id="1667" r:id="rId74"/>
    <p:sldId id="1668" r:id="rId75"/>
    <p:sldId id="1670" r:id="rId76"/>
    <p:sldId id="1674" r:id="rId77"/>
    <p:sldId id="1672" r:id="rId78"/>
    <p:sldId id="1592" r:id="rId79"/>
    <p:sldId id="1536" r:id="rId8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6730DDBF-00EE-4CBA-AF07-06D326EC6FB4}">
          <p14:sldIdLst>
            <p14:sldId id="1457"/>
            <p14:sldId id="1458"/>
          </p14:sldIdLst>
        </p14:section>
        <p14:section name="Migration planning" id="{ED0D465E-FB65-4B06-9D20-DB88FAA3B2E3}">
          <p14:sldIdLst>
            <p14:sldId id="1459"/>
            <p14:sldId id="1460"/>
            <p14:sldId id="1461"/>
            <p14:sldId id="1462"/>
            <p14:sldId id="1463"/>
            <p14:sldId id="1464"/>
            <p14:sldId id="1465"/>
            <p14:sldId id="1466"/>
          </p14:sldIdLst>
        </p14:section>
        <p14:section name="CSP fundamentals" id="{68BD2375-E6C8-4482-8E11-A4A2CAEEE6BC}">
          <p14:sldIdLst>
            <p14:sldId id="1467"/>
            <p14:sldId id="1468"/>
            <p14:sldId id="1544"/>
            <p14:sldId id="1532"/>
            <p14:sldId id="1545"/>
            <p14:sldId id="1546"/>
            <p14:sldId id="1548"/>
            <p14:sldId id="1481"/>
            <p14:sldId id="1482"/>
            <p14:sldId id="1520"/>
            <p14:sldId id="1519"/>
            <p14:sldId id="1486"/>
            <p14:sldId id="1549"/>
          </p14:sldIdLst>
        </p14:section>
        <p14:section name="Azure IaaS" id="{82991526-627B-437E-90DD-030D0DD01FC1}">
          <p14:sldIdLst>
            <p14:sldId id="1550"/>
            <p14:sldId id="1551"/>
            <p14:sldId id="260"/>
            <p14:sldId id="1679"/>
            <p14:sldId id="607"/>
            <p14:sldId id="608"/>
            <p14:sldId id="609"/>
            <p14:sldId id="263"/>
            <p14:sldId id="271"/>
            <p14:sldId id="272"/>
            <p14:sldId id="275"/>
            <p14:sldId id="277"/>
            <p14:sldId id="278"/>
            <p14:sldId id="283"/>
            <p14:sldId id="306"/>
            <p14:sldId id="308"/>
            <p14:sldId id="258"/>
            <p14:sldId id="259"/>
            <p14:sldId id="294"/>
            <p14:sldId id="296"/>
            <p14:sldId id="276"/>
          </p14:sldIdLst>
        </p14:section>
        <p14:section name="Azure Database Services" id="{1F51C4A7-72D8-4F3F-A96D-E9F2B626D057}">
          <p14:sldIdLst>
            <p14:sldId id="1565"/>
            <p14:sldId id="1678"/>
            <p14:sldId id="1573"/>
            <p14:sldId id="309"/>
            <p14:sldId id="313"/>
            <p14:sldId id="317"/>
            <p14:sldId id="1675"/>
            <p14:sldId id="305"/>
            <p14:sldId id="321"/>
            <p14:sldId id="320"/>
            <p14:sldId id="1572"/>
            <p14:sldId id="322"/>
            <p14:sldId id="323"/>
            <p14:sldId id="1578"/>
            <p14:sldId id="1676"/>
            <p14:sldId id="1568"/>
            <p14:sldId id="1677"/>
            <p14:sldId id="303"/>
            <p14:sldId id="404"/>
            <p14:sldId id="415"/>
            <p14:sldId id="1569"/>
          </p14:sldIdLst>
        </p14:section>
        <p14:section name="Migration technics" id="{D37139E6-0A56-4A91-ADD1-15AB80890C49}">
          <p14:sldIdLst>
            <p14:sldId id="1583"/>
            <p14:sldId id="1662"/>
            <p14:sldId id="1585"/>
          </p14:sldIdLst>
        </p14:section>
        <p14:section name="Migration Assessment" id="{49B624D4-0B52-44D8-8816-3A49A9E58F65}">
          <p14:sldIdLst>
            <p14:sldId id="1663"/>
            <p14:sldId id="1667"/>
            <p14:sldId id="1668"/>
            <p14:sldId id="1670"/>
            <p14:sldId id="1674"/>
            <p14:sldId id="1672"/>
          </p14:sldIdLst>
        </p14:section>
        <p14:section name="Final slides" id="{74EF2C84-98B9-411B-99DB-212573EED568}">
          <p14:sldIdLst>
            <p14:sldId id="1592"/>
            <p14:sldId id="153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2050"/>
    <a:srgbClr val="E6E6E6"/>
    <a:srgbClr val="0078D7"/>
    <a:srgbClr val="00317B"/>
    <a:srgbClr val="737373"/>
    <a:srgbClr val="525252"/>
    <a:srgbClr val="B4009E"/>
    <a:srgbClr val="E3008C"/>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6" autoAdjust="0"/>
    <p:restoredTop sz="90132" autoAdjust="0"/>
  </p:normalViewPr>
  <p:slideViewPr>
    <p:cSldViewPr snapToGrid="0">
      <p:cViewPr varScale="1">
        <p:scale>
          <a:sx n="95" d="100"/>
          <a:sy n="95" d="100"/>
        </p:scale>
        <p:origin x="54" y="273"/>
      </p:cViewPr>
      <p:guideLst/>
    </p:cSldViewPr>
  </p:slideViewPr>
  <p:notesTextViewPr>
    <p:cViewPr>
      <p:scale>
        <a:sx n="3" d="2"/>
        <a:sy n="3" d="2"/>
      </p:scale>
      <p:origin x="0" y="0"/>
    </p:cViewPr>
  </p:notesTextViewPr>
  <p:sorterViewPr>
    <p:cViewPr>
      <p:scale>
        <a:sx n="33" d="100"/>
        <a:sy n="33" d="100"/>
      </p:scale>
      <p:origin x="0" y="-1354"/>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handoutMaster" Target="handoutMasters/handoutMaster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notesMaster" Target="notesMasters/notesMaster1.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657189403048757E-2"/>
          <c:y val="2.4907689552910894E-2"/>
          <c:w val="0.93468581513517712"/>
          <c:h val="0.94520308298359601"/>
        </c:manualLayout>
      </c:layout>
      <c:pieChart>
        <c:varyColors val="1"/>
        <c:ser>
          <c:idx val="0"/>
          <c:order val="0"/>
          <c:spPr>
            <a:ln w="6350">
              <a:noFill/>
            </a:ln>
          </c:spPr>
          <c:dPt>
            <c:idx val="0"/>
            <c:bubble3D val="0"/>
            <c:spPr>
              <a:solidFill>
                <a:srgbClr val="002050"/>
              </a:solidFill>
              <a:ln w="6350">
                <a:noFill/>
              </a:ln>
              <a:effectLst/>
            </c:spPr>
            <c:extLst>
              <c:ext xmlns:c16="http://schemas.microsoft.com/office/drawing/2014/chart" uri="{C3380CC4-5D6E-409C-BE32-E72D297353CC}">
                <c16:uniqueId val="{00000001-3CA4-4C89-9D54-EADC986E376D}"/>
              </c:ext>
            </c:extLst>
          </c:dPt>
          <c:dPt>
            <c:idx val="1"/>
            <c:bubble3D val="0"/>
            <c:spPr>
              <a:solidFill>
                <a:srgbClr val="00BCF2"/>
              </a:solidFill>
              <a:ln w="6350">
                <a:noFill/>
              </a:ln>
              <a:effectLst/>
            </c:spPr>
            <c:extLst>
              <c:ext xmlns:c16="http://schemas.microsoft.com/office/drawing/2014/chart" uri="{C3380CC4-5D6E-409C-BE32-E72D297353CC}">
                <c16:uniqueId val="{00000003-3CA4-4C89-9D54-EADC986E376D}"/>
              </c:ext>
            </c:extLst>
          </c:dPt>
          <c:dPt>
            <c:idx val="2"/>
            <c:bubble3D val="0"/>
            <c:spPr>
              <a:solidFill>
                <a:srgbClr val="0078D7"/>
              </a:solidFill>
              <a:ln w="6350">
                <a:noFill/>
              </a:ln>
              <a:effectLst/>
            </c:spPr>
            <c:extLst>
              <c:ext xmlns:c16="http://schemas.microsoft.com/office/drawing/2014/chart" uri="{C3380CC4-5D6E-409C-BE32-E72D297353CC}">
                <c16:uniqueId val="{00000005-3CA4-4C89-9D54-EADC986E376D}"/>
              </c:ext>
            </c:extLst>
          </c:dPt>
          <c:cat>
            <c:strRef>
              <c:f>Sheet2!$A$1:$C$1</c:f>
              <c:strCache>
                <c:ptCount val="3"/>
                <c:pt idx="0">
                  <c:v>I would prefer running the latest version of SQL Server</c:v>
                </c:pt>
                <c:pt idx="1">
                  <c:v>I must run my application using the same version of SQL as on-premises or in SQL VMs</c:v>
                </c:pt>
                <c:pt idx="2">
                  <c:v>Indifferent</c:v>
                </c:pt>
              </c:strCache>
            </c:strRef>
          </c:cat>
          <c:val>
            <c:numRef>
              <c:f>Sheet2!$A$2:$C$2</c:f>
              <c:numCache>
                <c:formatCode>General</c:formatCode>
                <c:ptCount val="3"/>
                <c:pt idx="0">
                  <c:v>114</c:v>
                </c:pt>
                <c:pt idx="1">
                  <c:v>13</c:v>
                </c:pt>
                <c:pt idx="2">
                  <c:v>14</c:v>
                </c:pt>
              </c:numCache>
            </c:numRef>
          </c:val>
          <c:extLst>
            <c:ext xmlns:c16="http://schemas.microsoft.com/office/drawing/2014/chart" uri="{C3380CC4-5D6E-409C-BE32-E72D297353CC}">
              <c16:uniqueId val="{00000006-3CA4-4C89-9D54-EADC986E376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600" baseline="0"/>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2" Type="http://schemas.openxmlformats.org/officeDocument/2006/relationships/image" Target="../media/image101.emf"/><Relationship Id="rId1" Type="http://schemas.openxmlformats.org/officeDocument/2006/relationships/image" Target="../media/image100.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image" Target="../media/image105.emf"/><Relationship Id="rId1" Type="http://schemas.openxmlformats.org/officeDocument/2006/relationships/image" Target="../media/image104.emf"/><Relationship Id="rId4" Type="http://schemas.openxmlformats.org/officeDocument/2006/relationships/image" Target="../media/image107.emf"/></Relationships>
</file>

<file path=ppt/drawings/_rels/vmlDrawing3.vml.rels><?xml version="1.0" encoding="UTF-8" standalone="yes"?>
<Relationships xmlns="http://schemas.openxmlformats.org/package/2006/relationships"><Relationship Id="rId8" Type="http://schemas.openxmlformats.org/officeDocument/2006/relationships/image" Target="../media/image116.emf"/><Relationship Id="rId3" Type="http://schemas.openxmlformats.org/officeDocument/2006/relationships/image" Target="../media/image111.emf"/><Relationship Id="rId7" Type="http://schemas.openxmlformats.org/officeDocument/2006/relationships/image" Target="../media/image115.emf"/><Relationship Id="rId2" Type="http://schemas.openxmlformats.org/officeDocument/2006/relationships/image" Target="../media/image110.emf"/><Relationship Id="rId1" Type="http://schemas.openxmlformats.org/officeDocument/2006/relationships/image" Target="../media/image109.emf"/><Relationship Id="rId6" Type="http://schemas.openxmlformats.org/officeDocument/2006/relationships/image" Target="../media/image114.emf"/><Relationship Id="rId5" Type="http://schemas.openxmlformats.org/officeDocument/2006/relationships/image" Target="../media/image113.emf"/><Relationship Id="rId4" Type="http://schemas.openxmlformats.org/officeDocument/2006/relationships/image" Target="../media/image112.emf"/><Relationship Id="rId9" Type="http://schemas.openxmlformats.org/officeDocument/2006/relationships/image" Target="../media/image1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77F5F5C-3124-48E9-B6C7-8A079B7D71F5}" type="datetime8">
              <a:rPr lang="en-US" smtClean="0">
                <a:latin typeface="Segoe UI" pitchFamily="34" charset="0"/>
              </a:rPr>
              <a:t>6/7/2018 19:24</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9C601B9-5273-467A-8E48-EC9939578C8F}" type="datetime8">
              <a:rPr lang="en-US" smtClean="0"/>
              <a:t>6/7/2018 19:24</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azure.microsoft.com/en-us/blog/nested-virtualization-in-azure/" TargetMode="External"/><Relationship Id="rId13" Type="http://schemas.openxmlformats.org/officeDocument/2006/relationships/hyperlink" Target="https://www.intel.com/content/www/us/en/processors/xeon/scalable/xeon-scalable-platform.html" TargetMode="External"/><Relationship Id="rId3" Type="http://schemas.openxmlformats.org/officeDocument/2006/relationships/hyperlink" Target="https://azure.microsoft.com/en-us/blog/azure-m-series-vms-are-now-sap-hana-certified/" TargetMode="External"/><Relationship Id="rId7" Type="http://schemas.openxmlformats.org/officeDocument/2006/relationships/hyperlink" Target="https://azure.microsoft.com/en-us/blog/ncv3-vms-generally-available-other-gpus-expanding-regions/" TargetMode="External"/><Relationship Id="rId12" Type="http://schemas.openxmlformats.org/officeDocument/2006/relationships/hyperlink" Target="https://aka.ms/azurenvblog"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azure.microsoft.com/en-us/services/virtual-machines/data-science-virtual-machines/" TargetMode="External"/><Relationship Id="rId11" Type="http://schemas.openxmlformats.org/officeDocument/2006/relationships/hyperlink" Target="https://docs.microsoft.com/en-us/azure/virtual-machines/windows/sizes-storage" TargetMode="External"/><Relationship Id="rId5" Type="http://schemas.openxmlformats.org/officeDocument/2006/relationships/hyperlink" Target="https://azure.microsoft.com/en-us/services/batch-ai/" TargetMode="External"/><Relationship Id="rId10" Type="http://schemas.openxmlformats.org/officeDocument/2006/relationships/hyperlink" Target="https://docs.microsoft.com/en-us/azure/virtual-machines/windows/sizes-compute" TargetMode="External"/><Relationship Id="rId4" Type="http://schemas.openxmlformats.org/officeDocument/2006/relationships/hyperlink" Target="https://azure.microsoft.com/en-us/services/batch/" TargetMode="External"/><Relationship Id="rId9" Type="http://schemas.openxmlformats.org/officeDocument/2006/relationships/hyperlink" Target="https://docs.microsoft.com/en-us/azure/virtual-machines/windows/sizes-memory" TargetMode="External"/><Relationship Id="rId14" Type="http://schemas.openxmlformats.org/officeDocument/2006/relationships/hyperlink" Target="https://go.microsoft.com/fwlink/?LinkId=692100&amp;clcid=0x409"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ka.ms/azurenvblog"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www.intel.com/content/www/us/en/processors/xeon/scalable/xeon-scalable-platform.html" TargetMode="Externa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go.microsoft.com/fwlink/?LinkId=692100&amp;clcid=0x409" TargetMode="External"/><Relationship Id="rId3" Type="http://schemas.openxmlformats.org/officeDocument/2006/relationships/hyperlink" Target="https://azure.microsoft.com/en-us/services/batch/" TargetMode="External"/><Relationship Id="rId7" Type="http://schemas.openxmlformats.org/officeDocument/2006/relationships/hyperlink" Target="https://azure.microsoft.com/en-us/blog/azure-m-series-vms-are-now-sap-hana-certified/" TargetMode="External"/><Relationship Id="rId2" Type="http://schemas.openxmlformats.org/officeDocument/2006/relationships/slide" Target="../slides/slide30.xml"/><Relationship Id="rId1" Type="http://schemas.openxmlformats.org/officeDocument/2006/relationships/notesMaster" Target="../notesMasters/notesMaster1.xml"/><Relationship Id="rId6" Type="http://schemas.openxmlformats.org/officeDocument/2006/relationships/hyperlink" Target="https://azure.microsoft.com/en-us/blog/ncv3-vms-generally-available-other-gpus-expanding-regions/" TargetMode="External"/><Relationship Id="rId5" Type="http://schemas.openxmlformats.org/officeDocument/2006/relationships/hyperlink" Target="https://azure.microsoft.com/en-us/services/virtual-machines/data-science-virtual-machines/" TargetMode="External"/><Relationship Id="rId4" Type="http://schemas.openxmlformats.org/officeDocument/2006/relationships/hyperlink" Target="https://azure.microsoft.com/en-us/services/batch-ai/"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6/7/2018 19:24</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0693415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7/2018 19:24</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4424251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23</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44E7DB0-0DD3-4EE3-9DF8-94AC5CA393B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18 19: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19599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18 19:24</a:t>
            </a:fld>
            <a:endParaRPr kumimoji="0" lang="en-US" alt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alt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59477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018 19:24</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9521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018 19:24</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75322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18 19: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56501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018 19: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33435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kern="0">
                <a:gradFill>
                  <a:gsLst>
                    <a:gs pos="0">
                      <a:srgbClr val="FFFFFF"/>
                    </a:gs>
                    <a:gs pos="100000">
                      <a:srgbClr val="FFFFFF"/>
                    </a:gs>
                  </a:gsLst>
                  <a:lin ang="5400000" scaled="0"/>
                </a:gradFill>
                <a:latin typeface="Segoe UI"/>
                <a:ea typeface="Segoe UI" pitchFamily="34" charset="0"/>
                <a:cs typeface="Segoe UI" pitchFamily="34" charset="0"/>
              </a:rPr>
              <a:t>These are all the component pieces of Azure’s networking infrastructure</a:t>
            </a:r>
          </a:p>
          <a:p>
            <a:endParaRPr lang="en-US"/>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7/2018 19: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1468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aseline="0" dirty="0"/>
              <a:t>AZURE STORAGE SERVICES</a:t>
            </a:r>
          </a:p>
          <a:p>
            <a:pPr marL="171450" indent="-171450">
              <a:buFont typeface="Arial" panose="020B0604020202020204" pitchFamily="34" charset="0"/>
              <a:buChar char="•"/>
            </a:pPr>
            <a:r>
              <a:rPr lang="en-US" baseline="0" dirty="0"/>
              <a:t>We can break them out broadly into the </a:t>
            </a:r>
            <a:r>
              <a:rPr lang="en-US" b="1" baseline="0" dirty="0"/>
              <a:t>2 deployment models</a:t>
            </a:r>
            <a:r>
              <a:rPr lang="en-US" baseline="0" dirty="0"/>
              <a:t>, </a:t>
            </a:r>
            <a:r>
              <a:rPr lang="en-US" b="1" baseline="0" dirty="0"/>
              <a:t>IaaS</a:t>
            </a:r>
            <a:r>
              <a:rPr lang="en-US" baseline="0" dirty="0"/>
              <a:t> where you’re running your own infrastructure or </a:t>
            </a:r>
            <a:r>
              <a:rPr lang="en-US" b="1" baseline="0" dirty="0"/>
              <a:t>PaaS</a:t>
            </a:r>
            <a:r>
              <a:rPr lang="en-US" baseline="0" dirty="0"/>
              <a:t> where you are using </a:t>
            </a:r>
            <a:r>
              <a:rPr lang="en-US" b="1" baseline="0" dirty="0"/>
              <a:t>higher level services and applications</a:t>
            </a:r>
            <a:r>
              <a:rPr lang="en-US" baseline="0" dirty="0"/>
              <a:t> which are developed against the public cloud infrastructure. </a:t>
            </a:r>
          </a:p>
          <a:p>
            <a:pPr marL="171450" indent="-171450">
              <a:buFont typeface="Arial" panose="020B0604020202020204" pitchFamily="34" charset="0"/>
              <a:buChar char="•"/>
            </a:pPr>
            <a:r>
              <a:rPr lang="en-US" baseline="0" dirty="0"/>
              <a:t>On the </a:t>
            </a:r>
            <a:r>
              <a:rPr lang="en-US" b="1" baseline="0" dirty="0"/>
              <a:t>Infrastructure side (IaaS)</a:t>
            </a:r>
            <a:r>
              <a:rPr lang="en-US" baseline="0" dirty="0"/>
              <a:t> we provide DISKS and FILES, </a:t>
            </a:r>
            <a:r>
              <a:rPr lang="en-US" b="1" baseline="0" dirty="0"/>
              <a:t>Disks are single instance Disks which are attached to VMs</a:t>
            </a:r>
            <a:r>
              <a:rPr lang="en-US" baseline="0" dirty="0"/>
              <a:t>. There are two flavors, Standard and Premium. And </a:t>
            </a:r>
            <a:r>
              <a:rPr lang="en-US" b="1" baseline="0" dirty="0"/>
              <a:t>Files are shared storage over SMB</a:t>
            </a:r>
            <a:r>
              <a:rPr lang="en-US" baseline="0" dirty="0"/>
              <a:t>. Both of these are provided as </a:t>
            </a:r>
            <a:r>
              <a:rPr lang="en-US" b="1" baseline="0" dirty="0"/>
              <a:t>services to your VMs</a:t>
            </a:r>
            <a:r>
              <a:rPr lang="en-US" baseline="0" dirty="0"/>
              <a:t>. </a:t>
            </a:r>
          </a:p>
          <a:p>
            <a:pPr marL="171450" indent="-171450">
              <a:buFont typeface="Arial" panose="020B0604020202020204" pitchFamily="34" charset="0"/>
              <a:buChar char="•"/>
            </a:pPr>
            <a:r>
              <a:rPr lang="en-US" baseline="0" dirty="0"/>
              <a:t>For PaaS we have three core objects which are Objects, Tables and Queues. </a:t>
            </a:r>
          </a:p>
          <a:p>
            <a:pPr marL="171450" indent="-171450">
              <a:buFont typeface="Arial" panose="020B0604020202020204" pitchFamily="34" charset="0"/>
              <a:buChar char="•"/>
            </a:pPr>
            <a:r>
              <a:rPr lang="en-US" baseline="0" dirty="0"/>
              <a:t>Our </a:t>
            </a:r>
            <a:r>
              <a:rPr lang="en-US" b="1" baseline="0" dirty="0"/>
              <a:t>unstructured Object Store (or Blob Storage) offers Exabyte scale and the ability to store trillions of objects across different tiers</a:t>
            </a:r>
            <a:r>
              <a:rPr lang="en-US" baseline="0" dirty="0"/>
              <a:t>. Our current tiers are </a:t>
            </a:r>
            <a:r>
              <a:rPr lang="en-US" b="1" baseline="0" dirty="0"/>
              <a:t>Hot storage </a:t>
            </a:r>
            <a:r>
              <a:rPr lang="en-US" baseline="0" dirty="0"/>
              <a:t>for higher performance and frequently accessed data and </a:t>
            </a:r>
            <a:r>
              <a:rPr lang="en-US" b="1" baseline="0" dirty="0"/>
              <a:t>Cool storage </a:t>
            </a:r>
            <a:r>
              <a:rPr lang="en-US" baseline="0" dirty="0"/>
              <a:t>for less active &amp; archived data.</a:t>
            </a:r>
          </a:p>
          <a:p>
            <a:pPr marL="171450" indent="-171450">
              <a:buFont typeface="Arial" panose="020B0604020202020204" pitchFamily="34" charset="0"/>
              <a:buChar char="•"/>
            </a:pPr>
            <a:r>
              <a:rPr lang="en-US" b="1" baseline="0" dirty="0"/>
              <a:t>Tables is our massively scalable </a:t>
            </a:r>
            <a:r>
              <a:rPr lang="en-US" baseline="0" dirty="0"/>
              <a:t>NoSQL key-value store for structured and semi-structured data.</a:t>
            </a:r>
          </a:p>
          <a:p>
            <a:pPr marL="171450" indent="-171450">
              <a:buFont typeface="Arial" panose="020B0604020202020204" pitchFamily="34" charset="0"/>
              <a:buChar char="•"/>
            </a:pPr>
            <a:r>
              <a:rPr lang="en-US" b="1" baseline="0" dirty="0"/>
              <a:t>Queues service for reliable intra and inter-service communications</a:t>
            </a:r>
            <a:r>
              <a:rPr lang="en-US" baseline="0" dirty="0"/>
              <a:t>, great for decoupling your work flows. </a:t>
            </a:r>
          </a:p>
          <a:p>
            <a:endParaRPr lang="en-US" baseline="0" dirty="0"/>
          </a:p>
          <a:p>
            <a:r>
              <a:rPr lang="en-US" baseline="0" dirty="0"/>
              <a:t>All of these services are built on the </a:t>
            </a:r>
            <a:r>
              <a:rPr lang="en-US" b="1" baseline="0" dirty="0"/>
              <a:t>common unified distributed storage system</a:t>
            </a:r>
            <a:r>
              <a:rPr lang="en-US" baseline="0" dirty="0"/>
              <a:t>. So all of the capabilities we talked about previously are available to all of these services.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018 19: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96829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5902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018 19:2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16439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US" sz="5400" dirty="0">
                <a:solidFill>
                  <a:schemeClr val="bg2">
                    <a:lumMod val="50000"/>
                  </a:schemeClr>
                </a:solidFill>
              </a:rPr>
              <a:t>Are you interested in moving to cloud?</a:t>
            </a:r>
          </a:p>
          <a:p>
            <a:pPr marL="800100" lvl="1" indent="-571500">
              <a:lnSpc>
                <a:spcPct val="150000"/>
              </a:lnSpc>
              <a:buFont typeface="Arial" panose="020B0604020202020204" pitchFamily="34" charset="0"/>
              <a:buChar char="•"/>
            </a:pPr>
            <a:r>
              <a:rPr lang="en-US" sz="3600" dirty="0">
                <a:solidFill>
                  <a:schemeClr val="bg2">
                    <a:lumMod val="50000"/>
                  </a:schemeClr>
                </a:solidFill>
              </a:rPr>
              <a:t>Want to close your data center</a:t>
            </a:r>
          </a:p>
          <a:p>
            <a:pPr marL="800100" lvl="1" indent="-571500">
              <a:lnSpc>
                <a:spcPct val="150000"/>
              </a:lnSpc>
              <a:buFont typeface="Arial" panose="020B0604020202020204" pitchFamily="34" charset="0"/>
              <a:buChar char="•"/>
            </a:pPr>
            <a:r>
              <a:rPr lang="en-US" sz="3600" dirty="0">
                <a:solidFill>
                  <a:schemeClr val="bg2">
                    <a:lumMod val="50000"/>
                  </a:schemeClr>
                </a:solidFill>
              </a:rPr>
              <a:t>Current hosting solution is high maintenance</a:t>
            </a:r>
          </a:p>
          <a:p>
            <a:pPr marL="800100" lvl="1" indent="-571500">
              <a:lnSpc>
                <a:spcPct val="150000"/>
              </a:lnSpc>
              <a:buFont typeface="Arial" panose="020B0604020202020204" pitchFamily="34" charset="0"/>
              <a:buChar char="•"/>
            </a:pPr>
            <a:r>
              <a:rPr lang="en-US" sz="3600" dirty="0">
                <a:solidFill>
                  <a:schemeClr val="bg2">
                    <a:lumMod val="50000"/>
                  </a:schemeClr>
                </a:solidFill>
              </a:rPr>
              <a:t>You’re asked to do more with less</a:t>
            </a:r>
          </a:p>
          <a:p>
            <a:pPr marL="800100" lvl="1" indent="-571500">
              <a:lnSpc>
                <a:spcPct val="150000"/>
              </a:lnSpc>
              <a:buFont typeface="Arial" panose="020B0604020202020204" pitchFamily="34" charset="0"/>
              <a:buChar char="•"/>
            </a:pPr>
            <a:r>
              <a:rPr lang="en-US" sz="3600" dirty="0">
                <a:solidFill>
                  <a:schemeClr val="bg2">
                    <a:lumMod val="50000"/>
                  </a:schemeClr>
                </a:solidFill>
              </a:rPr>
              <a:t>Want to expand your reach globally</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6/7/2018 19:24</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22171623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18 19: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13056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18 19: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40592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18 19: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62091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18 19: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41171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18 19: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11978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18 19: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94529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018 19: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84924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aaS model for these services has many advantages:</a:t>
            </a:r>
            <a:r>
              <a:rPr lang="en-US" baseline="0" dirty="0"/>
              <a:t> provisioning on demand, scale-up and down, start/pause, etc. Also, it opens up opportunities with connecting to other Azure services easily, and enriching your data integration, BI or reporting workflows… opens up the way to modernization.</a:t>
            </a:r>
          </a:p>
          <a:p>
            <a:endParaRPr lang="en-US" baseline="0" dirty="0"/>
          </a:p>
          <a:p>
            <a:r>
              <a:rPr lang="en-US" baseline="0" dirty="0"/>
              <a:t>VMs are the fallback option… and for SSRS this is currently the only option. There is a licensing aspect here as well, as to run SSIS/SSAS or SSRS in a VM, you need a SQL Server license. In PaaS services, you pay exactly what you’re using, so you should have more cost control this way.</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18 19: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643855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18 19: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1797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18 19: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319316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SQL Data Sync allows developers to easily synchronize reference data across multiple SQL Server, SQL VM, and Azure SQL databases. Increasing number of developers and ISVs are developing and running their geo-distributed SaaS and hybrid applications on Azure and utilizing Azure SQL Database as the data-tier. For on-prem SQL Servers with intermittent connectivity to the cloud or for Azure applications that desire low latency, a copy of the reference data needs to be co-located with the application for optimal lookup and update speeds.</a:t>
            </a:r>
          </a:p>
          <a:p>
            <a:r>
              <a:rPr lang="en-IN" dirty="0"/>
              <a:t>With the ability to sync one-way or bi-directionally, SQL Data Sync enables developers to set up scheduled synchronization without having to write any custom code or managing their own cloud infrastructure. Besides going through Microsoft Azure Portal, users can also use </a:t>
            </a:r>
            <a:r>
              <a:rPr lang="en-IN" dirty="0" err="1"/>
              <a:t>Powershell</a:t>
            </a:r>
            <a:r>
              <a:rPr lang="en-IN" dirty="0"/>
              <a:t> and REST APIs to get diagnostic logs and alerting.</a:t>
            </a:r>
          </a:p>
          <a:p>
            <a:endParaRPr lang="en-IN" dirty="0"/>
          </a:p>
          <a:p>
            <a:endParaRPr lang="en-IN" dirty="0"/>
          </a:p>
          <a:p>
            <a:endParaRPr lang="en-IN"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6/7/2018 19:24</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30462900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6/7/2018 19:24</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2518757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a:t>
            </a:r>
            <a:r>
              <a:rPr lang="en-US" sz="1200" b="1" kern="1200" dirty="0">
                <a:solidFill>
                  <a:schemeClr val="tx1"/>
                </a:solidFill>
                <a:effectLst/>
                <a:latin typeface="+mn-lt"/>
                <a:ea typeface="+mn-ea"/>
                <a:cs typeface="+mn-cs"/>
              </a:rPr>
              <a:t>Azure Hybrid Benefit for SQL Server </a:t>
            </a:r>
            <a:r>
              <a:rPr lang="en-US" sz="1200" kern="1200" dirty="0">
                <a:solidFill>
                  <a:schemeClr val="tx1"/>
                </a:solidFill>
                <a:effectLst/>
                <a:latin typeface="+mn-lt"/>
                <a:ea typeface="+mn-ea"/>
                <a:cs typeface="+mn-cs"/>
              </a:rPr>
              <a:t>helps you maximize the value from your current licensing investments and accelerate your migration to the cloud.  Azure Hybrid Use Benefit for SQL Server is an Azure-based benefit that enables you to use your SQL Server licenses with Software Assurance to pay a reduced rate (“base rate”) on </a:t>
            </a:r>
            <a:r>
              <a:rPr lang="en-US" sz="1200" kern="1200" dirty="0" err="1">
                <a:solidFill>
                  <a:schemeClr val="tx1"/>
                </a:solidFill>
                <a:effectLst/>
                <a:latin typeface="+mn-lt"/>
                <a:ea typeface="+mn-ea"/>
                <a:cs typeface="+mn-cs"/>
              </a:rPr>
              <a:t>vCore</a:t>
            </a:r>
            <a:r>
              <a:rPr lang="en-US" sz="1200" kern="1200" dirty="0">
                <a:solidFill>
                  <a:schemeClr val="tx1"/>
                </a:solidFill>
                <a:effectLst/>
                <a:latin typeface="+mn-lt"/>
                <a:ea typeface="+mn-ea"/>
                <a:cs typeface="+mn-cs"/>
              </a:rPr>
              <a:t>-based SQL Database deployment options. </a:t>
            </a:r>
            <a:endParaRPr lang="en-US" dirty="0"/>
          </a:p>
          <a:p>
            <a:endParaRPr lang="en-US" b="1" dirty="0">
              <a:solidFill>
                <a:srgbClr val="FF0000"/>
              </a:solidFill>
            </a:endParaRPr>
          </a:p>
          <a:p>
            <a:endParaRPr lang="en-US" dirty="0"/>
          </a:p>
        </p:txBody>
      </p:sp>
      <p:sp>
        <p:nvSpPr>
          <p:cNvPr id="4" name="Slide Number Placeholder 3"/>
          <p:cNvSpPr>
            <a:spLocks noGrp="1"/>
          </p:cNvSpPr>
          <p:nvPr>
            <p:ph type="sldNum" sz="quarter" idx="10"/>
          </p:nvPr>
        </p:nvSpPr>
        <p:spPr/>
        <p:txBody>
          <a:bodyPr/>
          <a:lstStyle/>
          <a:p>
            <a:fld id="{EDA69098-AF98-44ED-B19A-289934A1943E}" type="slidenum">
              <a:rPr lang="en-US" smtClean="0"/>
              <a:t>62</a:t>
            </a:fld>
            <a:endParaRPr lang="en-US"/>
          </a:p>
        </p:txBody>
      </p:sp>
    </p:spTree>
    <p:extLst>
      <p:ext uri="{BB962C8B-B14F-4D97-AF65-F5344CB8AC3E}">
        <p14:creationId xmlns:p14="http://schemas.microsoft.com/office/powerpoint/2010/main" val="4019978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A69098-AF98-44ED-B19A-289934A1943E}" type="slidenum">
              <a:rPr lang="en-US" smtClean="0"/>
              <a:t>63</a:t>
            </a:fld>
            <a:endParaRPr lang="en-US"/>
          </a:p>
        </p:txBody>
      </p:sp>
    </p:spTree>
    <p:extLst>
      <p:ext uri="{BB962C8B-B14F-4D97-AF65-F5344CB8AC3E}">
        <p14:creationId xmlns:p14="http://schemas.microsoft.com/office/powerpoint/2010/main" val="1450840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FDE027-E338-4AB2-91D9-7A90140FE6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34435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0" dirty="0">
                <a:solidFill>
                  <a:srgbClr val="0078D7"/>
                </a:solidFill>
                <a:latin typeface="Segoe UI"/>
                <a:ea typeface="Segoe UI" charset="0"/>
                <a:cs typeface="Segoe UI" charset="0"/>
              </a:rPr>
              <a:t>Managed community database engin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0" dirty="0">
                <a:solidFill>
                  <a:srgbClr val="0078D7"/>
                </a:solidFill>
                <a:latin typeface="Segoe UI"/>
                <a:ea typeface="Segoe UI" charset="0"/>
                <a:cs typeface="Segoe UI" charset="0"/>
              </a:rPr>
              <a:t>We are specifically not “forking” the OSS-versions of MySQL, PostgreSQL and MariaDB, but rather picking-up the community editions as they are. This means that customers should have no concerns about application compatibility when moving from either on-premises, IaaS or another cloud to Azure as their applications will work the same. Being a fully-managed service means developers can focus on writing great apps instead of tuning and patching the host OS and database engine. In addition, key requirements for a mission-critical database such as backups, HA and the ability to scale performance with little/no downtime are built-in and more importantly – at no additional cost! With Azure Database Services, you can be assured that Microsoft will keep your database service up to date and tuned for the best performance.</a:t>
            </a:r>
          </a:p>
          <a:p>
            <a:endParaRPr lang="en-US" sz="900" b="1" kern="1200" dirty="0">
              <a:solidFill>
                <a:schemeClr val="tx1"/>
              </a:solidFill>
              <a:effectLst/>
              <a:latin typeface="Segoe UI Light" pitchFamily="34" charset="0"/>
              <a:ea typeface="+mn-ea"/>
              <a:cs typeface="+mn-cs"/>
            </a:endParaRPr>
          </a:p>
          <a:p>
            <a:endParaRPr lang="en-US" dirty="0"/>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6/7/2018 19:24</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a:p>
        </p:txBody>
      </p:sp>
    </p:spTree>
    <p:extLst>
      <p:ext uri="{BB962C8B-B14F-4D97-AF65-F5344CB8AC3E}">
        <p14:creationId xmlns:p14="http://schemas.microsoft.com/office/powerpoint/2010/main" val="41983161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6/7/2018 19:24</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a:p>
        </p:txBody>
      </p:sp>
    </p:spTree>
    <p:extLst>
      <p:ext uri="{BB962C8B-B14F-4D97-AF65-F5344CB8AC3E}">
        <p14:creationId xmlns:p14="http://schemas.microsoft.com/office/powerpoint/2010/main" val="147937065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AB9A6D4-FB34-4BDB-BA1E-7271914431F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18 19: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2631988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018 19:2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317368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7/2018 19:24</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5431104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dirty="0">
                <a:cs typeface="Calibri"/>
              </a:rPr>
              <a:t>Key Messages: This slide simply sets the stage. Azure compute offers a rich development environment and IaaS capabilities that can help you develop a broad range of applications. For each type of application you can select the right VM that best suits your needs. We continue to expand and enrich the variety of VMs available to you so you can continue to fuel your innovation and growth to Azure. </a:t>
            </a:r>
          </a:p>
          <a:p>
            <a:endParaRPr lang="en-US" sz="900" b="1" dirty="0"/>
          </a:p>
          <a:p>
            <a:r>
              <a:rPr lang="en-US" sz="900" dirty="0">
                <a:cs typeface="Calibri"/>
              </a:rPr>
              <a:t>Products recently introduced include:</a:t>
            </a:r>
          </a:p>
          <a:p>
            <a:pPr>
              <a:defRPr/>
            </a:pPr>
            <a:endParaRPr lang="en-US" sz="900" dirty="0"/>
          </a:p>
          <a:p>
            <a:pPr marL="0" indent="0">
              <a:buFontTx/>
              <a:buNone/>
              <a:defRPr/>
            </a:pPr>
            <a:r>
              <a:rPr lang="en-US" sz="900" b="1" dirty="0"/>
              <a:t>1. M-Series VMs now certified for SAP HANA. You can now develop applications on Azure for the SAP HANA platform that has been recently certified for M-Series. </a:t>
            </a:r>
            <a:r>
              <a:rPr lang="en-US" sz="900" dirty="0"/>
              <a:t>The</a:t>
            </a:r>
            <a:r>
              <a:rPr lang="en-US" sz="900" kern="1200" dirty="0">
                <a:effectLst/>
                <a:ea typeface="+mn-ea"/>
                <a:cs typeface="+mn-cs"/>
              </a:rPr>
              <a:t> M-series family of Azure virtual machines are the largest memory-optimized VMs to date. These VMs are ideal for heavy in-memory workloads such as SAP HANA. </a:t>
            </a:r>
            <a:r>
              <a:rPr lang="en-US" sz="900" b="0" i="0" u="none" strike="noStrike" kern="1200" dirty="0">
                <a:effectLst/>
                <a:ea typeface="+mn-ea"/>
                <a:cs typeface="+mn-cs"/>
              </a:rPr>
              <a:t>With the M-Series, these databases can load large datasets into memory and utilize the fast memory access with huge amounts of vCPU parallel processing to speed up queries and enable real-time analytics. You can deploy these large workloads in minutes and on-demand, scaling elastically as your usage demands. </a:t>
            </a:r>
            <a:r>
              <a:rPr lang="en-US" sz="900" dirty="0">
                <a:cs typeface="Calibri"/>
              </a:rPr>
              <a:t>Refer to the blog for the announcement </a:t>
            </a:r>
            <a:r>
              <a:rPr lang="en-US" sz="900" dirty="0">
                <a:hlinkClick r:id="rId3"/>
              </a:rPr>
              <a:t>https://azure.microsoft.com/en-us/blog/azure-m-series-vms-are-now-sap-hana-certified</a:t>
            </a:r>
            <a:r>
              <a:rPr lang="en-US" sz="900" dirty="0"/>
              <a:t>/</a:t>
            </a:r>
          </a:p>
          <a:p>
            <a:pPr marL="0" indent="0">
              <a:buFontTx/>
              <a:buNone/>
              <a:defRPr/>
            </a:pPr>
            <a:endParaRPr lang="en-US" sz="900" b="0" i="0" u="none" strike="noStrike" kern="1200" dirty="0">
              <a:cs typeface="Calibri"/>
            </a:endParaRPr>
          </a:p>
          <a:p>
            <a:pPr marL="0" indent="0">
              <a:buFontTx/>
              <a:buNone/>
              <a:defRPr/>
            </a:pPr>
            <a:r>
              <a:rPr lang="en-US" sz="900" b="1" dirty="0"/>
              <a:t>2. NVIDIA’s latest GPU for HPC and AI is available in Azure</a:t>
            </a:r>
            <a:r>
              <a:rPr lang="en-US" sz="900" dirty="0"/>
              <a:t>. For those of you focused on HPC applications and AI, not too long ago we announced major expansion of our GPU fleet. NVIDIA GPUs are at the heart of a lot of discovery and innovation. And with our tools like </a:t>
            </a:r>
            <a:r>
              <a:rPr lang="en-US" sz="900" dirty="0">
                <a:hlinkClick r:id="rId4"/>
              </a:rPr>
              <a:t>Batch</a:t>
            </a:r>
            <a:r>
              <a:rPr lang="en-US" sz="900" dirty="0"/>
              <a:t>, </a:t>
            </a:r>
            <a:r>
              <a:rPr lang="en-US" sz="900" dirty="0">
                <a:hlinkClick r:id="rId5"/>
              </a:rPr>
              <a:t>Batch AI</a:t>
            </a:r>
            <a:r>
              <a:rPr lang="en-US" sz="900" dirty="0"/>
              <a:t>, and the </a:t>
            </a:r>
            <a:r>
              <a:rPr lang="en-US" sz="900" dirty="0">
                <a:hlinkClick r:id="rId6"/>
              </a:rPr>
              <a:t>Data Science Virtual Machine</a:t>
            </a:r>
            <a:r>
              <a:rPr lang="en-US" sz="900" dirty="0"/>
              <a:t> images, Azure customers and developers are in a great position to expand what is possible and bring to market innovative AI and HPC </a:t>
            </a:r>
            <a:r>
              <a:rPr lang="en-US" sz="900" dirty="0" err="1"/>
              <a:t>applications.</a:t>
            </a:r>
            <a:r>
              <a:rPr lang="en-US" sz="900" dirty="0" err="1">
                <a:hlinkClick r:id="rId7"/>
              </a:rPr>
              <a:t>https</a:t>
            </a:r>
            <a:r>
              <a:rPr lang="en-US" sz="900" dirty="0">
                <a:hlinkClick r:id="rId7"/>
              </a:rPr>
              <a:t>://azure.microsoft.com/</a:t>
            </a:r>
            <a:r>
              <a:rPr lang="en-US" sz="900" dirty="0" err="1">
                <a:hlinkClick r:id="rId7"/>
              </a:rPr>
              <a:t>en</a:t>
            </a:r>
            <a:r>
              <a:rPr lang="en-US" sz="900" dirty="0">
                <a:hlinkClick r:id="rId7"/>
              </a:rPr>
              <a:t>-us/blog/ncv3-vms-generally-available-other-gpus-expanding-regions</a:t>
            </a:r>
            <a:r>
              <a:rPr lang="en-US" sz="900" dirty="0"/>
              <a:t>/</a:t>
            </a:r>
            <a:r>
              <a:rPr lang="en-US" sz="900" b="0" i="0" u="none" strike="noStrike" kern="1200" dirty="0">
                <a:effectLst/>
                <a:ea typeface="+mn-ea"/>
                <a:cs typeface="+mn-cs"/>
              </a:rPr>
              <a:t>NCv3 brings NVIDIA’s latest GPU – the Tesla V100 – to our best-in-class HPC, machine learning, and AI products to bring huge amounts of value across a variety of industries. One preview customer told us their speech recognition models trained in less than 20 minutes, instead of the 1-2 hours that previous generation GPUs required. Another customer told us about the 40-50% performance boost they saw on their reservoir simulations. The ND-series, powered by NVIDIA Tesla P40 GPUs based on the new Pascal Architecture, will be excellent for training and inference. These instances will provide more than twice the performance over the previous generation for AI workloads utilizing CNTK, TensorFlow, Caffe, and other frameworks. The ND-series also offer a much larger GPU memory size (24 gigabytes), enabling you to fit much larger neural net models. Also, like our NC-series, the ND-series will offer RDMA and InfiniBand connectivity, so you will be able to run large-scale training jobs spanning hundreds of GPUs.</a:t>
            </a:r>
            <a:r>
              <a:rPr lang="en-US" sz="900" dirty="0"/>
              <a:t> </a:t>
            </a:r>
            <a:endParaRPr lang="en-US" sz="900" b="1" dirty="0">
              <a:cs typeface="Calibri"/>
            </a:endParaRPr>
          </a:p>
          <a:p>
            <a:pPr marL="0" indent="0">
              <a:buFontTx/>
              <a:buNone/>
              <a:defRPr/>
            </a:pPr>
            <a:endParaRPr lang="en-US" sz="900" b="1" dirty="0">
              <a:cs typeface="Calibri"/>
            </a:endParaRPr>
          </a:p>
          <a:p>
            <a:pPr marL="0" indent="0">
              <a:buFontTx/>
              <a:buNone/>
              <a:defRPr/>
            </a:pPr>
            <a:r>
              <a:rPr lang="en-US" sz="900" b="1" dirty="0">
                <a:cs typeface="Calibri"/>
              </a:rPr>
              <a:t>3. </a:t>
            </a:r>
            <a:r>
              <a:rPr lang="en-US" sz="900" b="0" dirty="0">
                <a:cs typeface="Calibri"/>
              </a:rPr>
              <a:t>W</a:t>
            </a:r>
            <a:r>
              <a:rPr lang="en-US" sz="900" b="0" dirty="0"/>
              <a:t>e have also announced two new VM sizes, E64i_v3 and E64is_v3</a:t>
            </a:r>
            <a:r>
              <a:rPr lang="en-US" sz="900" dirty="0"/>
              <a:t>, which are isolated to hardware and dedicated to a single customer. These VMs are best suited for workloads that require a high degree of isolation from other customers for compliance and regulatory requirements. You can also choose to further subdivide the resources by using </a:t>
            </a:r>
            <a:r>
              <a:rPr lang="en-US" sz="900" u="sng" dirty="0">
                <a:hlinkClick r:id="rId8"/>
              </a:rPr>
              <a:t>Azure’s support for nested VMs</a:t>
            </a:r>
            <a:r>
              <a:rPr lang="en-US" sz="900" u="sng" dirty="0"/>
              <a:t>. </a:t>
            </a:r>
            <a:r>
              <a:rPr lang="en-US" sz="900" dirty="0"/>
              <a:t>The E64i_v3 and E64is_v3 will have the exact same performance and price as their cousins E64_v3 and E64s_v3 and will be available in each of the regions where E64_v3 and E64s_v3 are available today.  The small letter ‘</a:t>
            </a:r>
            <a:r>
              <a:rPr lang="en-US" sz="900" dirty="0" err="1"/>
              <a:t>i</a:t>
            </a:r>
            <a:r>
              <a:rPr lang="en-US" sz="900" dirty="0"/>
              <a:t>’ in the VM name denotes that they are “Isolated” sizes. Unlike the E64_v3 and E64s_v3, the two new E64i_v3 and E64is_v3 sizes are hardware bound sizes.  They will live and operate on our Intel® Xeon® Processor E5-2673 v4 2.3GHz hardware only and will be available until at least December 2021. We will provide reminders 12 months in advance of the official decommissioning of the sizes and offer an updated isolated size like these sizes on our next hardware version. These two new E64i_v3 and E64is_v3 sizes will be available in the on-demand portal.  Starting on May 1st, 2018, they will also be made available for purchase as 1-year Reserved VM Instances.</a:t>
            </a:r>
            <a:endParaRPr lang="en-US" sz="900" dirty="0">
              <a:cs typeface="Calibri"/>
            </a:endParaRPr>
          </a:p>
          <a:p>
            <a:endParaRPr lang="en-US" sz="900" dirty="0">
              <a:solidFill>
                <a:srgbClr val="FFFFFF"/>
              </a:solidFill>
            </a:endParaRPr>
          </a:p>
          <a:p>
            <a:r>
              <a:rPr lang="en-US" sz="900" dirty="0"/>
              <a:t>The E64i_v3 and E64is_v3 are joining our other Isolated VM sizes in the Azure family:</a:t>
            </a:r>
          </a:p>
          <a:p>
            <a:endParaRPr lang="en-US" sz="900" dirty="0">
              <a:solidFill>
                <a:srgbClr val="FFFFFF"/>
              </a:solidFill>
            </a:endParaRPr>
          </a:p>
          <a:p>
            <a:r>
              <a:rPr lang="en-US" sz="900" u="sng" dirty="0">
                <a:hlinkClick r:id="rId9"/>
              </a:rPr>
              <a:t>Standard_D15_v2</a:t>
            </a:r>
            <a:endParaRPr lang="en-US" sz="900" dirty="0"/>
          </a:p>
          <a:p>
            <a:r>
              <a:rPr lang="en-US" sz="900" u="sng" dirty="0">
                <a:hlinkClick r:id="rId9"/>
              </a:rPr>
              <a:t>Standard_DS15_v2</a:t>
            </a:r>
            <a:endParaRPr lang="en-US" sz="900" dirty="0"/>
          </a:p>
          <a:p>
            <a:r>
              <a:rPr lang="en-US" sz="900" u="sng" dirty="0">
                <a:hlinkClick r:id="rId9"/>
              </a:rPr>
              <a:t>Standard_E64i_v3</a:t>
            </a:r>
            <a:endParaRPr lang="en-US" sz="900" dirty="0"/>
          </a:p>
          <a:p>
            <a:r>
              <a:rPr lang="en-US" sz="900" u="sng" dirty="0">
                <a:hlinkClick r:id="rId9"/>
              </a:rPr>
              <a:t>Standard_E64is_v3</a:t>
            </a:r>
            <a:endParaRPr lang="en-US" sz="900" dirty="0"/>
          </a:p>
          <a:p>
            <a:r>
              <a:rPr lang="en-US" sz="900" u="sng" dirty="0">
                <a:hlinkClick r:id="rId10"/>
              </a:rPr>
              <a:t>Standard_F72s</a:t>
            </a:r>
            <a:endParaRPr lang="en-US" sz="900" dirty="0"/>
          </a:p>
          <a:p>
            <a:r>
              <a:rPr lang="en-US" sz="900" u="sng" dirty="0">
                <a:hlinkClick r:id="rId9"/>
              </a:rPr>
              <a:t>Standard_G5</a:t>
            </a:r>
            <a:endParaRPr lang="en-US" sz="900" dirty="0"/>
          </a:p>
          <a:p>
            <a:r>
              <a:rPr lang="en-US" sz="900" u="sng" dirty="0">
                <a:hlinkClick r:id="rId9"/>
              </a:rPr>
              <a:t>Standard_GS5</a:t>
            </a:r>
            <a:endParaRPr lang="en-US" sz="900" dirty="0"/>
          </a:p>
          <a:p>
            <a:r>
              <a:rPr lang="en-US" sz="900" u="sng" dirty="0">
                <a:hlinkClick r:id="rId11"/>
              </a:rPr>
              <a:t>Standard_L32s</a:t>
            </a:r>
            <a:endParaRPr lang="en-US" sz="900" dirty="0"/>
          </a:p>
          <a:p>
            <a:r>
              <a:rPr lang="en-US" sz="900" u="sng" dirty="0">
                <a:hlinkClick r:id="rId9"/>
              </a:rPr>
              <a:t>Standard_M128ms</a:t>
            </a:r>
            <a:endParaRPr lang="en-US" sz="900" dirty="0"/>
          </a:p>
          <a:p>
            <a:r>
              <a:rPr lang="en-US" sz="900" u="sng" dirty="0">
                <a:hlinkClick r:id="rId9"/>
              </a:rPr>
              <a:t>Standard_M128s</a:t>
            </a:r>
            <a:endParaRPr lang="en-US" sz="900" dirty="0"/>
          </a:p>
          <a:p>
            <a:endParaRPr lang="en-US" sz="900" dirty="0">
              <a:solidFill>
                <a:srgbClr val="FFFFFF"/>
              </a:solidFill>
            </a:endParaRPr>
          </a:p>
          <a:p>
            <a:r>
              <a:rPr lang="en-US" sz="900" dirty="0"/>
              <a:t>We encourage you to use these VMs for workloads needing a high degree of isolation.</a:t>
            </a:r>
          </a:p>
          <a:p>
            <a:endParaRPr lang="en-US" sz="900" b="1" dirty="0">
              <a:cs typeface="Calibri"/>
            </a:endParaRPr>
          </a:p>
          <a:p>
            <a:r>
              <a:rPr lang="en-US" sz="900" b="1" dirty="0">
                <a:cs typeface="Calibri"/>
              </a:rPr>
              <a:t>----------------------------------------</a:t>
            </a:r>
          </a:p>
          <a:p>
            <a:endParaRPr lang="en-US" sz="900" b="1" dirty="0">
              <a:cs typeface="Calibri"/>
            </a:endParaRPr>
          </a:p>
          <a:p>
            <a:r>
              <a:rPr lang="en-US" sz="900" b="1" dirty="0">
                <a:cs typeface="Calibri"/>
              </a:rPr>
              <a:t>BACKGROUND INFO </a:t>
            </a:r>
            <a:endParaRPr lang="en-US" sz="900" b="1" dirty="0"/>
          </a:p>
          <a:p>
            <a:endParaRPr lang="en-US" sz="900" b="1" dirty="0"/>
          </a:p>
          <a:p>
            <a:pPr lvl="0"/>
            <a:r>
              <a:rPr lang="en-US" sz="900" b="1" dirty="0"/>
              <a:t>Entry Level</a:t>
            </a:r>
          </a:p>
          <a:p>
            <a:r>
              <a:rPr lang="en-US" sz="900" b="0" i="0" u="none" strike="noStrike" kern="1200" dirty="0">
                <a:solidFill>
                  <a:schemeClr val="tx1"/>
                </a:solidFill>
                <a:effectLst/>
                <a:ea typeface="+mn-ea"/>
                <a:cs typeface="+mn-cs"/>
              </a:rPr>
              <a:t>A-series VMs have CPU performance and memory configurations best suited for entry-level workloads like development and test. They are economical and provide a low-cost option to get started with Azure.</a:t>
            </a:r>
          </a:p>
          <a:p>
            <a:r>
              <a:rPr lang="en-US" sz="900" b="0" i="0" u="none" strike="noStrike" kern="1200" dirty="0">
                <a:solidFill>
                  <a:schemeClr val="tx1"/>
                </a:solidFill>
                <a:effectLst/>
                <a:ea typeface="+mn-ea"/>
                <a:cs typeface="+mn-cs"/>
              </a:rPr>
              <a:t>Example use cases include development and test servers, low-traffic web servers, small-to-medium databases, servers for proof-of-concepts, and code repositories.</a:t>
            </a:r>
          </a:p>
          <a:p>
            <a:pPr lvl="0"/>
            <a:endParaRPr lang="en-US" sz="900" b="1" dirty="0"/>
          </a:p>
          <a:p>
            <a:pPr lvl="0"/>
            <a:r>
              <a:rPr lang="en-US" sz="900" b="1" dirty="0"/>
              <a:t>Burstable</a:t>
            </a:r>
          </a:p>
          <a:p>
            <a:r>
              <a:rPr lang="en-US" sz="900" kern="1200" dirty="0">
                <a:solidFill>
                  <a:schemeClr val="tx1"/>
                </a:solidFill>
                <a:effectLst/>
                <a:ea typeface="+mn-ea"/>
                <a:cs typeface="+mn-cs"/>
              </a:rPr>
              <a:t>B-series are economical virtual machines that provide a low-cost option for workloads that typically run at a low-to-moderate baseline CPU utilization, but sometimes need to burst to significantly higher CPU utilization when the demand rises. </a:t>
            </a:r>
          </a:p>
          <a:p>
            <a:r>
              <a:rPr lang="en-US" sz="900" b="0" kern="1200" dirty="0">
                <a:solidFill>
                  <a:schemeClr val="tx1"/>
                </a:solidFill>
                <a:effectLst/>
                <a:ea typeface="+mn-ea"/>
                <a:cs typeface="+mn-cs"/>
              </a:rPr>
              <a:t>Example use cases include </a:t>
            </a:r>
            <a:r>
              <a:rPr lang="en-US" sz="900" kern="1200" dirty="0">
                <a:solidFill>
                  <a:schemeClr val="tx1"/>
                </a:solidFill>
                <a:effectLst/>
                <a:ea typeface="+mn-ea"/>
                <a:cs typeface="+mn-cs"/>
              </a:rPr>
              <a:t>development and test servers, low-traffic web servers, small databases, micro services, servers for proof-of-concepts, and build servers.</a:t>
            </a:r>
          </a:p>
          <a:p>
            <a:pPr lvl="0"/>
            <a:endParaRPr lang="en-US" sz="900" b="1" dirty="0"/>
          </a:p>
          <a:p>
            <a:pPr lvl="0"/>
            <a:r>
              <a:rPr lang="en-US" sz="900" b="1" dirty="0"/>
              <a:t>General Purpose</a:t>
            </a:r>
          </a:p>
          <a:p>
            <a:r>
              <a:rPr lang="en-US" sz="900" b="0" i="0" u="none" strike="noStrike" kern="1200" dirty="0">
                <a:effectLst/>
                <a:ea typeface="+mn-ea"/>
                <a:cs typeface="+mn-cs"/>
              </a:rPr>
              <a:t>The Dv3 and Ev3 sizes are able to run Windows 2016 hosts and enable Nested Virtualization and Hyper-V Containers for these new VM sizes. Nested virtualization allows you to run a Hyper-V server on an Azure virtual machine. With nested virtualization, you can run a Hyper-V Container in a virtualized container host, set up a Hyper-V lab in a virtualized environment, or to test multi-machine scenarios. You can find more information on </a:t>
            </a:r>
            <a:r>
              <a:rPr lang="en-US" sz="900" b="0" i="0" u="none" strike="noStrike" kern="1200" dirty="0">
                <a:effectLst/>
                <a:ea typeface="+mn-ea"/>
                <a:cs typeface="+mn-cs"/>
                <a:hlinkClick r:id="rId12"/>
              </a:rPr>
              <a:t>Nested Virtualization on Azure</a:t>
            </a:r>
            <a:r>
              <a:rPr lang="en-US" sz="900" b="0" i="0" u="none" strike="noStrike" kern="1200" dirty="0">
                <a:effectLst/>
                <a:ea typeface="+mn-ea"/>
                <a:cs typeface="+mn-cs"/>
              </a:rPr>
              <a:t>. </a:t>
            </a:r>
            <a:br>
              <a:rPr lang="en-US" sz="900" b="0" i="0" u="none" strike="noStrike" kern="1200" dirty="0">
                <a:cs typeface="Calibri"/>
              </a:rPr>
            </a:br>
            <a:endParaRPr lang="en-US" sz="900" b="0" i="0" u="none" strike="noStrike" kern="1200" dirty="0">
              <a:solidFill>
                <a:schemeClr val="tx1"/>
              </a:solidFill>
              <a:effectLst/>
              <a:ea typeface="+mn-ea"/>
              <a:cs typeface="+mn-cs"/>
            </a:endParaRPr>
          </a:p>
          <a:p>
            <a:r>
              <a:rPr lang="en-US" sz="900" b="0" i="0" u="none" strike="noStrike" kern="1200" dirty="0">
                <a:effectLst/>
                <a:ea typeface="+mn-ea"/>
                <a:cs typeface="+mn-cs"/>
              </a:rPr>
              <a:t>Our new Dv3 VM sizes are a good balance of memory to vCPU performance, with up to 64 vCPUs and 256 </a:t>
            </a:r>
            <a:r>
              <a:rPr lang="en-US" sz="900" b="0" i="0" u="none" strike="noStrike" kern="1200" dirty="0" err="1">
                <a:effectLst/>
                <a:ea typeface="+mn-ea"/>
                <a:cs typeface="+mn-cs"/>
              </a:rPr>
              <a:t>GiB</a:t>
            </a:r>
            <a:r>
              <a:rPr lang="en-US" sz="900" b="0" i="0" u="none" strike="noStrike" kern="1200" dirty="0">
                <a:effectLst/>
                <a:ea typeface="+mn-ea"/>
                <a:cs typeface="+mn-cs"/>
              </a:rPr>
              <a:t> of RAM. Our newly named Ev3 sizes provide you with more memory to vCPU than the Dv3, so you can run larger workloads on sizes up to our largest E64 size, with 64 vCPUs and </a:t>
            </a:r>
            <a:br>
              <a:rPr lang="en-US" sz="900" b="0" i="0" u="none" strike="noStrike" kern="1200" dirty="0">
                <a:cs typeface="Calibri"/>
              </a:rPr>
            </a:br>
            <a:r>
              <a:rPr lang="en-US" sz="900" b="0" i="0" u="none" strike="noStrike" kern="1200" dirty="0">
                <a:effectLst/>
                <a:ea typeface="+mn-ea"/>
                <a:cs typeface="+mn-cs"/>
              </a:rPr>
              <a:t>432 </a:t>
            </a:r>
            <a:r>
              <a:rPr lang="en-US" sz="900" b="0" i="0" u="none" strike="noStrike" kern="1200" dirty="0" err="1">
                <a:effectLst/>
                <a:ea typeface="+mn-ea"/>
                <a:cs typeface="+mn-cs"/>
              </a:rPr>
              <a:t>GiB</a:t>
            </a:r>
            <a:r>
              <a:rPr lang="en-US" sz="900" b="0" i="0" u="none" strike="noStrike" kern="1200" dirty="0">
                <a:effectLst/>
                <a:ea typeface="+mn-ea"/>
                <a:cs typeface="+mn-cs"/>
              </a:rPr>
              <a:t> of RAM. D2v3 instances are the latest hyper-threaded generation of general purpose instances.</a:t>
            </a:r>
            <a:r>
              <a:rPr lang="en-US" sz="900" dirty="0"/>
              <a:t> </a:t>
            </a:r>
            <a:endParaRPr lang="en-US" sz="900" b="0" i="0" u="none" strike="noStrike" kern="1200" dirty="0">
              <a:cs typeface="Calibri"/>
            </a:endParaRPr>
          </a:p>
          <a:p>
            <a:pPr lvl="0"/>
            <a:endParaRPr lang="en-US" sz="900" dirty="0"/>
          </a:p>
          <a:p>
            <a:pPr lvl="0"/>
            <a:r>
              <a:rPr lang="en-US" sz="900" b="1" dirty="0"/>
              <a:t>Compute Intensive</a:t>
            </a:r>
          </a:p>
          <a:p>
            <a:r>
              <a:rPr lang="en-US" sz="900" dirty="0"/>
              <a:t>The F-series </a:t>
            </a:r>
            <a:r>
              <a:rPr lang="en-US" sz="900" b="0" i="0" u="none" strike="noStrike" kern="1200" dirty="0">
                <a:solidFill>
                  <a:schemeClr val="tx1"/>
                </a:solidFill>
                <a:effectLst/>
                <a:ea typeface="+mn-ea"/>
                <a:cs typeface="+mn-cs"/>
              </a:rPr>
              <a:t>VM sizes sport a higher CPU-to-memory ratio. They feature 2 GB RAM and 16 GB of local Solid State Drive (SSD) per CPU core, and are optimized for compute-intensive workloads. The F-series is based on the 2.4 GHz Intel Xeon E5-2673 v3 (Haswell) processor, which can achieve clock speeds as high as 3.1 GHz with the Intel Turbo Boost Technology 2.0. Example use cases include scenarios like batch processing, web servers, analytics, and gaming.</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Azure now offers the fastest </a:t>
            </a:r>
            <a:r>
              <a:rPr lang="en-US" sz="900" b="0" i="0" u="none" strike="noStrike" kern="1200" dirty="0">
                <a:solidFill>
                  <a:schemeClr val="tx1"/>
                </a:solidFill>
                <a:effectLst/>
                <a:ea typeface="+mn-ea"/>
                <a:cs typeface="+mn-cs"/>
                <a:hlinkClick r:id="rId13"/>
              </a:rPr>
              <a:t>Intel Xeon Scalable</a:t>
            </a:r>
            <a:r>
              <a:rPr lang="en-US" sz="900" b="0" i="0" u="none" strike="noStrike" kern="1200" dirty="0">
                <a:solidFill>
                  <a:schemeClr val="tx1"/>
                </a:solidFill>
                <a:effectLst/>
                <a:ea typeface="+mn-ea"/>
                <a:cs typeface="+mn-cs"/>
              </a:rPr>
              <a:t> processor, code-named Skylake, in the public cloud. In Azure, we have seen growing demand for massive large-scale computation by customers doing financial modeling, scientific analysis, genomics, geothermal visualization, and deep learning. Our drive to continuously innovate in Azure allows us to offer cost-effective and best-in-class hardware for these world-changing workloads. </a:t>
            </a:r>
          </a:p>
          <a:p>
            <a:endParaRPr lang="en-US" sz="900" b="0" i="0" u="none" strike="noStrike" kern="1200" dirty="0">
              <a:solidFill>
                <a:schemeClr val="tx1"/>
              </a:solidFill>
              <a:effectLst/>
              <a:ea typeface="+mn-ea"/>
              <a:cs typeface="+mn-cs"/>
            </a:endParaRPr>
          </a:p>
          <a:p>
            <a:r>
              <a:rPr lang="en-US" sz="900" b="1" i="0" u="none" strike="noStrike" kern="1200" dirty="0">
                <a:solidFill>
                  <a:schemeClr val="tx1"/>
                </a:solidFill>
                <a:effectLst/>
                <a:ea typeface="+mn-ea"/>
                <a:cs typeface="+mn-cs"/>
              </a:rPr>
              <a:t>Memory Optimized</a:t>
            </a:r>
          </a:p>
          <a:p>
            <a:r>
              <a:rPr lang="en-US" sz="900" kern="1200" dirty="0">
                <a:solidFill>
                  <a:schemeClr val="tx1"/>
                </a:solidFill>
                <a:effectLst/>
                <a:ea typeface="+mn-ea"/>
                <a:cs typeface="+mn-cs"/>
              </a:rPr>
              <a:t>The M-series family of Azure virtual machines are the largest memory optimized VMs to date. These VMs are ideal for heavy in-memory workloads, such as SAP HANA. </a:t>
            </a:r>
            <a:r>
              <a:rPr lang="en-US" sz="900" b="0" i="0" u="none" strike="noStrike" kern="1200" dirty="0">
                <a:solidFill>
                  <a:schemeClr val="tx1"/>
                </a:solidFill>
                <a:effectLst/>
                <a:ea typeface="+mn-ea"/>
                <a:cs typeface="+mn-cs"/>
              </a:rPr>
              <a:t>With the M-series, these databases can load large datasets into memory and utilize the fast memory access with huge amounts of vCPU parallel processing to speed up queries and enable real-time analytics. You can deploy these large workloads in minutes and on-demand, scaling elastically as your usage demands. </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G-series VMs feature the latest </a:t>
            </a:r>
            <a:r>
              <a:rPr lang="en-US" sz="900" b="0" i="0" u="none" strike="noStrike" kern="1200" dirty="0">
                <a:solidFill>
                  <a:schemeClr val="tx1"/>
                </a:solidFill>
                <a:effectLst/>
                <a:ea typeface="+mn-ea"/>
                <a:cs typeface="+mn-cs"/>
                <a:hlinkClick r:id="rId14"/>
              </a:rPr>
              <a:t>Intel Xeon processor E5 v3 family</a:t>
            </a:r>
            <a:r>
              <a:rPr lang="en-US" sz="900" b="0" i="0" u="none" strike="noStrike" kern="1200" dirty="0">
                <a:solidFill>
                  <a:schemeClr val="tx1"/>
                </a:solidFill>
                <a:effectLst/>
                <a:ea typeface="+mn-ea"/>
                <a:cs typeface="+mn-cs"/>
              </a:rPr>
              <a:t>, two times more memory, and four times more Solid State Drive storage (SSDs) than the General Purpose D-series. G-series sport RAM of up to ½ TB and 32 CPU cores, and provide unparalleled computational performance, memory, and local SSD storage for your most demanding applications. Example use cases include large SQL and NoSQL databases, ERP, SAP, and data warehousing solutions.</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Optimized for in-memory hyper-threaded applications, the E-series family of Azure virtual machines are optimized for heavy in-memory applications such as SAP HANA. These VMs are set up with high memory-to-core ratios that make them well-suited for relational database servers, with medium-to-large caches, and in-memory analytics. The E-series VMs range from 2 to 64 vCPUs and 16 to 432 </a:t>
            </a:r>
            <a:r>
              <a:rPr lang="en-US" sz="900" b="0" i="0" u="none" strike="noStrike" kern="1200" dirty="0" err="1">
                <a:solidFill>
                  <a:schemeClr val="tx1"/>
                </a:solidFill>
                <a:effectLst/>
                <a:ea typeface="+mn-ea"/>
                <a:cs typeface="+mn-cs"/>
              </a:rPr>
              <a:t>GiB</a:t>
            </a:r>
            <a:r>
              <a:rPr lang="en-US" sz="900" b="0" i="0" u="none" strike="noStrike" kern="1200" dirty="0">
                <a:solidFill>
                  <a:schemeClr val="tx1"/>
                </a:solidFill>
                <a:effectLst/>
                <a:ea typeface="+mn-ea"/>
                <a:cs typeface="+mn-cs"/>
              </a:rPr>
              <a:t> RAM, respectively.</a:t>
            </a:r>
          </a:p>
          <a:p>
            <a:endParaRPr lang="en-US" sz="900" b="0" i="0" u="none" strike="noStrike" kern="1200" dirty="0">
              <a:solidFill>
                <a:schemeClr val="tx1"/>
              </a:solidFill>
              <a:effectLst/>
              <a:ea typeface="+mn-ea"/>
              <a:cs typeface="+mn-cs"/>
            </a:endParaRPr>
          </a:p>
          <a:p>
            <a:pPr rtl="0" fontAlgn="base"/>
            <a:r>
              <a:rPr lang="en-US" sz="900" b="0" i="0" u="none" strike="noStrike" kern="1200" dirty="0">
                <a:solidFill>
                  <a:srgbClr val="FF0000"/>
                </a:solidFill>
                <a:effectLst/>
                <a:highlight>
                  <a:srgbClr val="FFFF00"/>
                </a:highlight>
                <a:ea typeface="+mn-ea"/>
                <a:cs typeface="+mn-cs"/>
              </a:rPr>
              <a:t>Two new VM sizes, E64i_v3 and E64is_v3, which are isolated to hardware and dedicated to a single customer. These VMs are best suited for workloads that require a high degree of isolation from other customers for compliance and regulatory requirements. The E64i_v3 and E64is_v3 will have the exact same performance and price as their cousins E64_v3 and E64s_v3, and they will be available in each of the regions where E64_v3 and E64s_v3 are available today. The small letter “I” in the VM name denotes that they are “Isolated” sizes. </a:t>
            </a:r>
          </a:p>
          <a:p>
            <a:pPr lvl="0"/>
            <a:endParaRPr lang="en-US" sz="900" dirty="0"/>
          </a:p>
          <a:p>
            <a:pPr lvl="0"/>
            <a:r>
              <a:rPr lang="en-US" sz="900" b="1" dirty="0"/>
              <a:t>Graphics Intensive</a:t>
            </a:r>
          </a:p>
          <a:p>
            <a:pPr lvl="0"/>
            <a:r>
              <a:rPr lang="en-US" sz="900" dirty="0"/>
              <a:t>NCv3 is available in East and South Central regions in the US. </a:t>
            </a:r>
            <a:r>
              <a:rPr lang="en-US" sz="900" b="0" i="0" u="none" strike="noStrike" kern="1200" dirty="0">
                <a:effectLst/>
                <a:ea typeface="+mn-ea"/>
                <a:cs typeface="+mn-cs"/>
              </a:rPr>
              <a:t>NCv3 brings NVIDIA’s latest GPU – the Tesla V100 – to our best-in-class HPC, machine learning, and AI products to bring huge amounts of value across a variety of industries. One preview customer told us their speech recognition models trained in less than 20 minutes, instead of the 1-2 hours that previous generation GPUs required. Another customer told us about the </a:t>
            </a:r>
            <a:br>
              <a:rPr lang="en-US" sz="900" b="0" i="0" u="none" strike="noStrike" kern="1200" dirty="0">
                <a:cs typeface="Calibri"/>
              </a:rPr>
            </a:br>
            <a:r>
              <a:rPr lang="en-US" sz="900" b="0" i="0" u="none" strike="noStrike" kern="1200" dirty="0">
                <a:effectLst/>
                <a:ea typeface="+mn-ea"/>
                <a:cs typeface="+mn-cs"/>
              </a:rPr>
              <a:t>40-50% performance boost they saw on their reservoir simulations.</a:t>
            </a:r>
            <a:endParaRPr lang="en-US" sz="900" b="0" i="0" u="none" strike="noStrike" kern="1200" dirty="0">
              <a:cs typeface="Calibri"/>
            </a:endParaRPr>
          </a:p>
          <a:p>
            <a:pPr lvl="0"/>
            <a:endParaRPr lang="en-US" sz="900" b="0" i="0" u="none" strike="noStrike" kern="1200" dirty="0">
              <a:solidFill>
                <a:schemeClr val="tx1"/>
              </a:solidFill>
              <a:effectLst/>
              <a:ea typeface="+mn-ea"/>
              <a:cs typeface="+mn-cs"/>
            </a:endParaRPr>
          </a:p>
          <a:p>
            <a:pPr lvl="0"/>
            <a:r>
              <a:rPr lang="en-US" sz="900" b="0" i="0" u="none" strike="noStrike" kern="1200" dirty="0">
                <a:effectLst/>
                <a:ea typeface="+mn-ea"/>
                <a:cs typeface="+mn-cs"/>
              </a:rPr>
              <a:t>The ND-series, powered by NVIDIA Tesla P40 GPUs based on the new Pascal Architecture, will be excellent for training and inference. These instances will provide more than twice the performance over the previous generation for FP32 (single-precision floating-point operations), for AI workloads utilizing CNTK, TensorFlow, Caffe, and other frameworks. The ND-series also offer a much larger GPU memory size (24 gigabytes), enabling you to fit much larger neural net models. Also, like our NC-series, the ND-series will offer RDMA and InfiniBand connectivity, so you will be able to run large-scale training jobs spanning hundreds of GPUs. They are available in East and West US and Southeast Asia.</a:t>
            </a:r>
            <a:endParaRPr lang="en-US" sz="900" b="0" i="0" u="none" strike="noStrike" kern="1200" dirty="0">
              <a:cs typeface="Calibri"/>
            </a:endParaRPr>
          </a:p>
          <a:p>
            <a:pPr lvl="0"/>
            <a:endParaRPr lang="en-US" sz="900" b="0" i="0" u="none" strike="noStrike" kern="1200" dirty="0">
              <a:solidFill>
                <a:schemeClr val="tx1"/>
              </a:solidFill>
              <a:effectLst/>
              <a:ea typeface="+mn-ea"/>
              <a:cs typeface="+mn-cs"/>
            </a:endParaRPr>
          </a:p>
          <a:p>
            <a:pPr lvl="0"/>
            <a:r>
              <a:rPr lang="en-US" sz="900" b="1" i="0" u="none" strike="noStrike" kern="1200" dirty="0">
                <a:solidFill>
                  <a:schemeClr val="tx1"/>
                </a:solidFill>
                <a:effectLst/>
                <a:ea typeface="+mn-ea"/>
                <a:cs typeface="+mn-cs"/>
              </a:rPr>
              <a:t>HPC</a:t>
            </a:r>
          </a:p>
          <a:p>
            <a:pPr lvl="0"/>
            <a:r>
              <a:rPr lang="en-US" sz="900" b="0" i="0" u="none" strike="noStrike" kern="1200" dirty="0">
                <a:solidFill>
                  <a:schemeClr val="tx1"/>
                </a:solidFill>
                <a:effectLst/>
                <a:ea typeface="+mn-ea"/>
                <a:cs typeface="+mn-cs"/>
              </a:rPr>
              <a:t>H-series VM sizes are suitable for any compute-intensive workload like complex engineering and scientific workloads like computational fluid dynamics, crash simulations, seismic exploration, and weather forecasting simulations. H-series VMs come with the fastest CPUs in public cloud, as well as RDMA with InfiniBand, which allows you to run high-performance computing (HPC) apps. The H-series is available across multiple regions in the US, Europe, and Asia. </a:t>
            </a:r>
          </a:p>
          <a:p>
            <a:pPr lvl="0"/>
            <a:endParaRPr lang="en-US" sz="900" dirty="0"/>
          </a:p>
          <a:p>
            <a:pPr lvl="0"/>
            <a:r>
              <a:rPr lang="en-US" sz="900" dirty="0"/>
              <a:t>Azure offers a comprehensive set of compute options for all types of apps, including entry-level, general purpose, memory optimized, storage optimized, and compute intensive.</a:t>
            </a:r>
          </a:p>
          <a:p>
            <a:pPr lvl="0"/>
            <a:endParaRPr lang="en-US" sz="900" dirty="0"/>
          </a:p>
          <a:p>
            <a:pPr defTabSz="950464">
              <a:defRPr/>
            </a:pPr>
            <a:r>
              <a:rPr lang="en-US" sz="900" dirty="0"/>
              <a:t>Our HPC and GPU fleet has fast performance with built-in </a:t>
            </a:r>
            <a:r>
              <a:rPr lang="en-US" sz="900" dirty="0" err="1"/>
              <a:t>Infiband</a:t>
            </a:r>
            <a:r>
              <a:rPr lang="en-US" sz="900" dirty="0"/>
              <a:t> support. Let’s take a look at some of the new compute types we’ve added:</a:t>
            </a:r>
          </a:p>
          <a:p>
            <a:pPr marL="171450" indent="-171450" defTabSz="950464">
              <a:buFont typeface="Arial" panose="020B0604020202020204" pitchFamily="34" charset="0"/>
              <a:buChar char="•"/>
              <a:defRPr/>
            </a:pPr>
            <a:r>
              <a:rPr lang="en-US" sz="900" dirty="0"/>
              <a:t>H-series: InfiniBand networking (industry-leading)</a:t>
            </a:r>
          </a:p>
          <a:p>
            <a:pPr marL="171450" indent="-171450">
              <a:buFont typeface="Arial" panose="020B0604020202020204" pitchFamily="34" charset="0"/>
              <a:buChar char="•"/>
            </a:pPr>
            <a:r>
              <a:rPr lang="en-US" sz="900" dirty="0"/>
              <a:t>SAP Large Instances up to </a:t>
            </a:r>
            <a:r>
              <a:rPr lang="en-US" sz="900" dirty="0" err="1"/>
              <a:t>to</a:t>
            </a:r>
            <a:r>
              <a:rPr lang="en-US" sz="900" dirty="0"/>
              <a:t> 20 TB (industry-leading) </a:t>
            </a:r>
          </a:p>
          <a:p>
            <a:pPr marL="171450" indent="-171450">
              <a:buFont typeface="Arial" panose="020B0604020202020204" pitchFamily="34" charset="0"/>
              <a:buChar char="•"/>
            </a:pPr>
            <a:r>
              <a:rPr lang="en-US" sz="900" dirty="0"/>
              <a:t>Fast networking (FPGA) – up to 30 </a:t>
            </a:r>
            <a:r>
              <a:rPr lang="en-US" sz="900" dirty="0" err="1"/>
              <a:t>gb</a:t>
            </a:r>
            <a:r>
              <a:rPr lang="en-US" sz="900" dirty="0"/>
              <a:t>/s from 25 </a:t>
            </a:r>
            <a:r>
              <a:rPr lang="en-US" sz="900" dirty="0" err="1"/>
              <a:t>gb</a:t>
            </a:r>
            <a:r>
              <a:rPr lang="en-US" sz="900" dirty="0"/>
              <a:t>/s last year (industry-leading)</a:t>
            </a:r>
          </a:p>
          <a:p>
            <a:pPr lvl="0"/>
            <a:endParaRPr lang="en-US" sz="900" dirty="0">
              <a:latin typeface="Segoe UI Light" pitchFamily="34" charset="0"/>
            </a:endParaRP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15612"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7/2018 19:24</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8</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1882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b="1" dirty="0"/>
              <a:t>Entry Level</a:t>
            </a:r>
          </a:p>
          <a:p>
            <a:r>
              <a:rPr lang="en-US" sz="900" b="0" i="0" u="none" strike="noStrike" kern="1200" dirty="0">
                <a:solidFill>
                  <a:schemeClr val="tx1"/>
                </a:solidFill>
                <a:effectLst/>
                <a:ea typeface="+mn-ea"/>
                <a:cs typeface="+mn-cs"/>
              </a:rPr>
              <a:t>A-series VMs have CPU performance and memory configurations best suited for entry-level workloads like development and test. They are economical and provide a low-cost option to get started with Azure.</a:t>
            </a:r>
          </a:p>
          <a:p>
            <a:r>
              <a:rPr lang="en-US" sz="900" b="0" i="0" u="none" strike="noStrike" kern="1200" dirty="0">
                <a:solidFill>
                  <a:schemeClr val="tx1"/>
                </a:solidFill>
                <a:effectLst/>
                <a:ea typeface="+mn-ea"/>
                <a:cs typeface="+mn-cs"/>
              </a:rPr>
              <a:t>Example use cases include development and test servers, low-traffic web servers, small-to-medium databases, servers for proof-of-concepts, and code repositories.</a:t>
            </a:r>
          </a:p>
          <a:p>
            <a:pPr lvl="0"/>
            <a:endParaRPr lang="en-US" sz="900" b="1" dirty="0"/>
          </a:p>
          <a:p>
            <a:pPr lvl="0"/>
            <a:r>
              <a:rPr lang="en-US" sz="900" b="1" dirty="0"/>
              <a:t>Burstable</a:t>
            </a:r>
          </a:p>
          <a:p>
            <a:r>
              <a:rPr lang="en-US" sz="900" kern="1200" dirty="0">
                <a:solidFill>
                  <a:schemeClr val="tx1"/>
                </a:solidFill>
                <a:effectLst/>
                <a:ea typeface="+mn-ea"/>
                <a:cs typeface="+mn-cs"/>
              </a:rPr>
              <a:t>B-series are economical virtual machines that provide a low-cost option for workloads that typically run at a low-to-moderate baseline CPU utilization, but sometimes need to burst to significantly higher CPU utilization when the demand rises. </a:t>
            </a:r>
          </a:p>
          <a:p>
            <a:r>
              <a:rPr lang="en-US" sz="900" b="0" kern="1200" dirty="0">
                <a:solidFill>
                  <a:schemeClr val="tx1"/>
                </a:solidFill>
                <a:effectLst/>
                <a:ea typeface="+mn-ea"/>
                <a:cs typeface="+mn-cs"/>
              </a:rPr>
              <a:t>Example use cases include </a:t>
            </a:r>
            <a:r>
              <a:rPr lang="en-US" sz="900" kern="1200" dirty="0">
                <a:solidFill>
                  <a:schemeClr val="tx1"/>
                </a:solidFill>
                <a:effectLst/>
                <a:ea typeface="+mn-ea"/>
                <a:cs typeface="+mn-cs"/>
              </a:rPr>
              <a:t>development and test servers, low-traffic web servers, small databases, micro services, servers for proof-of-concepts, and build servers.</a:t>
            </a:r>
          </a:p>
          <a:p>
            <a:pPr lvl="0"/>
            <a:endParaRPr lang="en-US" sz="900" b="1" dirty="0"/>
          </a:p>
          <a:p>
            <a:pPr lvl="0"/>
            <a:r>
              <a:rPr lang="en-US" sz="900" b="1" dirty="0"/>
              <a:t>General Purpose</a:t>
            </a:r>
          </a:p>
          <a:p>
            <a:r>
              <a:rPr lang="en-US" sz="900" b="0" i="0" u="none" strike="noStrike" kern="1200" dirty="0">
                <a:effectLst/>
                <a:ea typeface="+mn-ea"/>
                <a:cs typeface="+mn-cs"/>
              </a:rPr>
              <a:t>The Dv3 and Ev3 sizes are able to run Windows 2016 hosts and enable Nested Virtualization and Hyper-V Containers for these new VM sizes. Nested virtualization allows you to run a Hyper-V server on an Azure virtual machine. With nested virtualization, you can run a Hyper-V Container in a virtualized container host, set up a Hyper-V lab in a virtualized environment, or to test multi-machine scenarios. You can find more information on </a:t>
            </a:r>
            <a:r>
              <a:rPr lang="en-US" sz="900" b="0" i="0" u="none" strike="noStrike" kern="1200" dirty="0">
                <a:effectLst/>
                <a:ea typeface="+mn-ea"/>
                <a:cs typeface="+mn-cs"/>
                <a:hlinkClick r:id="rId3"/>
              </a:rPr>
              <a:t>Nested Virtualization on Azure</a:t>
            </a:r>
            <a:r>
              <a:rPr lang="en-US" sz="900" b="0" i="0" u="none" strike="noStrike" kern="1200" dirty="0">
                <a:effectLst/>
                <a:ea typeface="+mn-ea"/>
                <a:cs typeface="+mn-cs"/>
              </a:rPr>
              <a:t>. </a:t>
            </a:r>
            <a:br>
              <a:rPr lang="en-US" sz="900" b="0" i="0" u="none" strike="noStrike" kern="1200" dirty="0">
                <a:cs typeface="Calibri"/>
              </a:rPr>
            </a:br>
            <a:endParaRPr lang="en-US" sz="900" b="0" i="0" u="none" strike="noStrike" kern="1200" dirty="0">
              <a:solidFill>
                <a:schemeClr val="tx1"/>
              </a:solidFill>
              <a:effectLst/>
              <a:ea typeface="+mn-ea"/>
              <a:cs typeface="+mn-cs"/>
            </a:endParaRPr>
          </a:p>
          <a:p>
            <a:r>
              <a:rPr lang="en-US" sz="900" b="0" i="0" u="none" strike="noStrike" kern="1200" dirty="0">
                <a:effectLst/>
                <a:ea typeface="+mn-ea"/>
                <a:cs typeface="+mn-cs"/>
              </a:rPr>
              <a:t>Our new Dv3 VM sizes are a good balance of memory to vCPU performance, with up to 64 vCPUs and 256 </a:t>
            </a:r>
            <a:r>
              <a:rPr lang="en-US" sz="900" b="0" i="0" u="none" strike="noStrike" kern="1200" dirty="0" err="1">
                <a:effectLst/>
                <a:ea typeface="+mn-ea"/>
                <a:cs typeface="+mn-cs"/>
              </a:rPr>
              <a:t>GiB</a:t>
            </a:r>
            <a:r>
              <a:rPr lang="en-US" sz="900" b="0" i="0" u="none" strike="noStrike" kern="1200" dirty="0">
                <a:effectLst/>
                <a:ea typeface="+mn-ea"/>
                <a:cs typeface="+mn-cs"/>
              </a:rPr>
              <a:t> of RAM. Our newly named Ev3 sizes provide you with more memory to vCPU than the Dv3, so you can run larger workloads on sizes up to our largest E64 size, with 64 vCPUs and </a:t>
            </a:r>
            <a:br>
              <a:rPr lang="en-US" sz="900" b="0" i="0" u="none" strike="noStrike" kern="1200" dirty="0">
                <a:cs typeface="Calibri"/>
              </a:rPr>
            </a:br>
            <a:r>
              <a:rPr lang="en-US" sz="900" b="0" i="0" u="none" strike="noStrike" kern="1200" dirty="0">
                <a:effectLst/>
                <a:ea typeface="+mn-ea"/>
                <a:cs typeface="+mn-cs"/>
              </a:rPr>
              <a:t>432 </a:t>
            </a:r>
            <a:r>
              <a:rPr lang="en-US" sz="900" b="0" i="0" u="none" strike="noStrike" kern="1200" dirty="0" err="1">
                <a:effectLst/>
                <a:ea typeface="+mn-ea"/>
                <a:cs typeface="+mn-cs"/>
              </a:rPr>
              <a:t>GiB</a:t>
            </a:r>
            <a:r>
              <a:rPr lang="en-US" sz="900" b="0" i="0" u="none" strike="noStrike" kern="1200" dirty="0">
                <a:effectLst/>
                <a:ea typeface="+mn-ea"/>
                <a:cs typeface="+mn-cs"/>
              </a:rPr>
              <a:t> of RAM. D2v3 instances are the latest hyper-threaded generation of general purpose instances.</a:t>
            </a:r>
            <a:r>
              <a:rPr lang="en-US" sz="900" dirty="0"/>
              <a:t> </a:t>
            </a:r>
            <a:endParaRPr lang="en-US" sz="900" b="0" i="0" u="none" strike="noStrike" kern="1200" dirty="0">
              <a:cs typeface="Calibri"/>
            </a:endParaRPr>
          </a:p>
          <a:p>
            <a:pPr lvl="0"/>
            <a:endParaRPr lang="en-US" sz="900" dirty="0"/>
          </a:p>
          <a:p>
            <a:pPr lvl="0"/>
            <a:r>
              <a:rPr lang="en-US" sz="900" b="1" dirty="0"/>
              <a:t>Compute Intensive</a:t>
            </a:r>
          </a:p>
          <a:p>
            <a:r>
              <a:rPr lang="en-US" sz="900" dirty="0"/>
              <a:t>The F-series </a:t>
            </a:r>
            <a:r>
              <a:rPr lang="en-US" sz="900" b="0" i="0" u="none" strike="noStrike" kern="1200" dirty="0">
                <a:solidFill>
                  <a:schemeClr val="tx1"/>
                </a:solidFill>
                <a:effectLst/>
                <a:ea typeface="+mn-ea"/>
                <a:cs typeface="+mn-cs"/>
              </a:rPr>
              <a:t>VM sizes sport a higher CPU-to-memory ratio. They feature 2 GB RAM and 16 GB of local Solid State Drive (SSD) per CPU core, and are optimized for compute-intensive workloads. The F-series is based on the 2.4 GHz Intel Xeon E5-2673 v3 (Haswell) processor, which can achieve clock speeds as high as 3.1 GHz with the Intel Turbo Boost Technology 2.0. Example use cases include scenarios like batch processing, web servers, analytics, and gaming.</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Azure now offers the fastest </a:t>
            </a:r>
            <a:r>
              <a:rPr lang="en-US" sz="900" b="0" i="0" u="none" strike="noStrike" kern="1200" dirty="0">
                <a:solidFill>
                  <a:schemeClr val="tx1"/>
                </a:solidFill>
                <a:effectLst/>
                <a:ea typeface="+mn-ea"/>
                <a:cs typeface="+mn-cs"/>
                <a:hlinkClick r:id="rId4"/>
              </a:rPr>
              <a:t>Intel Xeon Scalable</a:t>
            </a:r>
            <a:r>
              <a:rPr lang="en-US" sz="900" b="0" i="0" u="none" strike="noStrike" kern="1200" dirty="0">
                <a:solidFill>
                  <a:schemeClr val="tx1"/>
                </a:solidFill>
                <a:effectLst/>
                <a:ea typeface="+mn-ea"/>
                <a:cs typeface="+mn-cs"/>
              </a:rPr>
              <a:t> processor, code-named Skylake, in the public cloud. In Azure, we have seen growing demand for massive large-scale computation by customers doing financial modeling, scientific analysis, genomics, geothermal visualization, and deep learning. Our drive to continuously innovate in Azure allows us to offer cost-effective and best-in-class hardware for these world-changing workloads. </a:t>
            </a:r>
          </a:p>
          <a:p>
            <a:endParaRPr lang="en-US" sz="900" dirty="0">
              <a:latin typeface="Segoe UI Light" pitchFamily="34" charset="0"/>
            </a:endParaRPr>
          </a:p>
          <a:p>
            <a:r>
              <a:rPr lang="en-US" sz="900" dirty="0">
                <a:latin typeface="Segoe UI Light" pitchFamily="34" charset="0"/>
              </a:rPr>
              <a:t>B-series: </a:t>
            </a:r>
          </a:p>
          <a:p>
            <a:r>
              <a:rPr lang="en-US" sz="900" dirty="0">
                <a:latin typeface="Segoe UI Light" pitchFamily="34" charset="0"/>
              </a:rPr>
              <a:t>Web servers, small DBs, and dev/test</a:t>
            </a:r>
          </a:p>
          <a:p>
            <a:endParaRPr lang="en-US" sz="900" dirty="0">
              <a:latin typeface="Segoe UI Light" pitchFamily="34" charset="0"/>
            </a:endParaRPr>
          </a:p>
          <a:p>
            <a:r>
              <a:rPr lang="en-US" sz="900" dirty="0">
                <a:latin typeface="Segoe UI Light" pitchFamily="34" charset="0"/>
              </a:rPr>
              <a:t>Dv3</a:t>
            </a:r>
          </a:p>
          <a:p>
            <a:r>
              <a:rPr lang="en-US" sz="900" dirty="0">
                <a:latin typeface="Segoe UI Light" pitchFamily="34" charset="0"/>
              </a:rPr>
              <a:t>Hyper-Threaded CPUs unlock full potential of latest processors</a:t>
            </a:r>
          </a:p>
          <a:p>
            <a:r>
              <a:rPr lang="en-US" sz="900" dirty="0">
                <a:latin typeface="Segoe UI Light" pitchFamily="34" charset="0"/>
              </a:rPr>
              <a:t>First wave for Nested virtualization and Hyper-V containers</a:t>
            </a:r>
          </a:p>
          <a:p>
            <a:r>
              <a:rPr lang="en-US" sz="900" dirty="0">
                <a:latin typeface="Segoe UI Light" pitchFamily="34" charset="0"/>
              </a:rPr>
              <a:t> </a:t>
            </a:r>
          </a:p>
          <a:p>
            <a:r>
              <a:rPr lang="en-US" sz="900" dirty="0">
                <a:latin typeface="Segoe UI Light" pitchFamily="34" charset="0"/>
              </a:rPr>
              <a:t>Fv2:</a:t>
            </a:r>
          </a:p>
          <a:p>
            <a:r>
              <a:rPr lang="en-US" sz="900" dirty="0">
                <a:latin typeface="Segoe UI Light" pitchFamily="34" charset="0"/>
              </a:rPr>
              <a:t>For HPC scenarios: Scientific modeling, cluster computing, gaming and analytics</a:t>
            </a: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15612"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7/2018 19:24</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9</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732655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NVIDIA’s latest GPU for HPC and AI is available in Azure</a:t>
            </a:r>
            <a:r>
              <a:rPr lang="en-US" sz="900" dirty="0"/>
              <a:t>. For those of you focused on HPC applications and AI, not too long ago we announced major expansion of our GPU fleet. NVIDIA GPUs are at the heart of a lot of discovery and innovation. And with our tools like </a:t>
            </a:r>
            <a:r>
              <a:rPr lang="en-US" sz="900" dirty="0">
                <a:hlinkClick r:id="rId3"/>
              </a:rPr>
              <a:t>Batch</a:t>
            </a:r>
            <a:r>
              <a:rPr lang="en-US" sz="900" dirty="0"/>
              <a:t>, </a:t>
            </a:r>
            <a:r>
              <a:rPr lang="en-US" sz="900" dirty="0">
                <a:hlinkClick r:id="rId4"/>
              </a:rPr>
              <a:t>Batch AI</a:t>
            </a:r>
            <a:r>
              <a:rPr lang="en-US" sz="900" dirty="0"/>
              <a:t>, and the </a:t>
            </a:r>
            <a:r>
              <a:rPr lang="en-US" sz="900" dirty="0">
                <a:hlinkClick r:id="rId5"/>
              </a:rPr>
              <a:t>Data Science Virtual Machine</a:t>
            </a:r>
            <a:r>
              <a:rPr lang="en-US" sz="900" dirty="0"/>
              <a:t> images, Azure customers and developers are in a great position to expand what is possible and bring to market innovative AI and HPC </a:t>
            </a:r>
            <a:r>
              <a:rPr lang="en-US" sz="900" dirty="0" err="1"/>
              <a:t>applications.</a:t>
            </a:r>
            <a:r>
              <a:rPr lang="en-US" sz="900" dirty="0" err="1">
                <a:hlinkClick r:id="rId6"/>
              </a:rPr>
              <a:t>https</a:t>
            </a:r>
            <a:r>
              <a:rPr lang="en-US" sz="900" dirty="0">
                <a:hlinkClick r:id="rId6"/>
              </a:rPr>
              <a:t>://azure.microsoft.com/</a:t>
            </a:r>
            <a:r>
              <a:rPr lang="en-US" sz="900" dirty="0" err="1">
                <a:hlinkClick r:id="rId6"/>
              </a:rPr>
              <a:t>en</a:t>
            </a:r>
            <a:r>
              <a:rPr lang="en-US" sz="900" dirty="0">
                <a:hlinkClick r:id="rId6"/>
              </a:rPr>
              <a:t>-us/blog/ncv3-vms-generally-available-other-gpus-expanding-regions</a:t>
            </a:r>
            <a:r>
              <a:rPr lang="en-US" sz="900" dirty="0"/>
              <a:t>/</a:t>
            </a:r>
            <a:r>
              <a:rPr lang="en-US" sz="900" b="0" i="0" u="none" strike="noStrike" kern="1200" dirty="0">
                <a:effectLst/>
                <a:ea typeface="+mn-ea"/>
                <a:cs typeface="+mn-cs"/>
              </a:rPr>
              <a:t>NCv3 brings NVIDIA’s latest GPU – the Tesla V100 – to our best-in-class HPC, machine learning, and AI products to bring huge amounts of value across a variety of industries. One preview customer told us their speech recognition models trained in less than 20 minutes, instead of the 1-2 hours that previous generation GPUs required. Another customer told us about the 40-50% performance boost they saw on their reservoir simulations. The ND-series, powered by NVIDIA Tesla P40 GPUs based on the new Pascal Architecture, will be excellent for training and inference. These instances will provide more than twice the performance over the previous generation for AI workloads utilizing CNTK, TensorFlow, Caffe, and other frameworks. The ND-series also offer a much larger GPU memory size (24 gigabytes), enabling you to fit much larger neural net models. Also, like our NC-series, the ND-series will offer RDMA and InfiniBand connectivity, so you will be able to run large-scale training jobs spanning hundreds of GPUs.</a:t>
            </a:r>
            <a:r>
              <a:rPr lang="en-US" sz="900" dirty="0"/>
              <a:t> </a:t>
            </a:r>
            <a:endParaRPr lang="en-US" sz="900" b="1" dirty="0">
              <a:cs typeface="Calibri"/>
            </a:endParaRPr>
          </a:p>
          <a:p>
            <a:endParaRPr lang="en-US" sz="900" dirty="0">
              <a:latin typeface="Segoe UI Light"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M-Series VMs now certified for SAP HANA. You can now develop applications on Azure for the SAP HANA platform that has been recently certified for M-Series. </a:t>
            </a:r>
            <a:r>
              <a:rPr lang="en-US" sz="900" dirty="0"/>
              <a:t>The</a:t>
            </a:r>
            <a:r>
              <a:rPr lang="en-US" sz="900" kern="1200" dirty="0">
                <a:effectLst/>
                <a:ea typeface="+mn-ea"/>
                <a:cs typeface="+mn-cs"/>
              </a:rPr>
              <a:t> M-series family of Azure virtual machines are the largest memory-optimized VMs to date. These VMs are ideal for heavy in-memory workloads such as SAP HANA. </a:t>
            </a:r>
            <a:r>
              <a:rPr lang="en-US" sz="900" b="0" i="0" u="none" strike="noStrike" kern="1200" dirty="0">
                <a:effectLst/>
                <a:ea typeface="+mn-ea"/>
                <a:cs typeface="+mn-cs"/>
              </a:rPr>
              <a:t>With the M-Series, these databases can load large datasets into memory and utilize the fast memory access with huge amounts of vCPU parallel processing to speed up queries and enable real-time analytics. You can deploy these large workloads in minutes and on-demand, scaling elastically as your usage demands. </a:t>
            </a:r>
            <a:r>
              <a:rPr lang="en-US" sz="900" dirty="0">
                <a:cs typeface="Calibri"/>
              </a:rPr>
              <a:t>Refer to the blog for the announcement </a:t>
            </a:r>
            <a:r>
              <a:rPr lang="en-US" sz="900" dirty="0">
                <a:hlinkClick r:id="rId7"/>
              </a:rPr>
              <a:t>https://azure.microsoft.com/en-us/blog/azure-m-series-vms-are-now-sap-hana-certified</a:t>
            </a:r>
            <a:r>
              <a:rPr lang="en-US" sz="900" dirty="0"/>
              <a:t>/</a:t>
            </a:r>
          </a:p>
          <a:p>
            <a:endParaRPr lang="en-US" sz="900" dirty="0">
              <a:latin typeface="Segoe UI Light" pitchFamily="34" charset="0"/>
            </a:endParaRPr>
          </a:p>
          <a:p>
            <a:r>
              <a:rPr lang="en-US" sz="900" b="1" i="0" u="none" strike="noStrike" kern="1200" dirty="0">
                <a:solidFill>
                  <a:schemeClr val="tx1"/>
                </a:solidFill>
                <a:effectLst/>
                <a:ea typeface="+mn-ea"/>
                <a:cs typeface="+mn-cs"/>
              </a:rPr>
              <a:t>Memory Optimized</a:t>
            </a:r>
          </a:p>
          <a:p>
            <a:r>
              <a:rPr lang="en-US" sz="900" kern="1200" dirty="0">
                <a:solidFill>
                  <a:schemeClr val="tx1"/>
                </a:solidFill>
                <a:effectLst/>
                <a:ea typeface="+mn-ea"/>
                <a:cs typeface="+mn-cs"/>
              </a:rPr>
              <a:t>The M-series family of Azure virtual machines are the largest memory optimized VMs to date. These VMs are ideal for heavy in-memory workloads, such as SAP HANA. </a:t>
            </a:r>
            <a:r>
              <a:rPr lang="en-US" sz="900" b="0" i="0" u="none" strike="noStrike" kern="1200" dirty="0">
                <a:solidFill>
                  <a:schemeClr val="tx1"/>
                </a:solidFill>
                <a:effectLst/>
                <a:ea typeface="+mn-ea"/>
                <a:cs typeface="+mn-cs"/>
              </a:rPr>
              <a:t>With the M-series, these databases can load large datasets into memory and utilize the fast memory access with huge amounts of vCPU parallel processing to speed up queries and enable real-time analytics. You can deploy these large workloads in minutes and on-demand, scaling elastically as your usage demands. </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G-series VMs feature the latest </a:t>
            </a:r>
            <a:r>
              <a:rPr lang="en-US" sz="900" b="0" i="0" u="none" strike="noStrike" kern="1200" dirty="0">
                <a:solidFill>
                  <a:schemeClr val="tx1"/>
                </a:solidFill>
                <a:effectLst/>
                <a:ea typeface="+mn-ea"/>
                <a:cs typeface="+mn-cs"/>
                <a:hlinkClick r:id="rId8"/>
              </a:rPr>
              <a:t>Intel Xeon processor E5 v3 family</a:t>
            </a:r>
            <a:r>
              <a:rPr lang="en-US" sz="900" b="0" i="0" u="none" strike="noStrike" kern="1200" dirty="0">
                <a:solidFill>
                  <a:schemeClr val="tx1"/>
                </a:solidFill>
                <a:effectLst/>
                <a:ea typeface="+mn-ea"/>
                <a:cs typeface="+mn-cs"/>
              </a:rPr>
              <a:t>, two times more memory, and four times more Solid State Drive storage (SSDs) than the General Purpose D-series. G-series sport RAM of up to ½ TB and 32 CPU cores, and provide unparalleled computational performance, memory, and local SSD storage for your most demanding applications. Example use cases include large SQL and NoSQL databases, ERP, SAP, and data warehousing solutions.</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Optimized for in-memory hyper-threaded applications, the E-series family of Azure virtual machines are optimized for heavy in-memory applications such as SAP HANA. These VMs are set up with high memory-to-core ratios that make them well-suited for relational database servers, with medium-to-large caches, and in-memory analytics. The E-series VMs range from 2 to 64 vCPUs and 16 to 432 </a:t>
            </a:r>
            <a:r>
              <a:rPr lang="en-US" sz="900" b="0" i="0" u="none" strike="noStrike" kern="1200" dirty="0" err="1">
                <a:solidFill>
                  <a:schemeClr val="tx1"/>
                </a:solidFill>
                <a:effectLst/>
                <a:ea typeface="+mn-ea"/>
                <a:cs typeface="+mn-cs"/>
              </a:rPr>
              <a:t>GiB</a:t>
            </a:r>
            <a:r>
              <a:rPr lang="en-US" sz="900" b="0" i="0" u="none" strike="noStrike" kern="1200" dirty="0">
                <a:solidFill>
                  <a:schemeClr val="tx1"/>
                </a:solidFill>
                <a:effectLst/>
                <a:ea typeface="+mn-ea"/>
                <a:cs typeface="+mn-cs"/>
              </a:rPr>
              <a:t> RAM, respectively.</a:t>
            </a:r>
          </a:p>
          <a:p>
            <a:endParaRPr lang="en-US" sz="900" b="0" i="0" u="none" strike="noStrike" kern="1200" dirty="0">
              <a:solidFill>
                <a:schemeClr val="tx1"/>
              </a:solidFill>
              <a:effectLst/>
              <a:ea typeface="+mn-ea"/>
              <a:cs typeface="+mn-cs"/>
            </a:endParaRPr>
          </a:p>
          <a:p>
            <a:pPr rtl="0" fontAlgn="base"/>
            <a:r>
              <a:rPr lang="en-US" sz="900" b="0" i="0" u="none" strike="noStrike" kern="1200" dirty="0">
                <a:solidFill>
                  <a:srgbClr val="FF0000"/>
                </a:solidFill>
                <a:effectLst/>
                <a:highlight>
                  <a:srgbClr val="FFFF00"/>
                </a:highlight>
                <a:ea typeface="+mn-ea"/>
                <a:cs typeface="+mn-cs"/>
              </a:rPr>
              <a:t>Two new VM sizes, E64i_v3 and E64is_v3, which are isolated to hardware and dedicated to a single customer. These VMs are best suited for workloads that require a high degree of isolation from other customers for compliance and regulatory requirements. The E64i_v3 and E64is_v3 will have the exact same performance and price as their cousins E64_v3 and E64s_v3, and they will be available in each of the regions where E64_v3 and E64s_v3 are available today. The small letter “I” in the VM name denotes that they are “Isolated” sizes. </a:t>
            </a:r>
          </a:p>
          <a:p>
            <a:pPr lvl="0"/>
            <a:endParaRPr lang="en-US" sz="900" dirty="0"/>
          </a:p>
          <a:p>
            <a:endParaRPr lang="en-US" sz="900" dirty="0">
              <a:latin typeface="Segoe UI Light" pitchFamily="34" charset="0"/>
            </a:endParaRP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15612"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7/2018 19:24</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0</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463426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ots and lots of great solutions</a:t>
            </a:r>
            <a:r>
              <a:rPr lang="en-US" baseline="0" dirty="0"/>
              <a:t> provided by our partners</a:t>
            </a:r>
          </a:p>
          <a:p>
            <a:pPr marL="171450" indent="-171450">
              <a:buFontTx/>
              <a:buChar char="-"/>
            </a:pPr>
            <a:r>
              <a:rPr lang="en-US" baseline="0" dirty="0"/>
              <a:t>These can be either individual VM solutions or multi-V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10273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2"/>
          <p:cNvPicPr>
            <a:picLocks noChangeAspect="1"/>
          </p:cNvPicPr>
          <p:nvPr userDrawn="1"/>
        </p:nvPicPr>
        <p:blipFill>
          <a:blip r:embed="rId2"/>
          <a:stretch>
            <a:fillRect/>
          </a:stretch>
        </p:blipFill>
        <p:spPr>
          <a:xfrm>
            <a:off x="2" y="2"/>
            <a:ext cx="12436474" cy="7000686"/>
          </a:xfrm>
          <a:prstGeom prst="rect">
            <a:avLst/>
          </a:prstGeom>
          <a:effectLst/>
        </p:spPr>
      </p:pic>
      <p:sp>
        <p:nvSpPr>
          <p:cNvPr id="15" name="Rectangle 14"/>
          <p:cNvSpPr/>
          <p:nvPr userDrawn="1"/>
        </p:nvSpPr>
        <p:spPr>
          <a:xfrm flipH="1">
            <a:off x="0" y="-7911"/>
            <a:ext cx="12436475" cy="7002436"/>
          </a:xfrm>
          <a:prstGeom prst="rect">
            <a:avLst/>
          </a:prstGeom>
          <a:gradFill>
            <a:gsLst>
              <a:gs pos="55000">
                <a:srgbClr val="000000">
                  <a:lumMod val="0"/>
                  <a:alpha val="0"/>
                </a:srgbClr>
              </a:gs>
              <a:gs pos="100000">
                <a:srgbClr val="000000">
                  <a:lumMod val="0"/>
                  <a:alpha val="54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488950"/>
            <a:ext cx="1645920" cy="352580"/>
          </a:xfrm>
          <a:prstGeom prst="rect">
            <a:avLst/>
          </a:prstGeom>
        </p:spPr>
      </p:pic>
      <p:sp>
        <p:nvSpPr>
          <p:cNvPr id="18" name="Rectangle 17"/>
          <p:cNvSpPr/>
          <p:nvPr userDrawn="1"/>
        </p:nvSpPr>
        <p:spPr bwMode="auto">
          <a:xfrm>
            <a:off x="279401" y="2153819"/>
            <a:ext cx="6529388" cy="3745331"/>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dirty="0" err="1">
              <a:solidFill>
                <a:schemeClr val="bg1"/>
              </a:solidFill>
              <a:ea typeface="Segoe UI" pitchFamily="34" charset="0"/>
              <a:cs typeface="Segoe UI" pitchFamily="34" charset="0"/>
            </a:endParaRPr>
          </a:p>
        </p:txBody>
      </p:sp>
      <p:sp>
        <p:nvSpPr>
          <p:cNvPr id="19" name="Title 1"/>
          <p:cNvSpPr>
            <a:spLocks noGrp="1"/>
          </p:cNvSpPr>
          <p:nvPr>
            <p:ph type="title" hasCustomPrompt="1"/>
          </p:nvPr>
        </p:nvSpPr>
        <p:spPr bwMode="auto">
          <a:xfrm>
            <a:off x="274637" y="2168526"/>
            <a:ext cx="6523969" cy="1766866"/>
          </a:xfrm>
          <a:noFill/>
        </p:spPr>
        <p:txBody>
          <a:bodyPr lIns="146304" tIns="91440" rIns="146304" bIns="91440" anchor="t" anchorCtr="0"/>
          <a:lstStyle>
            <a:lvl1pPr>
              <a:defRPr sz="5400" spc="-100" baseline="0">
                <a:solidFill>
                  <a:schemeClr val="bg1"/>
                </a:solidFill>
              </a:defRPr>
            </a:lvl1pPr>
          </a:lstStyle>
          <a:p>
            <a:r>
              <a:rPr lang="en-US" dirty="0"/>
              <a:t>Presentation title</a:t>
            </a:r>
          </a:p>
        </p:txBody>
      </p:sp>
      <p:sp>
        <p:nvSpPr>
          <p:cNvPr id="20" name="Text Placeholder 2"/>
          <p:cNvSpPr>
            <a:spLocks noGrp="1"/>
          </p:cNvSpPr>
          <p:nvPr>
            <p:ph type="body" sz="quarter" idx="14" hasCustomPrompt="1"/>
          </p:nvPr>
        </p:nvSpPr>
        <p:spPr bwMode="auto">
          <a:xfrm>
            <a:off x="272986" y="3935393"/>
            <a:ext cx="6525620" cy="1960734"/>
          </a:xfrm>
        </p:spPr>
        <p:txBody>
          <a:bodyPr tIns="109728" bIns="109728">
            <a:noAutofit/>
          </a:bodyPr>
          <a:lstStyle>
            <a:lvl1pPr marL="0" indent="0">
              <a:spcBef>
                <a:spcPts val="0"/>
              </a:spcBef>
              <a:buNone/>
              <a:defRPr sz="2800">
                <a:solidFill>
                  <a:schemeClr val="bg1"/>
                </a:solidFill>
              </a:defRPr>
            </a:lvl1pPr>
          </a:lstStyle>
          <a:p>
            <a:pPr lvl="0"/>
            <a:r>
              <a:rPr lang="en-US" dirty="0"/>
              <a:t>Speaker Name</a:t>
            </a:r>
          </a:p>
        </p:txBody>
      </p:sp>
    </p:spTree>
    <p:extLst>
      <p:ext uri="{BB962C8B-B14F-4D97-AF65-F5344CB8AC3E}">
        <p14:creationId xmlns:p14="http://schemas.microsoft.com/office/powerpoint/2010/main" val="2656474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152144"/>
            <a:ext cx="5486399" cy="2318583"/>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152144"/>
            <a:ext cx="5486399" cy="2318583"/>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93743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4" name="Text Placeholder 3"/>
          <p:cNvSpPr>
            <a:spLocks noGrp="1"/>
          </p:cNvSpPr>
          <p:nvPr>
            <p:ph type="body" sz="quarter" idx="10"/>
          </p:nvPr>
        </p:nvSpPr>
        <p:spPr>
          <a:xfrm>
            <a:off x="476084" y="2211695"/>
            <a:ext cx="5486399" cy="2318583"/>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478851" y="2211695"/>
            <a:ext cx="5486399" cy="2318583"/>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2"/>
          </p:nvPr>
        </p:nvSpPr>
        <p:spPr>
          <a:xfrm>
            <a:off x="274640" y="1155940"/>
            <a:ext cx="11887200" cy="489689"/>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dirty="0"/>
              <a:t>Click to edit Master text styles</a:t>
            </a:r>
          </a:p>
        </p:txBody>
      </p:sp>
    </p:spTree>
    <p:extLst>
      <p:ext uri="{BB962C8B-B14F-4D97-AF65-F5344CB8AC3E}">
        <p14:creationId xmlns:p14="http://schemas.microsoft.com/office/powerpoint/2010/main" val="56138089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152144"/>
            <a:ext cx="5486399" cy="2275495"/>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152144"/>
            <a:ext cx="5486399" cy="2275495"/>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690892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152144"/>
            <a:ext cx="5486399" cy="2275495"/>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152144"/>
            <a:ext cx="5486399" cy="2275495"/>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009845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88588358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b" anchorCtr="0"/>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98699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b" anchorCtr="0"/>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657227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882121"/>
            <a:ext cx="11887200" cy="1181862"/>
          </a:xfrm>
          <a:noFill/>
        </p:spPr>
        <p:txBody>
          <a:bodyPr tIns="91440" bIns="91440" anchor="t" anchorCtr="0">
            <a:spAutoFit/>
          </a:bodyPr>
          <a:lstStyle>
            <a:lvl1pPr>
              <a:defRPr sz="7196" spc="-100" baseline="0">
                <a:solidFill>
                  <a:schemeClr val="tx1"/>
                </a:solidFill>
              </a:defRPr>
            </a:lvl1pPr>
          </a:lstStyle>
          <a:p>
            <a:r>
              <a:rPr lang="en-US" dirty="0"/>
              <a:t>Section title</a:t>
            </a:r>
          </a:p>
        </p:txBody>
      </p:sp>
    </p:spTree>
    <p:extLst>
      <p:ext uri="{BB962C8B-B14F-4D97-AF65-F5344CB8AC3E}">
        <p14:creationId xmlns:p14="http://schemas.microsoft.com/office/powerpoint/2010/main" val="730314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880361"/>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95500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880361"/>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887804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09" y="-1"/>
            <a:ext cx="12433366" cy="6999306"/>
          </a:xfrm>
          <a:prstGeom prst="rect">
            <a:avLst/>
          </a:prstGeom>
        </p:spPr>
      </p:pic>
      <p:sp>
        <p:nvSpPr>
          <p:cNvPr id="15" name="Rectangle 14"/>
          <p:cNvSpPr/>
          <p:nvPr userDrawn="1"/>
        </p:nvSpPr>
        <p:spPr>
          <a:xfrm flipH="1">
            <a:off x="0" y="-7911"/>
            <a:ext cx="12436475" cy="7002436"/>
          </a:xfrm>
          <a:prstGeom prst="rect">
            <a:avLst/>
          </a:prstGeom>
          <a:gradFill>
            <a:gsLst>
              <a:gs pos="55000">
                <a:srgbClr val="000000">
                  <a:lumMod val="0"/>
                  <a:alpha val="0"/>
                </a:srgbClr>
              </a:gs>
              <a:gs pos="100000">
                <a:srgbClr val="000000">
                  <a:lumMod val="0"/>
                  <a:alpha val="54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bwMode="auto">
          <a:xfrm>
            <a:off x="279400" y="2211694"/>
            <a:ext cx="6665919" cy="3804892"/>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488950"/>
            <a:ext cx="1645920" cy="352580"/>
          </a:xfrm>
          <a:prstGeom prst="rect">
            <a:avLst/>
          </a:prstGeom>
        </p:spPr>
      </p:pic>
      <p:sp>
        <p:nvSpPr>
          <p:cNvPr id="19" name="Title 1"/>
          <p:cNvSpPr>
            <a:spLocks noGrp="1"/>
          </p:cNvSpPr>
          <p:nvPr>
            <p:ph type="title" hasCustomPrompt="1"/>
          </p:nvPr>
        </p:nvSpPr>
        <p:spPr bwMode="auto">
          <a:xfrm>
            <a:off x="274637" y="2168525"/>
            <a:ext cx="6523969" cy="2784635"/>
          </a:xfrm>
          <a:noFill/>
        </p:spPr>
        <p:txBody>
          <a:bodyPr lIns="146304" tIns="91440" rIns="146304" bIns="91440" anchor="t" anchorCtr="0"/>
          <a:lstStyle>
            <a:lvl1pPr>
              <a:defRPr sz="5915" spc="-100" baseline="0">
                <a:gradFill>
                  <a:gsLst>
                    <a:gs pos="76250">
                      <a:srgbClr val="FFFFFF"/>
                    </a:gs>
                    <a:gs pos="51000">
                      <a:srgbClr val="FFFFFF"/>
                    </a:gs>
                  </a:gsLst>
                  <a:lin ang="5400000" scaled="0"/>
                </a:gradFill>
              </a:defRPr>
            </a:lvl1pPr>
          </a:lstStyle>
          <a:p>
            <a:r>
              <a:rPr lang="en-US" dirty="0"/>
              <a:t>Presentation title</a:t>
            </a:r>
          </a:p>
        </p:txBody>
      </p:sp>
      <p:sp>
        <p:nvSpPr>
          <p:cNvPr id="20" name="Text Placeholder 2"/>
          <p:cNvSpPr>
            <a:spLocks noGrp="1"/>
          </p:cNvSpPr>
          <p:nvPr>
            <p:ph type="body" sz="quarter" idx="14" hasCustomPrompt="1"/>
          </p:nvPr>
        </p:nvSpPr>
        <p:spPr bwMode="auto">
          <a:xfrm>
            <a:off x="272986" y="4965701"/>
            <a:ext cx="6525620" cy="930425"/>
          </a:xfrm>
        </p:spPr>
        <p:txBody>
          <a:bodyPr tIns="109728" bIns="109728">
            <a:noAutofit/>
          </a:bodyPr>
          <a:lstStyle>
            <a:lvl1pPr marL="0" indent="0">
              <a:spcBef>
                <a:spcPts val="0"/>
              </a:spcBef>
              <a:buNone/>
              <a:defRPr sz="2856">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4015952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197857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8062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4584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987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152144"/>
            <a:ext cx="11887199" cy="1792157"/>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715907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amp;A">
    <p:bg>
      <p:bgPr>
        <a:solidFill>
          <a:srgbClr val="0078D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9765" y="3101944"/>
            <a:ext cx="7376710" cy="3670791"/>
          </a:xfrm>
          <a:prstGeom prst="rect">
            <a:avLst/>
          </a:prstGeom>
        </p:spPr>
      </p:pic>
    </p:spTree>
    <p:extLst>
      <p:ext uri="{BB962C8B-B14F-4D97-AF65-F5344CB8AC3E}">
        <p14:creationId xmlns:p14="http://schemas.microsoft.com/office/powerpoint/2010/main" val="1781920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tx1"/>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288987" y="5819467"/>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60" tIns="143409" rIns="179260"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6"/>
              </a:lnSpc>
              <a:spcBef>
                <a:spcPct val="0"/>
              </a:spcBef>
              <a:spcAft>
                <a:spcPct val="0"/>
              </a:spcAft>
            </a:pPr>
            <a:r>
              <a:rPr lang="en-US" sz="980" dirty="0">
                <a:solidFill>
                  <a:schemeClr val="bg1"/>
                </a:solidFill>
              </a:rPr>
              <a:t>© 2018 Microsoft Corporation. All rights reserved. Microsoft, Windows, and other product names are or may be registered trademarks and/or trademarks in the U.S. and/or other countries.</a:t>
            </a:r>
          </a:p>
          <a:p>
            <a:pPr defTabSz="913330" fontAlgn="base">
              <a:lnSpc>
                <a:spcPts val="1176"/>
              </a:lnSpc>
              <a:spcBef>
                <a:spcPct val="0"/>
              </a:spcBef>
              <a:spcAft>
                <a:spcPct val="0"/>
              </a:spcAft>
            </a:pPr>
            <a:r>
              <a:rPr lang="en-US" sz="980" dirty="0">
                <a:solidFill>
                  <a:schemeClr val="bg1"/>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6"/>
              </a:lnSpc>
              <a:spcBef>
                <a:spcPct val="0"/>
              </a:spcBef>
              <a:spcAft>
                <a:spcPct val="0"/>
              </a:spcAft>
            </a:pPr>
            <a:r>
              <a:rPr lang="en-US" sz="980" dirty="0">
                <a:solidFill>
                  <a:schemeClr val="bg1"/>
                </a:solidFill>
              </a:rPr>
              <a:t>conditions, it should not be interpreted to be a commitment on the part of Microsoft, and Microsoft cannot guarantee the accuracy of any information provided after the date of this presentation.</a:t>
            </a:r>
          </a:p>
          <a:p>
            <a:pPr defTabSz="913330" fontAlgn="base">
              <a:lnSpc>
                <a:spcPts val="1176"/>
              </a:lnSpc>
              <a:spcBef>
                <a:spcPct val="0"/>
              </a:spcBef>
              <a:spcAft>
                <a:spcPct val="0"/>
              </a:spcAft>
            </a:pPr>
            <a:r>
              <a:rPr lang="en-US" sz="980" dirty="0">
                <a:solidFill>
                  <a:schemeClr val="bg1"/>
                </a:solidFill>
              </a:rPr>
              <a:t>MICROSOFT MAKES NO WARRANTIES, EXPRESS, IMPLIED OR STATUTORY, AS TO THE INFORMATION IN THIS PRESENTATION.</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92849" y="3145040"/>
            <a:ext cx="3288506" cy="704445"/>
          </a:xfrm>
          <a:prstGeom prst="rect">
            <a:avLst/>
          </a:prstGeom>
        </p:spPr>
      </p:pic>
    </p:spTree>
    <p:extLst>
      <p:ext uri="{BB962C8B-B14F-4D97-AF65-F5344CB8AC3E}">
        <p14:creationId xmlns:p14="http://schemas.microsoft.com/office/powerpoint/2010/main" val="117534451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336997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396542"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74639" y="295274"/>
            <a:ext cx="4815520" cy="1067272"/>
          </a:xfrm>
        </p:spPr>
        <p:txBody>
          <a:bodyPr vert="horz" wrap="square" lIns="146304" tIns="91440" rIns="146304" bIns="91440" rtlCol="0" anchor="t">
            <a:noAutofit/>
          </a:bodyPr>
          <a:lstStyle>
            <a:lvl1pPr>
              <a:defRPr lang="en-US" sz="2856" b="0" kern="1200" cap="all" spc="510" baseline="0" dirty="0">
                <a:ln w="3175">
                  <a:noFill/>
                </a:ln>
                <a:solidFill>
                  <a:schemeClr val="bg1"/>
                </a:solidFill>
                <a:effectLst/>
                <a:latin typeface="Segoe UI Semilight" charset="0"/>
                <a:ea typeface="+mn-ea"/>
                <a:cs typeface="Segoe UI Semilight" charset="0"/>
              </a:defRPr>
            </a:lvl1pPr>
          </a:lstStyle>
          <a:p>
            <a:pPr marL="0" lvl="0" algn="l" defTabSz="932597" rtl="0" eaLnBrk="1" latinLnBrk="0" hangingPunct="1">
              <a:lnSpc>
                <a:spcPct val="100000"/>
              </a:lnSpc>
              <a:spcBef>
                <a:spcPct val="0"/>
              </a:spcBef>
              <a:buNone/>
            </a:pPr>
            <a:r>
              <a:rPr lang="en-US" dirty="0"/>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74639" y="2360316"/>
            <a:ext cx="4638880" cy="4129049"/>
          </a:xfrm>
        </p:spPr>
        <p:txBody>
          <a:bodyPr>
            <a:normAutofit/>
          </a:bodyPr>
          <a:lstStyle>
            <a:lvl1pPr>
              <a:lnSpc>
                <a:spcPct val="100000"/>
              </a:lnSpc>
              <a:spcBef>
                <a:spcPts val="204"/>
              </a:spcBef>
              <a:spcAft>
                <a:spcPts val="1224"/>
              </a:spcAft>
              <a:defRPr lang="en-US" sz="1428" spc="102" smtClean="0">
                <a:solidFill>
                  <a:schemeClr val="bg1"/>
                </a:solidFill>
                <a:latin typeface="Segoe UI Semilight" charset="0"/>
                <a:cs typeface="Segoe UI Semilight" charset="0"/>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0" lvl="0" indent="0" defTabSz="932597">
              <a:spcBef>
                <a:spcPts val="1020"/>
              </a:spcBef>
              <a:buNone/>
            </a:pPr>
            <a:r>
              <a:rPr lang="en-US"/>
              <a:t>Edit Master text styles</a:t>
            </a:r>
          </a:p>
        </p:txBody>
      </p:sp>
    </p:spTree>
    <p:extLst>
      <p:ext uri="{BB962C8B-B14F-4D97-AF65-F5344CB8AC3E}">
        <p14:creationId xmlns:p14="http://schemas.microsoft.com/office/powerpoint/2010/main" val="13527568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gradFill flip="none" rotWithShape="1">
          <a:gsLst>
            <a:gs pos="25000">
              <a:schemeClr val="tx1"/>
            </a:gs>
            <a:gs pos="80000">
              <a:schemeClr val="tx1"/>
            </a:gs>
          </a:gsLst>
          <a:path path="circle">
            <a:fillToRect l="100000" b="100000"/>
          </a:path>
          <a:tileRect t="-100000" r="-100000"/>
        </a:gra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4521200"/>
            <a:ext cx="6399213" cy="1263646"/>
          </a:xfrm>
          <a:noFill/>
        </p:spPr>
        <p:txBody>
          <a:bodyPr lIns="146304" tIns="109728" rIns="146304" bIns="109728">
            <a:noAutofit/>
          </a:bodyPr>
          <a:lstStyle>
            <a:lvl1pPr marL="0" indent="0">
              <a:spcBef>
                <a:spcPts val="0"/>
              </a:spcBef>
              <a:buNone/>
              <a:defRPr sz="285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2387102"/>
          </a:xfrm>
          <a:noFill/>
        </p:spPr>
        <p:txBody>
          <a:bodyPr lIns="146304" tIns="91440" rIns="146304" bIns="91440" anchor="t" anchorCtr="0"/>
          <a:lstStyle>
            <a:lvl1pPr>
              <a:defRPr sz="5915" spc="-100" baseline="0">
                <a:solidFill>
                  <a:schemeClr val="bg1"/>
                </a:soli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488950"/>
            <a:ext cx="1645920" cy="352580"/>
          </a:xfrm>
          <a:prstGeom prst="rect">
            <a:avLst/>
          </a:prstGeom>
        </p:spPr>
      </p:pic>
    </p:spTree>
    <p:extLst>
      <p:ext uri="{BB962C8B-B14F-4D97-AF65-F5344CB8AC3E}">
        <p14:creationId xmlns:p14="http://schemas.microsoft.com/office/powerpoint/2010/main" val="2398488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95367" y="1152144"/>
            <a:ext cx="11887200" cy="1804096"/>
          </a:xfrm>
        </p:spPr>
        <p:txBody>
          <a:bodyPr/>
          <a:lstStyle>
            <a:lvl1pPr marL="0" indent="0">
              <a:buNone/>
              <a:defRPr sz="3264">
                <a:solidFill>
                  <a:schemeClr val="tx1"/>
                </a:solidFill>
              </a:defRPr>
            </a:lvl1pPr>
            <a:lvl2pPr marL="0" indent="0">
              <a:spcBef>
                <a:spcPts val="0"/>
              </a:spcBef>
              <a:spcAft>
                <a:spcPts val="700"/>
              </a:spcAft>
              <a:buFontTx/>
              <a:buNone/>
              <a:defRPr sz="2000"/>
            </a:lvl2pPr>
            <a:lvl3pPr marL="228513" indent="0">
              <a:spcBef>
                <a:spcPts val="0"/>
              </a:spcBef>
              <a:spcAft>
                <a:spcPts val="700"/>
              </a:spcAft>
              <a:buNone/>
              <a:defRPr/>
            </a:lvl3pPr>
            <a:lvl4pPr marL="457024" indent="0">
              <a:spcBef>
                <a:spcPts val="0"/>
              </a:spcBef>
              <a:spcAft>
                <a:spcPts val="700"/>
              </a:spcAft>
              <a:buNone/>
              <a:defRPr/>
            </a:lvl4pPr>
            <a:lvl5pPr marL="685537" indent="0">
              <a:spcBef>
                <a:spcPts val="0"/>
              </a:spcBef>
              <a:spcAft>
                <a:spcPts val="700"/>
              </a:spcAft>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6573575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6"/>
            <a:ext cx="11889564" cy="840189"/>
          </a:xfrm>
        </p:spPr>
        <p:txBody>
          <a:bodyPr/>
          <a:lstStyle/>
          <a:p>
            <a:r>
              <a:rPr lang="en-US" dirty="0"/>
              <a:t>Click to edit Master title style</a:t>
            </a:r>
          </a:p>
        </p:txBody>
      </p:sp>
      <p:sp>
        <p:nvSpPr>
          <p:cNvPr id="6" name="Text Placeholder 5"/>
          <p:cNvSpPr>
            <a:spLocks noGrp="1"/>
          </p:cNvSpPr>
          <p:nvPr>
            <p:ph type="body" sz="quarter" idx="10"/>
          </p:nvPr>
        </p:nvSpPr>
        <p:spPr>
          <a:xfrm>
            <a:off x="274640" y="1155939"/>
            <a:ext cx="11887200" cy="168963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738322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2 lines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944349" cy="1401178"/>
          </a:xfrm>
        </p:spPr>
        <p:txBody>
          <a:bodyPr/>
          <a:lstStyle/>
          <a:p>
            <a:r>
              <a:rPr lang="en-US" dirty="0"/>
              <a:t>Click to edit Master title style</a:t>
            </a:r>
          </a:p>
        </p:txBody>
      </p:sp>
      <p:sp>
        <p:nvSpPr>
          <p:cNvPr id="6" name="Text Placeholder 5"/>
          <p:cNvSpPr>
            <a:spLocks noGrp="1"/>
          </p:cNvSpPr>
          <p:nvPr>
            <p:ph type="body" sz="quarter" idx="10"/>
          </p:nvPr>
        </p:nvSpPr>
        <p:spPr>
          <a:xfrm>
            <a:off x="274640" y="1730637"/>
            <a:ext cx="11887200" cy="48789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dirty="0"/>
              <a:t>Click to edit Master text styles</a:t>
            </a:r>
          </a:p>
        </p:txBody>
      </p:sp>
    </p:spTree>
    <p:extLst>
      <p:ext uri="{BB962C8B-B14F-4D97-AF65-F5344CB8AC3E}">
        <p14:creationId xmlns:p14="http://schemas.microsoft.com/office/powerpoint/2010/main" val="97034392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152145"/>
            <a:ext cx="11887200" cy="1833707"/>
          </a:xfrm>
        </p:spPr>
        <p:txBody>
          <a:bodyPr>
            <a:spAutoFit/>
          </a:bodyPr>
          <a:lstStyle>
            <a:lvl1pPr>
              <a:defRPr sz="359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191480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152145"/>
            <a:ext cx="11887200" cy="1833707"/>
          </a:xfrm>
        </p:spPr>
        <p:txBody>
          <a:bodyPr>
            <a:spAutoFit/>
          </a:bodyPr>
          <a:lstStyle>
            <a:lvl1pPr>
              <a:defRPr sz="359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519820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152144"/>
            <a:ext cx="5486399" cy="2318583"/>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152144"/>
            <a:ext cx="5486399" cy="2318583"/>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997147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820092"/>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2" y="1155241"/>
            <a:ext cx="11887198" cy="1761195"/>
          </a:xfrm>
          <a:prstGeom prst="rect">
            <a:avLst/>
          </a:prstGeom>
        </p:spPr>
        <p:txBody>
          <a:bodyPr vert="horz" wrap="square" lIns="146304" tIns="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3037181"/>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4" r:id="rId6"/>
    <p:sldLayoutId id="2147484755" r:id="rId7"/>
    <p:sldLayoutId id="2147484756" r:id="rId8"/>
    <p:sldLayoutId id="2147484757" r:id="rId9"/>
    <p:sldLayoutId id="2147484758" r:id="rId10"/>
    <p:sldLayoutId id="2147484759" r:id="rId11"/>
    <p:sldLayoutId id="2147484760" r:id="rId12"/>
    <p:sldLayoutId id="2147484761" r:id="rId13"/>
    <p:sldLayoutId id="2147484762" r:id="rId14"/>
    <p:sldLayoutId id="2147484763" r:id="rId15"/>
    <p:sldLayoutId id="2147484764" r:id="rId16"/>
    <p:sldLayoutId id="2147484765" r:id="rId17"/>
    <p:sldLayoutId id="2147484766" r:id="rId18"/>
    <p:sldLayoutId id="2147484767" r:id="rId19"/>
    <p:sldLayoutId id="2147484770" r:id="rId20"/>
    <p:sldLayoutId id="2147484771" r:id="rId21"/>
    <p:sldLayoutId id="2147484772" r:id="rId22"/>
    <p:sldLayoutId id="2147484773" r:id="rId23"/>
    <p:sldLayoutId id="2147484774" r:id="rId24"/>
    <p:sldLayoutId id="2147484807" r:id="rId25"/>
    <p:sldLayoutId id="2147484806" r:id="rId26"/>
    <p:sldLayoutId id="2147484777" r:id="rId27"/>
    <p:sldLayoutId id="2147484808" r:id="rId28"/>
  </p:sldLayoutIdLst>
  <p:transition>
    <p:fade/>
  </p:transition>
  <p:txStyles>
    <p:titleStyle>
      <a:lvl1pPr algn="l" defTabSz="932384" rtl="0" eaLnBrk="1" latinLnBrk="0" hangingPunct="1">
        <a:lnSpc>
          <a:spcPct val="90000"/>
        </a:lnSpc>
        <a:spcBef>
          <a:spcPct val="0"/>
        </a:spcBef>
        <a:buNone/>
        <a:defRPr lang="en-US" sz="4896"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6">
          <p15:clr>
            <a:srgbClr val="5ACBF0"/>
          </p15:clr>
        </p15:guide>
        <p15:guide id="3" pos="764">
          <p15:clr>
            <a:srgbClr val="5ACBF0"/>
          </p15:clr>
        </p15:guide>
        <p15:guide id="4" pos="1352">
          <p15:clr>
            <a:srgbClr val="5ACBF0"/>
          </p15:clr>
        </p15:guide>
        <p15:guide id="5" pos="1939">
          <p15:clr>
            <a:srgbClr val="5ACBF0"/>
          </p15:clr>
        </p15:guide>
        <p15:guide id="6" pos="2527">
          <p15:clr>
            <a:srgbClr val="5ACBF0"/>
          </p15:clr>
        </p15:guide>
        <p15:guide id="7" pos="3114">
          <p15:clr>
            <a:srgbClr val="5ACBF0"/>
          </p15:clr>
        </p15:guide>
        <p15:guide id="8" pos="3702">
          <p15:clr>
            <a:srgbClr val="5ACBF0"/>
          </p15:clr>
        </p15:guide>
        <p15:guide id="9" pos="4289">
          <p15:clr>
            <a:srgbClr val="5ACBF0"/>
          </p15:clr>
        </p15:guide>
        <p15:guide id="10" pos="4877">
          <p15:clr>
            <a:srgbClr val="5ACBF0"/>
          </p15:clr>
        </p15:guide>
        <p15:guide id="11" pos="5464">
          <p15:clr>
            <a:srgbClr val="5ACBF0"/>
          </p15:clr>
        </p15:guide>
        <p15:guide id="12" pos="6052">
          <p15:clr>
            <a:srgbClr val="5ACBF0"/>
          </p15:clr>
        </p15:guide>
        <p15:guide id="13" pos="6640">
          <p15:clr>
            <a:srgbClr val="5ACBF0"/>
          </p15:clr>
        </p15:guide>
        <p15:guide id="14" pos="7227">
          <p15:clr>
            <a:srgbClr val="5ACBF0"/>
          </p15:clr>
        </p15:guide>
        <p15:guide id="15" pos="7815">
          <p15:clr>
            <a:srgbClr val="5ACBF0"/>
          </p15:clr>
        </p15:guide>
        <p15:guide id="16" pos="293" userDrawn="1">
          <p15:clr>
            <a:srgbClr val="C35EA4"/>
          </p15:clr>
        </p15:guide>
        <p15:guide id="17" pos="7541" userDrawn="1">
          <p15:clr>
            <a:srgbClr val="C35EA4"/>
          </p15:clr>
        </p15:guide>
        <p15:guide id="18" orient="horz" pos="778">
          <p15:clr>
            <a:srgbClr val="5ACBF0"/>
          </p15:clr>
        </p15:guide>
        <p15:guide id="19" orient="horz" pos="1366">
          <p15:clr>
            <a:srgbClr val="5ACBF0"/>
          </p15:clr>
        </p15:guide>
        <p15:guide id="20" orient="horz" pos="1953">
          <p15:clr>
            <a:srgbClr val="5ACBF0"/>
          </p15:clr>
        </p15:guide>
        <p15:guide id="21" orient="horz" pos="2541">
          <p15:clr>
            <a:srgbClr val="5ACBF0"/>
          </p15:clr>
        </p15:guide>
        <p15:guide id="22" orient="horz" pos="3128">
          <p15:clr>
            <a:srgbClr val="5ACBF0"/>
          </p15:clr>
        </p15:guide>
        <p15:guide id="23" orient="horz" pos="3716">
          <p15:clr>
            <a:srgbClr val="5ACBF0"/>
          </p15:clr>
        </p15:guide>
        <p15:guide id="24" orient="horz" pos="4303">
          <p15:clr>
            <a:srgbClr val="5ACBF0"/>
          </p15:clr>
        </p15:guide>
        <p15:guide id="25" orient="horz" pos="308">
          <p15:clr>
            <a:srgbClr val="C35EA4"/>
          </p15:clr>
        </p15:guide>
        <p15:guide id="26" orient="horz" pos="4186">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Microsoft/dcmkit/blob/master/files/DCM%20Migration%20Plan%20template.docx?raw=true" TargetMode="Externa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hyperlink" Target="https://partnercenter.microsoft.com/" TargetMode="Externa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hyperlink" Target="https://msdn.microsoft.com/en-us/partner-center/escalate-problems-to-microsoft" TargetMode="External"/><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hyperlink" Target="https://partner.microsoft.com/en-US/Support/advanced-cloud-support?advancedcloudsupport" TargetMode="External"/><Relationship Id="rId2" Type="http://schemas.openxmlformats.org/officeDocument/2006/relationships/hyperlink" Target="https://msdn.microsoft.com/en-us/partner-center/report-problems-on-behalf-of-a-customer" TargetMode="External"/><Relationship Id="rId1" Type="http://schemas.openxmlformats.org/officeDocument/2006/relationships/slideLayout" Target="../slideLayouts/slideLayout14.xml"/><Relationship Id="rId4" Type="http://schemas.openxmlformats.org/officeDocument/2006/relationships/hyperlink" Target="https://www.microsoft.com/en-us/microsoftservices/premier_support_partners.aspx"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hyperlink" Target="https://docs.microsoft.com/en-us/azure/cloud-solution-provider/integration/available-apis-overview" TargetMode="Externa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13" Type="http://schemas.openxmlformats.org/officeDocument/2006/relationships/image" Target="../media/image23.jpeg"/><Relationship Id="rId18" Type="http://schemas.openxmlformats.org/officeDocument/2006/relationships/image" Target="../media/image28.png"/><Relationship Id="rId26" Type="http://schemas.openxmlformats.org/officeDocument/2006/relationships/image" Target="../media/image36.jpeg"/><Relationship Id="rId39" Type="http://schemas.openxmlformats.org/officeDocument/2006/relationships/image" Target="../media/image49.jpeg"/><Relationship Id="rId21" Type="http://schemas.openxmlformats.org/officeDocument/2006/relationships/image" Target="../media/image31.jpeg"/><Relationship Id="rId34" Type="http://schemas.openxmlformats.org/officeDocument/2006/relationships/image" Target="../media/image44.jpe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55" Type="http://schemas.openxmlformats.org/officeDocument/2006/relationships/image" Target="../media/image65.png"/><Relationship Id="rId63" Type="http://schemas.openxmlformats.org/officeDocument/2006/relationships/image" Target="../media/image73.png"/><Relationship Id="rId68" Type="http://schemas.openxmlformats.org/officeDocument/2006/relationships/image" Target="../media/image78.png"/><Relationship Id="rId7" Type="http://schemas.openxmlformats.org/officeDocument/2006/relationships/image" Target="../media/image17.png"/><Relationship Id="rId71" Type="http://schemas.openxmlformats.org/officeDocument/2006/relationships/image" Target="../media/image81.jpeg"/><Relationship Id="rId2" Type="http://schemas.openxmlformats.org/officeDocument/2006/relationships/notesSlide" Target="../notesSlides/notesSlide9.xml"/><Relationship Id="rId16" Type="http://schemas.openxmlformats.org/officeDocument/2006/relationships/image" Target="../media/image26.png"/><Relationship Id="rId29" Type="http://schemas.openxmlformats.org/officeDocument/2006/relationships/image" Target="../media/image39.jpeg"/><Relationship Id="rId1" Type="http://schemas.openxmlformats.org/officeDocument/2006/relationships/slideLayout" Target="../slideLayouts/slideLayout14.xml"/><Relationship Id="rId6" Type="http://schemas.openxmlformats.org/officeDocument/2006/relationships/image" Target="../media/image16.png"/><Relationship Id="rId11" Type="http://schemas.openxmlformats.org/officeDocument/2006/relationships/image" Target="../media/image21.jpeg"/><Relationship Id="rId24" Type="http://schemas.openxmlformats.org/officeDocument/2006/relationships/image" Target="../media/image34.jpeg"/><Relationship Id="rId32" Type="http://schemas.openxmlformats.org/officeDocument/2006/relationships/image" Target="../media/image42.png"/><Relationship Id="rId37" Type="http://schemas.openxmlformats.org/officeDocument/2006/relationships/image" Target="../media/image47.jpeg"/><Relationship Id="rId40" Type="http://schemas.openxmlformats.org/officeDocument/2006/relationships/image" Target="../media/image50.png"/><Relationship Id="rId45" Type="http://schemas.openxmlformats.org/officeDocument/2006/relationships/image" Target="../media/image55.jpeg"/><Relationship Id="rId53" Type="http://schemas.openxmlformats.org/officeDocument/2006/relationships/image" Target="../media/image63.png"/><Relationship Id="rId58" Type="http://schemas.openxmlformats.org/officeDocument/2006/relationships/image" Target="../media/image68.png"/><Relationship Id="rId66" Type="http://schemas.openxmlformats.org/officeDocument/2006/relationships/image" Target="../media/image76.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jpeg"/><Relationship Id="rId28" Type="http://schemas.openxmlformats.org/officeDocument/2006/relationships/image" Target="../media/image38.jpeg"/><Relationship Id="rId36" Type="http://schemas.openxmlformats.org/officeDocument/2006/relationships/image" Target="../media/image46.jpeg"/><Relationship Id="rId49" Type="http://schemas.openxmlformats.org/officeDocument/2006/relationships/image" Target="../media/image59.png"/><Relationship Id="rId57" Type="http://schemas.openxmlformats.org/officeDocument/2006/relationships/image" Target="../media/image67.png"/><Relationship Id="rId61" Type="http://schemas.openxmlformats.org/officeDocument/2006/relationships/image" Target="../media/image71.png"/><Relationship Id="rId10" Type="http://schemas.openxmlformats.org/officeDocument/2006/relationships/image" Target="../media/image20.jpeg"/><Relationship Id="rId19" Type="http://schemas.openxmlformats.org/officeDocument/2006/relationships/image" Target="../media/image29.jpeg"/><Relationship Id="rId31" Type="http://schemas.openxmlformats.org/officeDocument/2006/relationships/image" Target="../media/image41.jpeg"/><Relationship Id="rId44" Type="http://schemas.openxmlformats.org/officeDocument/2006/relationships/image" Target="../media/image54.jpeg"/><Relationship Id="rId52" Type="http://schemas.openxmlformats.org/officeDocument/2006/relationships/image" Target="../media/image62.png"/><Relationship Id="rId60" Type="http://schemas.openxmlformats.org/officeDocument/2006/relationships/image" Target="../media/image70.png"/><Relationship Id="rId65" Type="http://schemas.openxmlformats.org/officeDocument/2006/relationships/image" Target="../media/image75.png"/><Relationship Id="rId4" Type="http://schemas.openxmlformats.org/officeDocument/2006/relationships/image" Target="../media/image14.png"/><Relationship Id="rId9" Type="http://schemas.openxmlformats.org/officeDocument/2006/relationships/image" Target="../media/image19.jpeg"/><Relationship Id="rId14" Type="http://schemas.openxmlformats.org/officeDocument/2006/relationships/image" Target="../media/image24.png"/><Relationship Id="rId22" Type="http://schemas.openxmlformats.org/officeDocument/2006/relationships/image" Target="../media/image32.jpeg"/><Relationship Id="rId27" Type="http://schemas.openxmlformats.org/officeDocument/2006/relationships/image" Target="../media/image37.jpeg"/><Relationship Id="rId30" Type="http://schemas.openxmlformats.org/officeDocument/2006/relationships/image" Target="../media/image40.jpeg"/><Relationship Id="rId35" Type="http://schemas.openxmlformats.org/officeDocument/2006/relationships/image" Target="../media/image45.jpeg"/><Relationship Id="rId43" Type="http://schemas.openxmlformats.org/officeDocument/2006/relationships/image" Target="../media/image53.jpg"/><Relationship Id="rId48" Type="http://schemas.openxmlformats.org/officeDocument/2006/relationships/image" Target="../media/image58.png"/><Relationship Id="rId56" Type="http://schemas.openxmlformats.org/officeDocument/2006/relationships/image" Target="../media/image66.png"/><Relationship Id="rId64" Type="http://schemas.openxmlformats.org/officeDocument/2006/relationships/image" Target="../media/image74.png"/><Relationship Id="rId69" Type="http://schemas.openxmlformats.org/officeDocument/2006/relationships/image" Target="../media/image79.png"/><Relationship Id="rId8" Type="http://schemas.openxmlformats.org/officeDocument/2006/relationships/image" Target="../media/image18.jpeg"/><Relationship Id="rId51" Type="http://schemas.openxmlformats.org/officeDocument/2006/relationships/image" Target="../media/image61.png"/><Relationship Id="rId3" Type="http://schemas.openxmlformats.org/officeDocument/2006/relationships/image" Target="../media/image13.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jpeg"/><Relationship Id="rId38" Type="http://schemas.openxmlformats.org/officeDocument/2006/relationships/image" Target="../media/image48.jpeg"/><Relationship Id="rId46" Type="http://schemas.openxmlformats.org/officeDocument/2006/relationships/image" Target="../media/image56.png"/><Relationship Id="rId59" Type="http://schemas.openxmlformats.org/officeDocument/2006/relationships/image" Target="../media/image69.png"/><Relationship Id="rId67" Type="http://schemas.openxmlformats.org/officeDocument/2006/relationships/image" Target="../media/image77.png"/><Relationship Id="rId20" Type="http://schemas.openxmlformats.org/officeDocument/2006/relationships/image" Target="../media/image30.jpeg"/><Relationship Id="rId41" Type="http://schemas.openxmlformats.org/officeDocument/2006/relationships/image" Target="../media/image51.png"/><Relationship Id="rId54" Type="http://schemas.openxmlformats.org/officeDocument/2006/relationships/image" Target="../media/image64.png"/><Relationship Id="rId62" Type="http://schemas.openxmlformats.org/officeDocument/2006/relationships/image" Target="../media/image72.png"/><Relationship Id="rId70" Type="http://schemas.openxmlformats.org/officeDocument/2006/relationships/image" Target="../media/image80.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8" Type="http://schemas.openxmlformats.org/officeDocument/2006/relationships/image" Target="../media/image88.emf"/><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86.emf"/><Relationship Id="rId5" Type="http://schemas.openxmlformats.org/officeDocument/2006/relationships/image" Target="../media/image85.png"/><Relationship Id="rId4" Type="http://schemas.openxmlformats.org/officeDocument/2006/relationships/image" Target="../media/image84.png"/></Relationships>
</file>

<file path=ppt/slides/_rels/slide3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3.xml"/><Relationship Id="rId1" Type="http://schemas.openxmlformats.org/officeDocument/2006/relationships/slideLayout" Target="../slideLayouts/slideLayout14.xml"/><Relationship Id="rId5" Type="http://schemas.openxmlformats.org/officeDocument/2006/relationships/image" Target="../media/image91.png"/><Relationship Id="rId4" Type="http://schemas.openxmlformats.org/officeDocument/2006/relationships/image" Target="../media/image90.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notesSlide" Target="../notesSlides/notesSlide15.xml"/><Relationship Id="rId1" Type="http://schemas.openxmlformats.org/officeDocument/2006/relationships/slideLayout" Target="../slideLayouts/slideLayout14.xml"/><Relationship Id="rId5" Type="http://schemas.openxmlformats.org/officeDocument/2006/relationships/image" Target="../media/image94.emf"/><Relationship Id="rId4" Type="http://schemas.openxmlformats.org/officeDocument/2006/relationships/image" Target="../media/image93.emf"/></Relationships>
</file>

<file path=ppt/slides/_rels/slide3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6.xml"/><Relationship Id="rId1" Type="http://schemas.openxmlformats.org/officeDocument/2006/relationships/slideLayout" Target="../slideLayouts/slideLayout14.xml"/><Relationship Id="rId4" Type="http://schemas.microsoft.com/office/2007/relationships/hdphoto" Target="../media/hdphoto1.wdp"/></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14.xml"/><Relationship Id="rId4" Type="http://schemas.openxmlformats.org/officeDocument/2006/relationships/image" Target="../media/image98.png"/></Relationships>
</file>

<file path=ppt/slides/_rels/slide4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notesSlide" Target="../notesSlides/notesSlide20.xml"/><Relationship Id="rId7" Type="http://schemas.openxmlformats.org/officeDocument/2006/relationships/image" Target="../media/image103.png"/><Relationship Id="rId2" Type="http://schemas.openxmlformats.org/officeDocument/2006/relationships/slideLayout" Target="../slideLayouts/slideLayout14.xml"/><Relationship Id="rId1" Type="http://schemas.openxmlformats.org/officeDocument/2006/relationships/vmlDrawing" Target="../drawings/vmlDrawing1.vml"/><Relationship Id="rId6" Type="http://schemas.openxmlformats.org/officeDocument/2006/relationships/image" Target="../media/image100.emf"/><Relationship Id="rId5" Type="http://schemas.openxmlformats.org/officeDocument/2006/relationships/oleObject" Target="../embeddings/oleObject1.bin"/><Relationship Id="rId4" Type="http://schemas.openxmlformats.org/officeDocument/2006/relationships/image" Target="../media/image102.png"/><Relationship Id="rId9" Type="http://schemas.openxmlformats.org/officeDocument/2006/relationships/image" Target="../media/image101.emf"/></Relationships>
</file>

<file path=ppt/slides/_rels/slide47.xml.rels><?xml version="1.0" encoding="UTF-8" standalone="yes"?>
<Relationships xmlns="http://schemas.openxmlformats.org/package/2006/relationships"><Relationship Id="rId8" Type="http://schemas.openxmlformats.org/officeDocument/2006/relationships/image" Target="../media/image106.emf"/><Relationship Id="rId3" Type="http://schemas.openxmlformats.org/officeDocument/2006/relationships/oleObject" Target="../embeddings/oleObject3.bin"/><Relationship Id="rId7" Type="http://schemas.openxmlformats.org/officeDocument/2006/relationships/oleObject" Target="../embeddings/oleObject5.bin"/><Relationship Id="rId2" Type="http://schemas.openxmlformats.org/officeDocument/2006/relationships/slideLayout" Target="../slideLayouts/slideLayout14.xml"/><Relationship Id="rId1" Type="http://schemas.openxmlformats.org/officeDocument/2006/relationships/vmlDrawing" Target="../drawings/vmlDrawing2.vml"/><Relationship Id="rId6" Type="http://schemas.openxmlformats.org/officeDocument/2006/relationships/image" Target="../media/image105.emf"/><Relationship Id="rId5" Type="http://schemas.openxmlformats.org/officeDocument/2006/relationships/oleObject" Target="../embeddings/oleObject4.bin"/><Relationship Id="rId10" Type="http://schemas.openxmlformats.org/officeDocument/2006/relationships/image" Target="../media/image107.emf"/><Relationship Id="rId4" Type="http://schemas.openxmlformats.org/officeDocument/2006/relationships/image" Target="../media/image104.emf"/><Relationship Id="rId9" Type="http://schemas.openxmlformats.org/officeDocument/2006/relationships/oleObject" Target="../embeddings/oleObject6.bin"/></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4.xml"/><Relationship Id="rId1" Type="http://schemas.openxmlformats.org/officeDocument/2006/relationships/tags" Target="../tags/tag1.xml"/></Relationships>
</file>

<file path=ppt/slides/_rels/slide52.xml.rels><?xml version="1.0" encoding="UTF-8" standalone="yes"?>
<Relationships xmlns="http://schemas.openxmlformats.org/package/2006/relationships"><Relationship Id="rId8" Type="http://schemas.openxmlformats.org/officeDocument/2006/relationships/oleObject" Target="../embeddings/oleObject9.bin"/><Relationship Id="rId13" Type="http://schemas.openxmlformats.org/officeDocument/2006/relationships/image" Target="../media/image113.emf"/><Relationship Id="rId18" Type="http://schemas.openxmlformats.org/officeDocument/2006/relationships/oleObject" Target="../embeddings/oleObject14.bin"/><Relationship Id="rId3" Type="http://schemas.openxmlformats.org/officeDocument/2006/relationships/notesSlide" Target="../notesSlides/notesSlide25.xml"/><Relationship Id="rId21" Type="http://schemas.openxmlformats.org/officeDocument/2006/relationships/image" Target="../media/image117.emf"/><Relationship Id="rId7" Type="http://schemas.openxmlformats.org/officeDocument/2006/relationships/image" Target="../media/image110.emf"/><Relationship Id="rId12" Type="http://schemas.openxmlformats.org/officeDocument/2006/relationships/oleObject" Target="../embeddings/oleObject11.bin"/><Relationship Id="rId17" Type="http://schemas.openxmlformats.org/officeDocument/2006/relationships/image" Target="../media/image115.emf"/><Relationship Id="rId2" Type="http://schemas.openxmlformats.org/officeDocument/2006/relationships/slideLayout" Target="../slideLayouts/slideLayout14.xml"/><Relationship Id="rId16" Type="http://schemas.openxmlformats.org/officeDocument/2006/relationships/oleObject" Target="../embeddings/oleObject13.bin"/><Relationship Id="rId20" Type="http://schemas.openxmlformats.org/officeDocument/2006/relationships/oleObject" Target="../embeddings/oleObject15.bin"/><Relationship Id="rId1" Type="http://schemas.openxmlformats.org/officeDocument/2006/relationships/vmlDrawing" Target="../drawings/vmlDrawing3.vml"/><Relationship Id="rId6" Type="http://schemas.openxmlformats.org/officeDocument/2006/relationships/oleObject" Target="../embeddings/oleObject8.bin"/><Relationship Id="rId11" Type="http://schemas.openxmlformats.org/officeDocument/2006/relationships/image" Target="../media/image112.emf"/><Relationship Id="rId5" Type="http://schemas.openxmlformats.org/officeDocument/2006/relationships/image" Target="../media/image109.emf"/><Relationship Id="rId15" Type="http://schemas.openxmlformats.org/officeDocument/2006/relationships/image" Target="../media/image114.emf"/><Relationship Id="rId23" Type="http://schemas.openxmlformats.org/officeDocument/2006/relationships/oleObject" Target="../embeddings/oleObject17.bin"/><Relationship Id="rId10" Type="http://schemas.openxmlformats.org/officeDocument/2006/relationships/oleObject" Target="../embeddings/oleObject10.bin"/><Relationship Id="rId19" Type="http://schemas.openxmlformats.org/officeDocument/2006/relationships/image" Target="../media/image116.emf"/><Relationship Id="rId4" Type="http://schemas.openxmlformats.org/officeDocument/2006/relationships/oleObject" Target="../embeddings/oleObject7.bin"/><Relationship Id="rId9" Type="http://schemas.openxmlformats.org/officeDocument/2006/relationships/image" Target="../media/image111.emf"/><Relationship Id="rId14" Type="http://schemas.openxmlformats.org/officeDocument/2006/relationships/oleObject" Target="../embeddings/oleObject12.bin"/><Relationship Id="rId22" Type="http://schemas.openxmlformats.org/officeDocument/2006/relationships/oleObject" Target="../embeddings/oleObject16.bin"/></Relationships>
</file>

<file path=ppt/slides/_rels/slide5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6.xml"/><Relationship Id="rId1" Type="http://schemas.openxmlformats.org/officeDocument/2006/relationships/slideLayout" Target="../slideLayouts/slideLayout14.xml"/><Relationship Id="rId6" Type="http://schemas.openxmlformats.org/officeDocument/2006/relationships/image" Target="../media/image121.svg"/><Relationship Id="rId5" Type="http://schemas.openxmlformats.org/officeDocument/2006/relationships/image" Target="../media/image120.png"/><Relationship Id="rId4" Type="http://schemas.openxmlformats.org/officeDocument/2006/relationships/image" Target="../media/image119.svg"/></Relationships>
</file>

<file path=ppt/slides/_rels/slide5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3" Type="http://schemas.openxmlformats.org/officeDocument/2006/relationships/image" Target="../media/image123.emf"/><Relationship Id="rId2" Type="http://schemas.openxmlformats.org/officeDocument/2006/relationships/image" Target="../media/image122.emf"/><Relationship Id="rId1" Type="http://schemas.openxmlformats.org/officeDocument/2006/relationships/slideLayout" Target="../slideLayouts/slideLayout14.xml"/><Relationship Id="rId4" Type="http://schemas.openxmlformats.org/officeDocument/2006/relationships/hyperlink" Target="mailto:datamigrationteam@microsoft.com" TargetMode="Externa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9.xml"/><Relationship Id="rId1" Type="http://schemas.openxmlformats.org/officeDocument/2006/relationships/slideLayout" Target="../slideLayouts/slideLayout14.xml"/><Relationship Id="rId5" Type="http://schemas.openxmlformats.org/officeDocument/2006/relationships/image" Target="../media/image126.jpg"/><Relationship Id="rId4" Type="http://schemas.openxmlformats.org/officeDocument/2006/relationships/image" Target="../media/image125.jpg"/></Relationships>
</file>

<file path=ppt/slides/_rels/slide58.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hyperlink" Target="http://www.azure.com/" TargetMode="External"/><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3" Type="http://schemas.openxmlformats.org/officeDocument/2006/relationships/hyperlink" Target="https://azure.microsoft.com/en-us/pricing/hybrid-benefit/#sql-ahb-calculator" TargetMode="External"/><Relationship Id="rId2" Type="http://schemas.openxmlformats.org/officeDocument/2006/relationships/notesSlide" Target="../notesSlides/notesSlide32.xml"/><Relationship Id="rId1" Type="http://schemas.openxmlformats.org/officeDocument/2006/relationships/slideLayout" Target="../slideLayouts/slideLayout2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8.xml"/></Relationships>
</file>

<file path=ppt/slides/_rels/slide64.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134.png"/><Relationship Id="rId2" Type="http://schemas.openxmlformats.org/officeDocument/2006/relationships/notesSlide" Target="../notesSlides/notesSlide34.xml"/><Relationship Id="rId1" Type="http://schemas.openxmlformats.org/officeDocument/2006/relationships/slideLayout" Target="../slideLayouts/slideLayout14.xml"/><Relationship Id="rId6" Type="http://schemas.openxmlformats.org/officeDocument/2006/relationships/image" Target="../media/image133.svg"/><Relationship Id="rId5" Type="http://schemas.openxmlformats.org/officeDocument/2006/relationships/image" Target="../media/image132.png"/><Relationship Id="rId4" Type="http://schemas.openxmlformats.org/officeDocument/2006/relationships/image" Target="../media/image131.svg"/></Relationships>
</file>

<file path=ppt/slides/_rels/slide6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35.xml"/><Relationship Id="rId1" Type="http://schemas.openxmlformats.org/officeDocument/2006/relationships/slideLayout" Target="../slideLayouts/slideLayout14.xml"/><Relationship Id="rId6" Type="http://schemas.openxmlformats.org/officeDocument/2006/relationships/image" Target="../media/image138.tiff"/><Relationship Id="rId5" Type="http://schemas.openxmlformats.org/officeDocument/2006/relationships/image" Target="../media/image137.png"/><Relationship Id="rId4" Type="http://schemas.openxmlformats.org/officeDocument/2006/relationships/image" Target="../media/image136.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14.xml"/><Relationship Id="rId5" Type="http://schemas.openxmlformats.org/officeDocument/2006/relationships/image" Target="../media/image142.png"/><Relationship Id="rId4" Type="http://schemas.openxmlformats.org/officeDocument/2006/relationships/image" Target="../media/image141.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0.xml.rels><?xml version="1.0" encoding="UTF-8" standalone="yes"?>
<Relationships xmlns="http://schemas.openxmlformats.org/package/2006/relationships"><Relationship Id="rId2" Type="http://schemas.openxmlformats.org/officeDocument/2006/relationships/hyperlink" Target="mailto:dcmsupport@microsoft.com" TargetMode="External"/><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tacenter Migration Journey Overview</a:t>
            </a:r>
          </a:p>
        </p:txBody>
      </p:sp>
      <p:sp>
        <p:nvSpPr>
          <p:cNvPr id="5" name="Text Placeholder 4"/>
          <p:cNvSpPr>
            <a:spLocks noGrp="1"/>
          </p:cNvSpPr>
          <p:nvPr>
            <p:ph type="body" sz="quarter" idx="14"/>
          </p:nvPr>
        </p:nvSpPr>
        <p:spPr>
          <a:xfrm>
            <a:off x="272986" y="4443573"/>
            <a:ext cx="6525620" cy="1452554"/>
          </a:xfrm>
        </p:spPr>
        <p:txBody>
          <a:bodyPr/>
          <a:lstStyle/>
          <a:p>
            <a:r>
              <a:rPr lang="en-US" sz="2600" dirty="0"/>
              <a:t>Kirill Kotlyarenko</a:t>
            </a:r>
            <a:endParaRPr lang="ru-RU" sz="2600" dirty="0"/>
          </a:p>
          <a:p>
            <a:r>
              <a:rPr lang="en-US" sz="2600" dirty="0"/>
              <a:t>Hoster Datacenter Migration Program Lead</a:t>
            </a:r>
            <a:endParaRPr lang="ru-RU" sz="2600" dirty="0"/>
          </a:p>
          <a:p>
            <a:r>
              <a:rPr lang="ru-RU" sz="2600" dirty="0"/>
              <a:t>Microsoft </a:t>
            </a:r>
            <a:r>
              <a:rPr lang="en-US" sz="2600" dirty="0"/>
              <a:t>Corporation</a:t>
            </a:r>
            <a:endParaRPr lang="ru-RU" sz="2600" dirty="0"/>
          </a:p>
        </p:txBody>
      </p:sp>
    </p:spTree>
    <p:extLst>
      <p:ext uri="{BB962C8B-B14F-4D97-AF65-F5344CB8AC3E}">
        <p14:creationId xmlns:p14="http://schemas.microsoft.com/office/powerpoint/2010/main" val="1172826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19EAB3-0B3E-4349-8BAE-5FA50960C063}"/>
              </a:ext>
            </a:extLst>
          </p:cNvPr>
          <p:cNvSpPr>
            <a:spLocks noGrp="1"/>
          </p:cNvSpPr>
          <p:nvPr>
            <p:ph type="title"/>
          </p:nvPr>
        </p:nvSpPr>
        <p:spPr/>
        <p:txBody>
          <a:bodyPr/>
          <a:lstStyle/>
          <a:p>
            <a:r>
              <a:rPr lang="en-US" dirty="0"/>
              <a:t>Migration Plan v1</a:t>
            </a:r>
            <a:endParaRPr lang="en-IN" dirty="0"/>
          </a:p>
        </p:txBody>
      </p:sp>
      <p:grpSp>
        <p:nvGrpSpPr>
          <p:cNvPr id="13" name="Group 12">
            <a:extLst>
              <a:ext uri="{FF2B5EF4-FFF2-40B4-BE49-F238E27FC236}">
                <a16:creationId xmlns:a16="http://schemas.microsoft.com/office/drawing/2014/main" id="{E73962A3-A042-496A-A874-1864A3F7F67F}"/>
              </a:ext>
            </a:extLst>
          </p:cNvPr>
          <p:cNvGrpSpPr/>
          <p:nvPr/>
        </p:nvGrpSpPr>
        <p:grpSpPr>
          <a:xfrm>
            <a:off x="510129" y="1739878"/>
            <a:ext cx="3381852" cy="3381852"/>
            <a:chOff x="1241398" y="2202542"/>
            <a:chExt cx="2456524" cy="2456524"/>
          </a:xfrm>
        </p:grpSpPr>
        <p:sp>
          <p:nvSpPr>
            <p:cNvPr id="4" name="Oval 3">
              <a:extLst>
                <a:ext uri="{FF2B5EF4-FFF2-40B4-BE49-F238E27FC236}">
                  <a16:creationId xmlns:a16="http://schemas.microsoft.com/office/drawing/2014/main" id="{A21B03A6-3E33-477E-A649-725D684B9CBD}"/>
                </a:ext>
              </a:extLst>
            </p:cNvPr>
            <p:cNvSpPr/>
            <p:nvPr/>
          </p:nvSpPr>
          <p:spPr bwMode="auto">
            <a:xfrm>
              <a:off x="1374315" y="2335459"/>
              <a:ext cx="2190690" cy="2190690"/>
            </a:xfrm>
            <a:prstGeom prst="ellipse">
              <a:avLst/>
            </a:prstGeom>
            <a:solidFill>
              <a:schemeClr val="tx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400" dirty="0">
                  <a:solidFill>
                    <a:schemeClr val="bg1"/>
                  </a:solidFill>
                  <a:latin typeface="+mj-lt"/>
                </a:rPr>
                <a:t>Build a list of participating customers</a:t>
              </a:r>
            </a:p>
          </p:txBody>
        </p:sp>
        <p:sp>
          <p:nvSpPr>
            <p:cNvPr id="6" name="Arc 5">
              <a:extLst>
                <a:ext uri="{FF2B5EF4-FFF2-40B4-BE49-F238E27FC236}">
                  <a16:creationId xmlns:a16="http://schemas.microsoft.com/office/drawing/2014/main" id="{9D62BA40-3AD4-4CDE-971E-C138EF7B4FA1}"/>
                </a:ext>
              </a:extLst>
            </p:cNvPr>
            <p:cNvSpPr/>
            <p:nvPr/>
          </p:nvSpPr>
          <p:spPr>
            <a:xfrm>
              <a:off x="1241398" y="2202542"/>
              <a:ext cx="2456524" cy="2456524"/>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lstStyle/>
            <a:p>
              <a:pPr algn="ctr"/>
              <a:endParaRPr lang="en-IN" sz="2400">
                <a:solidFill>
                  <a:schemeClr val="bg1"/>
                </a:solidFill>
                <a:latin typeface="+mj-lt"/>
              </a:endParaRPr>
            </a:p>
          </p:txBody>
        </p:sp>
      </p:grpSp>
      <p:sp>
        <p:nvSpPr>
          <p:cNvPr id="5" name="Oval 4">
            <a:extLst>
              <a:ext uri="{FF2B5EF4-FFF2-40B4-BE49-F238E27FC236}">
                <a16:creationId xmlns:a16="http://schemas.microsoft.com/office/drawing/2014/main" id="{520A31F3-18C5-494E-84CC-477D816F881B}"/>
              </a:ext>
            </a:extLst>
          </p:cNvPr>
          <p:cNvSpPr/>
          <p:nvPr/>
        </p:nvSpPr>
        <p:spPr bwMode="auto">
          <a:xfrm>
            <a:off x="4710296" y="1922862"/>
            <a:ext cx="3015883" cy="3015883"/>
          </a:xfrm>
          <a:prstGeom prst="ellipse">
            <a:avLst/>
          </a:prstGeom>
          <a:solidFill>
            <a:schemeClr val="tx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400" dirty="0">
                <a:solidFill>
                  <a:schemeClr val="bg1"/>
                </a:solidFill>
                <a:latin typeface="+mj-lt"/>
              </a:rPr>
              <a:t>Build a list of workloads or assets that you wish to migrate</a:t>
            </a:r>
          </a:p>
        </p:txBody>
      </p:sp>
      <p:sp>
        <p:nvSpPr>
          <p:cNvPr id="7" name="Arc 6">
            <a:extLst>
              <a:ext uri="{FF2B5EF4-FFF2-40B4-BE49-F238E27FC236}">
                <a16:creationId xmlns:a16="http://schemas.microsoft.com/office/drawing/2014/main" id="{6008B810-F6C0-4835-BEA1-F793CFB2914E}"/>
              </a:ext>
            </a:extLst>
          </p:cNvPr>
          <p:cNvSpPr/>
          <p:nvPr/>
        </p:nvSpPr>
        <p:spPr>
          <a:xfrm>
            <a:off x="4527312" y="1739878"/>
            <a:ext cx="3381852" cy="3381852"/>
          </a:xfrm>
          <a:prstGeom prst="arc">
            <a:avLst>
              <a:gd name="adj1" fmla="val 19401861"/>
              <a:gd name="adj2" fmla="val 16227276"/>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lstStyle/>
          <a:p>
            <a:pPr algn="ctr"/>
            <a:endParaRPr lang="en-IN" sz="2400">
              <a:solidFill>
                <a:schemeClr val="bg1"/>
              </a:solidFill>
              <a:latin typeface="+mj-lt"/>
            </a:endParaRPr>
          </a:p>
        </p:txBody>
      </p:sp>
      <p:sp>
        <p:nvSpPr>
          <p:cNvPr id="8" name="Oval 7">
            <a:extLst>
              <a:ext uri="{FF2B5EF4-FFF2-40B4-BE49-F238E27FC236}">
                <a16:creationId xmlns:a16="http://schemas.microsoft.com/office/drawing/2014/main" id="{1CA069E8-71DF-4923-A1C3-E404F902BE31}"/>
              </a:ext>
            </a:extLst>
          </p:cNvPr>
          <p:cNvSpPr/>
          <p:nvPr/>
        </p:nvSpPr>
        <p:spPr bwMode="auto">
          <a:xfrm>
            <a:off x="8727478" y="1922862"/>
            <a:ext cx="3015883" cy="3015883"/>
          </a:xfrm>
          <a:prstGeom prst="ellipse">
            <a:avLst/>
          </a:prstGeom>
          <a:solidFill>
            <a:schemeClr val="tx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2400" dirty="0">
                <a:solidFill>
                  <a:schemeClr val="bg1"/>
                </a:solidFill>
                <a:latin typeface="+mj-lt"/>
              </a:rPr>
              <a:t>Write this down</a:t>
            </a:r>
            <a:br>
              <a:rPr lang="en-US" sz="2400" dirty="0">
                <a:solidFill>
                  <a:schemeClr val="bg1"/>
                </a:solidFill>
                <a:latin typeface="+mj-lt"/>
              </a:rPr>
            </a:br>
            <a:r>
              <a:rPr lang="en-US" sz="2400" dirty="0">
                <a:solidFill>
                  <a:schemeClr val="bg1"/>
                </a:solidFill>
                <a:latin typeface="+mj-lt"/>
              </a:rPr>
              <a:t>using migration plan</a:t>
            </a:r>
            <a:br>
              <a:rPr lang="en-US" sz="2400" dirty="0">
                <a:solidFill>
                  <a:schemeClr val="bg1"/>
                </a:solidFill>
                <a:latin typeface="+mj-lt"/>
              </a:rPr>
            </a:br>
            <a:r>
              <a:rPr lang="en-US" sz="2400" dirty="0">
                <a:solidFill>
                  <a:schemeClr val="bg1"/>
                </a:solidFill>
                <a:latin typeface="+mj-lt"/>
              </a:rPr>
              <a:t>template (</a:t>
            </a:r>
            <a:r>
              <a:rPr lang="en-US" sz="2400" dirty="0">
                <a:solidFill>
                  <a:schemeClr val="bg1"/>
                </a:solidFill>
                <a:latin typeface="+mj-lt"/>
                <a:hlinkClick r:id="rId2"/>
              </a:rPr>
              <a:t>link</a:t>
            </a:r>
            <a:r>
              <a:rPr lang="en-US" sz="2400" dirty="0">
                <a:solidFill>
                  <a:schemeClr val="bg1"/>
                </a:solidFill>
                <a:latin typeface="+mj-lt"/>
              </a:rPr>
              <a:t>) and</a:t>
            </a:r>
            <a:br>
              <a:rPr lang="en-US" sz="2400" dirty="0">
                <a:solidFill>
                  <a:schemeClr val="bg1"/>
                </a:solidFill>
                <a:latin typeface="+mj-lt"/>
              </a:rPr>
            </a:br>
            <a:r>
              <a:rPr lang="en-US" sz="2400" dirty="0">
                <a:solidFill>
                  <a:schemeClr val="bg1"/>
                </a:solidFill>
                <a:latin typeface="+mj-lt"/>
              </a:rPr>
              <a:t>proceed to the</a:t>
            </a:r>
            <a:br>
              <a:rPr lang="en-US" sz="2400" dirty="0">
                <a:solidFill>
                  <a:schemeClr val="bg1"/>
                </a:solidFill>
                <a:latin typeface="+mj-lt"/>
              </a:rPr>
            </a:br>
            <a:r>
              <a:rPr lang="en-US" sz="2400" dirty="0">
                <a:solidFill>
                  <a:schemeClr val="bg1"/>
                </a:solidFill>
                <a:latin typeface="+mj-lt"/>
              </a:rPr>
              <a:t>assessment</a:t>
            </a:r>
          </a:p>
        </p:txBody>
      </p:sp>
      <p:sp>
        <p:nvSpPr>
          <p:cNvPr id="9" name="Arc 8">
            <a:extLst>
              <a:ext uri="{FF2B5EF4-FFF2-40B4-BE49-F238E27FC236}">
                <a16:creationId xmlns:a16="http://schemas.microsoft.com/office/drawing/2014/main" id="{F789D123-95B2-4F60-9E69-6902660951C5}"/>
              </a:ext>
            </a:extLst>
          </p:cNvPr>
          <p:cNvSpPr/>
          <p:nvPr/>
        </p:nvSpPr>
        <p:spPr>
          <a:xfrm rot="5400000">
            <a:off x="8544494" y="1739878"/>
            <a:ext cx="3381852" cy="3381852"/>
          </a:xfrm>
          <a:prstGeom prst="arc">
            <a:avLst>
              <a:gd name="adj1" fmla="val 19401861"/>
              <a:gd name="adj2" fmla="val 16227276"/>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lstStyle/>
          <a:p>
            <a:pPr algn="ctr"/>
            <a:endParaRPr lang="en-IN" sz="2400">
              <a:solidFill>
                <a:schemeClr val="bg1"/>
              </a:solidFill>
              <a:latin typeface="+mj-lt"/>
            </a:endParaRPr>
          </a:p>
        </p:txBody>
      </p:sp>
    </p:spTree>
    <p:extLst>
      <p:ext uri="{BB962C8B-B14F-4D97-AF65-F5344CB8AC3E}">
        <p14:creationId xmlns:p14="http://schemas.microsoft.com/office/powerpoint/2010/main" val="141714649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FFF98-8E7E-4DBA-A9D9-088C70423EE3}"/>
              </a:ext>
            </a:extLst>
          </p:cNvPr>
          <p:cNvSpPr>
            <a:spLocks noGrp="1"/>
          </p:cNvSpPr>
          <p:nvPr>
            <p:ph type="title"/>
          </p:nvPr>
        </p:nvSpPr>
        <p:spPr/>
        <p:txBody>
          <a:bodyPr/>
          <a:lstStyle/>
          <a:p>
            <a:r>
              <a:rPr lang="en-US" dirty="0"/>
              <a:t>Azure in CSP model</a:t>
            </a:r>
            <a:endParaRPr lang="en-IN" dirty="0"/>
          </a:p>
        </p:txBody>
      </p:sp>
    </p:spTree>
    <p:extLst>
      <p:ext uri="{BB962C8B-B14F-4D97-AF65-F5344CB8AC3E}">
        <p14:creationId xmlns:p14="http://schemas.microsoft.com/office/powerpoint/2010/main" val="420815849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07E8C-05CA-4C29-8924-592445424685}"/>
              </a:ext>
            </a:extLst>
          </p:cNvPr>
          <p:cNvSpPr>
            <a:spLocks noGrp="1"/>
          </p:cNvSpPr>
          <p:nvPr>
            <p:ph type="title"/>
          </p:nvPr>
        </p:nvSpPr>
        <p:spPr/>
        <p:txBody>
          <a:bodyPr/>
          <a:lstStyle/>
          <a:p>
            <a:r>
              <a:rPr lang="en-US" dirty="0"/>
              <a:t>Cloud Solution Provider (CSP) – Innovative Business model for Microsoft Partners</a:t>
            </a:r>
            <a:endParaRPr lang="en-IN" dirty="0"/>
          </a:p>
        </p:txBody>
      </p:sp>
      <p:sp>
        <p:nvSpPr>
          <p:cNvPr id="5" name="Rectangle 4">
            <a:extLst>
              <a:ext uri="{FF2B5EF4-FFF2-40B4-BE49-F238E27FC236}">
                <a16:creationId xmlns:a16="http://schemas.microsoft.com/office/drawing/2014/main" id="{9287362E-A9C3-4455-99DF-B44EF29B57F3}"/>
              </a:ext>
            </a:extLst>
          </p:cNvPr>
          <p:cNvSpPr/>
          <p:nvPr/>
        </p:nvSpPr>
        <p:spPr bwMode="auto">
          <a:xfrm>
            <a:off x="7029441" y="4616799"/>
            <a:ext cx="4883324" cy="430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026" rtl="0" eaLnBrk="1" fontAlgn="auto" latinLnBrk="0" hangingPunct="1">
              <a:lnSpc>
                <a:spcPct val="100000"/>
              </a:lnSpc>
              <a:spcBef>
                <a:spcPts val="0"/>
              </a:spcBef>
              <a:spcAft>
                <a:spcPts val="600"/>
              </a:spcAft>
              <a:buClrTx/>
              <a:buSzTx/>
              <a:buFontTx/>
              <a:buNone/>
              <a:tabLst/>
              <a:defRPr/>
            </a:pPr>
            <a:r>
              <a:rPr kumimoji="0" lang="en-US" sz="2800" b="0" i="0" u="none" strike="noStrike" kern="0" cap="none" spc="0" normalizeH="0" baseline="0" noProof="0" dirty="0">
                <a:ln>
                  <a:noFill/>
                </a:ln>
                <a:solidFill>
                  <a:srgbClr val="505050"/>
                </a:solidFill>
                <a:effectLst/>
                <a:uLnTx/>
                <a:uFillTx/>
                <a:latin typeface="+mj-lt"/>
                <a:ea typeface="+mn-ea"/>
                <a:cs typeface="+mn-cs"/>
              </a:rPr>
              <a:t>Own customer relationship</a:t>
            </a:r>
          </a:p>
        </p:txBody>
      </p:sp>
      <p:grpSp>
        <p:nvGrpSpPr>
          <p:cNvPr id="6" name="Group 314">
            <a:extLst>
              <a:ext uri="{FF2B5EF4-FFF2-40B4-BE49-F238E27FC236}">
                <a16:creationId xmlns:a16="http://schemas.microsoft.com/office/drawing/2014/main" id="{1525B989-5B8C-491A-833E-80E6FF5FD17A}"/>
              </a:ext>
            </a:extLst>
          </p:cNvPr>
          <p:cNvGrpSpPr>
            <a:grpSpLocks noChangeAspect="1"/>
          </p:cNvGrpSpPr>
          <p:nvPr/>
        </p:nvGrpSpPr>
        <p:grpSpPr bwMode="auto">
          <a:xfrm>
            <a:off x="6090522" y="4604349"/>
            <a:ext cx="747278" cy="455787"/>
            <a:chOff x="4138" y="1351"/>
            <a:chExt cx="423" cy="258"/>
          </a:xfrm>
          <a:solidFill>
            <a:schemeClr val="accent1"/>
          </a:solidFill>
        </p:grpSpPr>
        <p:sp>
          <p:nvSpPr>
            <p:cNvPr id="7" name="Freeform 315">
              <a:extLst>
                <a:ext uri="{FF2B5EF4-FFF2-40B4-BE49-F238E27FC236}">
                  <a16:creationId xmlns:a16="http://schemas.microsoft.com/office/drawing/2014/main" id="{DAF84B7B-C2E1-4946-B4FA-930BC7440517}"/>
                </a:ext>
              </a:extLst>
            </p:cNvPr>
            <p:cNvSpPr>
              <a:spLocks/>
            </p:cNvSpPr>
            <p:nvPr/>
          </p:nvSpPr>
          <p:spPr bwMode="auto">
            <a:xfrm>
              <a:off x="4188" y="1386"/>
              <a:ext cx="308" cy="223"/>
            </a:xfrm>
            <a:custGeom>
              <a:avLst/>
              <a:gdLst>
                <a:gd name="T0" fmla="*/ 613 w 629"/>
                <a:gd name="T1" fmla="*/ 278 h 455"/>
                <a:gd name="T2" fmla="*/ 348 w 629"/>
                <a:gd name="T3" fmla="*/ 88 h 455"/>
                <a:gd name="T4" fmla="*/ 289 w 629"/>
                <a:gd name="T5" fmla="*/ 62 h 455"/>
                <a:gd name="T6" fmla="*/ 197 w 629"/>
                <a:gd name="T7" fmla="*/ 111 h 455"/>
                <a:gd name="T8" fmla="*/ 187 w 629"/>
                <a:gd name="T9" fmla="*/ 118 h 455"/>
                <a:gd name="T10" fmla="*/ 145 w 629"/>
                <a:gd name="T11" fmla="*/ 124 h 455"/>
                <a:gd name="T12" fmla="*/ 145 w 629"/>
                <a:gd name="T13" fmla="*/ 124 h 455"/>
                <a:gd name="T14" fmla="*/ 86 w 629"/>
                <a:gd name="T15" fmla="*/ 88 h 455"/>
                <a:gd name="T16" fmla="*/ 79 w 629"/>
                <a:gd name="T17" fmla="*/ 46 h 455"/>
                <a:gd name="T18" fmla="*/ 102 w 629"/>
                <a:gd name="T19" fmla="*/ 0 h 455"/>
                <a:gd name="T20" fmla="*/ 69 w 629"/>
                <a:gd name="T21" fmla="*/ 0 h 455"/>
                <a:gd name="T22" fmla="*/ 4 w 629"/>
                <a:gd name="T23" fmla="*/ 262 h 455"/>
                <a:gd name="T24" fmla="*/ 14 w 629"/>
                <a:gd name="T25" fmla="*/ 265 h 455"/>
                <a:gd name="T26" fmla="*/ 53 w 629"/>
                <a:gd name="T27" fmla="*/ 232 h 455"/>
                <a:gd name="T28" fmla="*/ 73 w 629"/>
                <a:gd name="T29" fmla="*/ 232 h 455"/>
                <a:gd name="T30" fmla="*/ 105 w 629"/>
                <a:gd name="T31" fmla="*/ 245 h 455"/>
                <a:gd name="T32" fmla="*/ 145 w 629"/>
                <a:gd name="T33" fmla="*/ 239 h 455"/>
                <a:gd name="T34" fmla="*/ 148 w 629"/>
                <a:gd name="T35" fmla="*/ 239 h 455"/>
                <a:gd name="T36" fmla="*/ 177 w 629"/>
                <a:gd name="T37" fmla="*/ 252 h 455"/>
                <a:gd name="T38" fmla="*/ 217 w 629"/>
                <a:gd name="T39" fmla="*/ 245 h 455"/>
                <a:gd name="T40" fmla="*/ 223 w 629"/>
                <a:gd name="T41" fmla="*/ 245 h 455"/>
                <a:gd name="T42" fmla="*/ 266 w 629"/>
                <a:gd name="T43" fmla="*/ 291 h 455"/>
                <a:gd name="T44" fmla="*/ 279 w 629"/>
                <a:gd name="T45" fmla="*/ 291 h 455"/>
                <a:gd name="T46" fmla="*/ 285 w 629"/>
                <a:gd name="T47" fmla="*/ 294 h 455"/>
                <a:gd name="T48" fmla="*/ 331 w 629"/>
                <a:gd name="T49" fmla="*/ 357 h 455"/>
                <a:gd name="T50" fmla="*/ 331 w 629"/>
                <a:gd name="T51" fmla="*/ 363 h 455"/>
                <a:gd name="T52" fmla="*/ 322 w 629"/>
                <a:gd name="T53" fmla="*/ 412 h 455"/>
                <a:gd name="T54" fmla="*/ 380 w 629"/>
                <a:gd name="T55" fmla="*/ 455 h 455"/>
                <a:gd name="T56" fmla="*/ 410 w 629"/>
                <a:gd name="T57" fmla="*/ 438 h 455"/>
                <a:gd name="T58" fmla="*/ 413 w 629"/>
                <a:gd name="T59" fmla="*/ 412 h 455"/>
                <a:gd name="T60" fmla="*/ 361 w 629"/>
                <a:gd name="T61" fmla="*/ 370 h 455"/>
                <a:gd name="T62" fmla="*/ 358 w 629"/>
                <a:gd name="T63" fmla="*/ 360 h 455"/>
                <a:gd name="T64" fmla="*/ 367 w 629"/>
                <a:gd name="T65" fmla="*/ 360 h 455"/>
                <a:gd name="T66" fmla="*/ 456 w 629"/>
                <a:gd name="T67" fmla="*/ 422 h 455"/>
                <a:gd name="T68" fmla="*/ 485 w 629"/>
                <a:gd name="T69" fmla="*/ 409 h 455"/>
                <a:gd name="T70" fmla="*/ 492 w 629"/>
                <a:gd name="T71" fmla="*/ 376 h 455"/>
                <a:gd name="T72" fmla="*/ 390 w 629"/>
                <a:gd name="T73" fmla="*/ 307 h 455"/>
                <a:gd name="T74" fmla="*/ 390 w 629"/>
                <a:gd name="T75" fmla="*/ 298 h 455"/>
                <a:gd name="T76" fmla="*/ 400 w 629"/>
                <a:gd name="T77" fmla="*/ 294 h 455"/>
                <a:gd name="T78" fmla="*/ 521 w 629"/>
                <a:gd name="T79" fmla="*/ 383 h 455"/>
                <a:gd name="T80" fmla="*/ 551 w 629"/>
                <a:gd name="T81" fmla="*/ 366 h 455"/>
                <a:gd name="T82" fmla="*/ 557 w 629"/>
                <a:gd name="T83" fmla="*/ 337 h 455"/>
                <a:gd name="T84" fmla="*/ 459 w 629"/>
                <a:gd name="T85" fmla="*/ 268 h 455"/>
                <a:gd name="T86" fmla="*/ 456 w 629"/>
                <a:gd name="T87" fmla="*/ 258 h 455"/>
                <a:gd name="T88" fmla="*/ 466 w 629"/>
                <a:gd name="T89" fmla="*/ 255 h 455"/>
                <a:gd name="T90" fmla="*/ 587 w 629"/>
                <a:gd name="T91" fmla="*/ 343 h 455"/>
                <a:gd name="T92" fmla="*/ 620 w 629"/>
                <a:gd name="T93" fmla="*/ 327 h 455"/>
                <a:gd name="T94" fmla="*/ 613 w 629"/>
                <a:gd name="T95" fmla="*/ 278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29" h="455">
                  <a:moveTo>
                    <a:pt x="613" y="278"/>
                  </a:moveTo>
                  <a:cubicBezTo>
                    <a:pt x="348" y="88"/>
                    <a:pt x="348" y="88"/>
                    <a:pt x="348" y="88"/>
                  </a:cubicBezTo>
                  <a:cubicBezTo>
                    <a:pt x="289" y="62"/>
                    <a:pt x="289" y="62"/>
                    <a:pt x="289" y="62"/>
                  </a:cubicBezTo>
                  <a:cubicBezTo>
                    <a:pt x="197" y="111"/>
                    <a:pt x="197" y="111"/>
                    <a:pt x="197" y="111"/>
                  </a:cubicBezTo>
                  <a:cubicBezTo>
                    <a:pt x="187" y="118"/>
                    <a:pt x="187" y="118"/>
                    <a:pt x="187" y="118"/>
                  </a:cubicBezTo>
                  <a:cubicBezTo>
                    <a:pt x="174" y="124"/>
                    <a:pt x="158" y="127"/>
                    <a:pt x="145" y="124"/>
                  </a:cubicBezTo>
                  <a:cubicBezTo>
                    <a:pt x="145" y="124"/>
                    <a:pt x="145" y="124"/>
                    <a:pt x="145" y="124"/>
                  </a:cubicBezTo>
                  <a:cubicBezTo>
                    <a:pt x="122" y="124"/>
                    <a:pt x="99" y="111"/>
                    <a:pt x="86" y="88"/>
                  </a:cubicBezTo>
                  <a:cubicBezTo>
                    <a:pt x="79" y="75"/>
                    <a:pt x="76" y="62"/>
                    <a:pt x="79" y="46"/>
                  </a:cubicBezTo>
                  <a:cubicBezTo>
                    <a:pt x="79" y="29"/>
                    <a:pt x="89" y="13"/>
                    <a:pt x="102" y="0"/>
                  </a:cubicBezTo>
                  <a:cubicBezTo>
                    <a:pt x="82" y="0"/>
                    <a:pt x="69" y="0"/>
                    <a:pt x="69" y="0"/>
                  </a:cubicBezTo>
                  <a:cubicBezTo>
                    <a:pt x="69" y="0"/>
                    <a:pt x="0" y="131"/>
                    <a:pt x="4" y="262"/>
                  </a:cubicBezTo>
                  <a:cubicBezTo>
                    <a:pt x="14" y="265"/>
                    <a:pt x="14" y="265"/>
                    <a:pt x="14" y="265"/>
                  </a:cubicBezTo>
                  <a:cubicBezTo>
                    <a:pt x="20" y="249"/>
                    <a:pt x="33" y="239"/>
                    <a:pt x="53" y="232"/>
                  </a:cubicBezTo>
                  <a:cubicBezTo>
                    <a:pt x="59" y="232"/>
                    <a:pt x="66" y="232"/>
                    <a:pt x="73" y="232"/>
                  </a:cubicBezTo>
                  <a:cubicBezTo>
                    <a:pt x="82" y="232"/>
                    <a:pt x="95" y="239"/>
                    <a:pt x="105" y="245"/>
                  </a:cubicBezTo>
                  <a:cubicBezTo>
                    <a:pt x="118" y="239"/>
                    <a:pt x="131" y="235"/>
                    <a:pt x="145" y="239"/>
                  </a:cubicBezTo>
                  <a:cubicBezTo>
                    <a:pt x="148" y="239"/>
                    <a:pt x="148" y="239"/>
                    <a:pt x="148" y="239"/>
                  </a:cubicBezTo>
                  <a:cubicBezTo>
                    <a:pt x="161" y="239"/>
                    <a:pt x="171" y="245"/>
                    <a:pt x="177" y="252"/>
                  </a:cubicBezTo>
                  <a:cubicBezTo>
                    <a:pt x="187" y="245"/>
                    <a:pt x="200" y="242"/>
                    <a:pt x="217" y="245"/>
                  </a:cubicBezTo>
                  <a:cubicBezTo>
                    <a:pt x="217" y="245"/>
                    <a:pt x="220" y="245"/>
                    <a:pt x="223" y="245"/>
                  </a:cubicBezTo>
                  <a:cubicBezTo>
                    <a:pt x="246" y="252"/>
                    <a:pt x="263" y="268"/>
                    <a:pt x="266" y="291"/>
                  </a:cubicBezTo>
                  <a:cubicBezTo>
                    <a:pt x="269" y="291"/>
                    <a:pt x="272" y="291"/>
                    <a:pt x="279" y="291"/>
                  </a:cubicBezTo>
                  <a:cubicBezTo>
                    <a:pt x="282" y="291"/>
                    <a:pt x="282" y="291"/>
                    <a:pt x="285" y="294"/>
                  </a:cubicBezTo>
                  <a:cubicBezTo>
                    <a:pt x="315" y="301"/>
                    <a:pt x="335" y="327"/>
                    <a:pt x="331" y="357"/>
                  </a:cubicBezTo>
                  <a:cubicBezTo>
                    <a:pt x="331" y="360"/>
                    <a:pt x="331" y="363"/>
                    <a:pt x="331" y="363"/>
                  </a:cubicBezTo>
                  <a:cubicBezTo>
                    <a:pt x="322" y="412"/>
                    <a:pt x="322" y="412"/>
                    <a:pt x="322" y="412"/>
                  </a:cubicBezTo>
                  <a:cubicBezTo>
                    <a:pt x="380" y="455"/>
                    <a:pt x="380" y="455"/>
                    <a:pt x="380" y="455"/>
                  </a:cubicBezTo>
                  <a:cubicBezTo>
                    <a:pt x="390" y="455"/>
                    <a:pt x="400" y="448"/>
                    <a:pt x="410" y="438"/>
                  </a:cubicBezTo>
                  <a:cubicBezTo>
                    <a:pt x="413" y="432"/>
                    <a:pt x="417" y="422"/>
                    <a:pt x="413" y="412"/>
                  </a:cubicBezTo>
                  <a:cubicBezTo>
                    <a:pt x="361" y="370"/>
                    <a:pt x="361" y="370"/>
                    <a:pt x="361" y="370"/>
                  </a:cubicBezTo>
                  <a:cubicBezTo>
                    <a:pt x="358" y="366"/>
                    <a:pt x="358" y="363"/>
                    <a:pt x="358" y="360"/>
                  </a:cubicBezTo>
                  <a:cubicBezTo>
                    <a:pt x="361" y="357"/>
                    <a:pt x="364" y="357"/>
                    <a:pt x="367" y="360"/>
                  </a:cubicBezTo>
                  <a:cubicBezTo>
                    <a:pt x="456" y="422"/>
                    <a:pt x="456" y="422"/>
                    <a:pt x="456" y="422"/>
                  </a:cubicBezTo>
                  <a:cubicBezTo>
                    <a:pt x="469" y="422"/>
                    <a:pt x="479" y="419"/>
                    <a:pt x="485" y="409"/>
                  </a:cubicBezTo>
                  <a:cubicBezTo>
                    <a:pt x="492" y="399"/>
                    <a:pt x="492" y="389"/>
                    <a:pt x="492" y="376"/>
                  </a:cubicBezTo>
                  <a:cubicBezTo>
                    <a:pt x="390" y="307"/>
                    <a:pt x="390" y="307"/>
                    <a:pt x="390" y="307"/>
                  </a:cubicBezTo>
                  <a:cubicBezTo>
                    <a:pt x="387" y="304"/>
                    <a:pt x="387" y="301"/>
                    <a:pt x="390" y="298"/>
                  </a:cubicBezTo>
                  <a:cubicBezTo>
                    <a:pt x="390" y="294"/>
                    <a:pt x="397" y="294"/>
                    <a:pt x="400" y="294"/>
                  </a:cubicBezTo>
                  <a:cubicBezTo>
                    <a:pt x="521" y="383"/>
                    <a:pt x="521" y="383"/>
                    <a:pt x="521" y="383"/>
                  </a:cubicBezTo>
                  <a:cubicBezTo>
                    <a:pt x="531" y="383"/>
                    <a:pt x="544" y="376"/>
                    <a:pt x="551" y="366"/>
                  </a:cubicBezTo>
                  <a:cubicBezTo>
                    <a:pt x="557" y="357"/>
                    <a:pt x="557" y="347"/>
                    <a:pt x="557" y="337"/>
                  </a:cubicBezTo>
                  <a:cubicBezTo>
                    <a:pt x="459" y="268"/>
                    <a:pt x="459" y="268"/>
                    <a:pt x="459" y="268"/>
                  </a:cubicBezTo>
                  <a:cubicBezTo>
                    <a:pt x="456" y="265"/>
                    <a:pt x="456" y="262"/>
                    <a:pt x="456" y="258"/>
                  </a:cubicBezTo>
                  <a:cubicBezTo>
                    <a:pt x="459" y="255"/>
                    <a:pt x="462" y="252"/>
                    <a:pt x="466" y="255"/>
                  </a:cubicBezTo>
                  <a:cubicBezTo>
                    <a:pt x="587" y="343"/>
                    <a:pt x="587" y="343"/>
                    <a:pt x="587" y="343"/>
                  </a:cubicBezTo>
                  <a:cubicBezTo>
                    <a:pt x="603" y="343"/>
                    <a:pt x="613" y="337"/>
                    <a:pt x="620" y="327"/>
                  </a:cubicBezTo>
                  <a:cubicBezTo>
                    <a:pt x="629" y="311"/>
                    <a:pt x="626" y="288"/>
                    <a:pt x="613" y="2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mj-lt"/>
                <a:ea typeface="+mn-ea"/>
                <a:cs typeface="+mn-cs"/>
              </a:endParaRPr>
            </a:p>
          </p:txBody>
        </p:sp>
        <p:sp>
          <p:nvSpPr>
            <p:cNvPr id="8" name="Freeform 316">
              <a:extLst>
                <a:ext uri="{FF2B5EF4-FFF2-40B4-BE49-F238E27FC236}">
                  <a16:creationId xmlns:a16="http://schemas.microsoft.com/office/drawing/2014/main" id="{EEA95335-DDB3-43BB-8800-C22C51109EDC}"/>
                </a:ext>
              </a:extLst>
            </p:cNvPr>
            <p:cNvSpPr>
              <a:spLocks/>
            </p:cNvSpPr>
            <p:nvPr/>
          </p:nvSpPr>
          <p:spPr bwMode="auto">
            <a:xfrm>
              <a:off x="4237" y="1351"/>
              <a:ext cx="284" cy="164"/>
            </a:xfrm>
            <a:custGeom>
              <a:avLst/>
              <a:gdLst>
                <a:gd name="T0" fmla="*/ 422 w 583"/>
                <a:gd name="T1" fmla="*/ 105 h 334"/>
                <a:gd name="T2" fmla="*/ 396 w 583"/>
                <a:gd name="T3" fmla="*/ 95 h 334"/>
                <a:gd name="T4" fmla="*/ 206 w 583"/>
                <a:gd name="T5" fmla="*/ 6 h 334"/>
                <a:gd name="T6" fmla="*/ 164 w 583"/>
                <a:gd name="T7" fmla="*/ 10 h 334"/>
                <a:gd name="T8" fmla="*/ 85 w 583"/>
                <a:gd name="T9" fmla="*/ 52 h 334"/>
                <a:gd name="T10" fmla="*/ 29 w 583"/>
                <a:gd name="T11" fmla="*/ 85 h 334"/>
                <a:gd name="T12" fmla="*/ 13 w 583"/>
                <a:gd name="T13" fmla="*/ 150 h 334"/>
                <a:gd name="T14" fmla="*/ 49 w 583"/>
                <a:gd name="T15" fmla="*/ 173 h 334"/>
                <a:gd name="T16" fmla="*/ 75 w 583"/>
                <a:gd name="T17" fmla="*/ 167 h 334"/>
                <a:gd name="T18" fmla="*/ 75 w 583"/>
                <a:gd name="T19" fmla="*/ 167 h 334"/>
                <a:gd name="T20" fmla="*/ 190 w 583"/>
                <a:gd name="T21" fmla="*/ 108 h 334"/>
                <a:gd name="T22" fmla="*/ 262 w 583"/>
                <a:gd name="T23" fmla="*/ 141 h 334"/>
                <a:gd name="T24" fmla="*/ 363 w 583"/>
                <a:gd name="T25" fmla="*/ 213 h 334"/>
                <a:gd name="T26" fmla="*/ 527 w 583"/>
                <a:gd name="T27" fmla="*/ 330 h 334"/>
                <a:gd name="T28" fmla="*/ 530 w 583"/>
                <a:gd name="T29" fmla="*/ 334 h 334"/>
                <a:gd name="T30" fmla="*/ 576 w 583"/>
                <a:gd name="T31" fmla="*/ 324 h 334"/>
                <a:gd name="T32" fmla="*/ 514 w 583"/>
                <a:gd name="T33" fmla="*/ 98 h 334"/>
                <a:gd name="T34" fmla="*/ 422 w 583"/>
                <a:gd name="T35" fmla="*/ 105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3" h="334">
                  <a:moveTo>
                    <a:pt x="422" y="105"/>
                  </a:moveTo>
                  <a:cubicBezTo>
                    <a:pt x="416" y="105"/>
                    <a:pt x="406" y="101"/>
                    <a:pt x="396" y="95"/>
                  </a:cubicBezTo>
                  <a:cubicBezTo>
                    <a:pt x="206" y="6"/>
                    <a:pt x="206" y="6"/>
                    <a:pt x="206" y="6"/>
                  </a:cubicBezTo>
                  <a:cubicBezTo>
                    <a:pt x="193" y="0"/>
                    <a:pt x="177" y="3"/>
                    <a:pt x="164" y="10"/>
                  </a:cubicBezTo>
                  <a:cubicBezTo>
                    <a:pt x="85" y="52"/>
                    <a:pt x="85" y="52"/>
                    <a:pt x="85" y="52"/>
                  </a:cubicBezTo>
                  <a:cubicBezTo>
                    <a:pt x="29" y="85"/>
                    <a:pt x="29" y="85"/>
                    <a:pt x="29" y="85"/>
                  </a:cubicBezTo>
                  <a:cubicBezTo>
                    <a:pt x="6" y="98"/>
                    <a:pt x="0" y="127"/>
                    <a:pt x="13" y="150"/>
                  </a:cubicBezTo>
                  <a:cubicBezTo>
                    <a:pt x="19" y="163"/>
                    <a:pt x="32" y="173"/>
                    <a:pt x="49" y="173"/>
                  </a:cubicBezTo>
                  <a:cubicBezTo>
                    <a:pt x="59" y="173"/>
                    <a:pt x="69" y="173"/>
                    <a:pt x="75" y="167"/>
                  </a:cubicBezTo>
                  <a:cubicBezTo>
                    <a:pt x="75" y="167"/>
                    <a:pt x="75" y="167"/>
                    <a:pt x="75" y="167"/>
                  </a:cubicBezTo>
                  <a:cubicBezTo>
                    <a:pt x="190" y="108"/>
                    <a:pt x="190" y="108"/>
                    <a:pt x="190" y="108"/>
                  </a:cubicBezTo>
                  <a:cubicBezTo>
                    <a:pt x="262" y="141"/>
                    <a:pt x="262" y="141"/>
                    <a:pt x="262" y="141"/>
                  </a:cubicBezTo>
                  <a:cubicBezTo>
                    <a:pt x="363" y="213"/>
                    <a:pt x="363" y="213"/>
                    <a:pt x="363" y="213"/>
                  </a:cubicBezTo>
                  <a:cubicBezTo>
                    <a:pt x="527" y="330"/>
                    <a:pt x="527" y="330"/>
                    <a:pt x="527" y="330"/>
                  </a:cubicBezTo>
                  <a:cubicBezTo>
                    <a:pt x="530" y="334"/>
                    <a:pt x="530" y="334"/>
                    <a:pt x="530" y="334"/>
                  </a:cubicBezTo>
                  <a:cubicBezTo>
                    <a:pt x="576" y="324"/>
                    <a:pt x="576" y="324"/>
                    <a:pt x="576" y="324"/>
                  </a:cubicBezTo>
                  <a:cubicBezTo>
                    <a:pt x="583" y="170"/>
                    <a:pt x="514" y="98"/>
                    <a:pt x="514" y="98"/>
                  </a:cubicBezTo>
                  <a:cubicBezTo>
                    <a:pt x="514" y="98"/>
                    <a:pt x="442" y="111"/>
                    <a:pt x="422"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mj-lt"/>
                <a:ea typeface="+mn-ea"/>
                <a:cs typeface="+mn-cs"/>
              </a:endParaRPr>
            </a:p>
          </p:txBody>
        </p:sp>
        <p:sp>
          <p:nvSpPr>
            <p:cNvPr id="9" name="Freeform 317">
              <a:extLst>
                <a:ext uri="{FF2B5EF4-FFF2-40B4-BE49-F238E27FC236}">
                  <a16:creationId xmlns:a16="http://schemas.microsoft.com/office/drawing/2014/main" id="{BA653304-E354-4AB6-A26E-CF99852F6368}"/>
                </a:ext>
              </a:extLst>
            </p:cNvPr>
            <p:cNvSpPr>
              <a:spLocks/>
            </p:cNvSpPr>
            <p:nvPr/>
          </p:nvSpPr>
          <p:spPr bwMode="auto">
            <a:xfrm>
              <a:off x="4202" y="1510"/>
              <a:ext cx="139" cy="96"/>
            </a:xfrm>
            <a:custGeom>
              <a:avLst/>
              <a:gdLst>
                <a:gd name="T0" fmla="*/ 255 w 285"/>
                <a:gd name="T1" fmla="*/ 65 h 196"/>
                <a:gd name="T2" fmla="*/ 213 w 285"/>
                <a:gd name="T3" fmla="*/ 82 h 196"/>
                <a:gd name="T4" fmla="*/ 216 w 285"/>
                <a:gd name="T5" fmla="*/ 59 h 196"/>
                <a:gd name="T6" fmla="*/ 190 w 285"/>
                <a:gd name="T7" fmla="*/ 16 h 196"/>
                <a:gd name="T8" fmla="*/ 147 w 285"/>
                <a:gd name="T9" fmla="*/ 42 h 196"/>
                <a:gd name="T10" fmla="*/ 147 w 285"/>
                <a:gd name="T11" fmla="*/ 46 h 196"/>
                <a:gd name="T12" fmla="*/ 118 w 285"/>
                <a:gd name="T13" fmla="*/ 10 h 196"/>
                <a:gd name="T14" fmla="*/ 78 w 285"/>
                <a:gd name="T15" fmla="*/ 33 h 196"/>
                <a:gd name="T16" fmla="*/ 78 w 285"/>
                <a:gd name="T17" fmla="*/ 33 h 196"/>
                <a:gd name="T18" fmla="*/ 32 w 285"/>
                <a:gd name="T19" fmla="*/ 3 h 196"/>
                <a:gd name="T20" fmla="*/ 3 w 285"/>
                <a:gd name="T21" fmla="*/ 46 h 196"/>
                <a:gd name="T22" fmla="*/ 13 w 285"/>
                <a:gd name="T23" fmla="*/ 91 h 196"/>
                <a:gd name="T24" fmla="*/ 46 w 285"/>
                <a:gd name="T25" fmla="*/ 121 h 196"/>
                <a:gd name="T26" fmla="*/ 55 w 285"/>
                <a:gd name="T27" fmla="*/ 121 h 196"/>
                <a:gd name="T28" fmla="*/ 62 w 285"/>
                <a:gd name="T29" fmla="*/ 118 h 196"/>
                <a:gd name="T30" fmla="*/ 91 w 285"/>
                <a:gd name="T31" fmla="*/ 144 h 196"/>
                <a:gd name="T32" fmla="*/ 95 w 285"/>
                <a:gd name="T33" fmla="*/ 144 h 196"/>
                <a:gd name="T34" fmla="*/ 131 w 285"/>
                <a:gd name="T35" fmla="*/ 127 h 196"/>
                <a:gd name="T36" fmla="*/ 127 w 285"/>
                <a:gd name="T37" fmla="*/ 131 h 196"/>
                <a:gd name="T38" fmla="*/ 157 w 285"/>
                <a:gd name="T39" fmla="*/ 173 h 196"/>
                <a:gd name="T40" fmla="*/ 160 w 285"/>
                <a:gd name="T41" fmla="*/ 173 h 196"/>
                <a:gd name="T42" fmla="*/ 193 w 285"/>
                <a:gd name="T43" fmla="*/ 157 h 196"/>
                <a:gd name="T44" fmla="*/ 222 w 285"/>
                <a:gd name="T45" fmla="*/ 196 h 196"/>
                <a:gd name="T46" fmla="*/ 226 w 285"/>
                <a:gd name="T47" fmla="*/ 196 h 196"/>
                <a:gd name="T48" fmla="*/ 268 w 285"/>
                <a:gd name="T49" fmla="*/ 167 h 196"/>
                <a:gd name="T50" fmla="*/ 281 w 285"/>
                <a:gd name="T51" fmla="*/ 108 h 196"/>
                <a:gd name="T52" fmla="*/ 255 w 285"/>
                <a:gd name="T53" fmla="*/ 65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5" h="196">
                  <a:moveTo>
                    <a:pt x="255" y="65"/>
                  </a:moveTo>
                  <a:cubicBezTo>
                    <a:pt x="236" y="62"/>
                    <a:pt x="219" y="69"/>
                    <a:pt x="213" y="82"/>
                  </a:cubicBezTo>
                  <a:cubicBezTo>
                    <a:pt x="216" y="59"/>
                    <a:pt x="216" y="59"/>
                    <a:pt x="216" y="59"/>
                  </a:cubicBezTo>
                  <a:cubicBezTo>
                    <a:pt x="222" y="39"/>
                    <a:pt x="209" y="19"/>
                    <a:pt x="190" y="16"/>
                  </a:cubicBezTo>
                  <a:cubicBezTo>
                    <a:pt x="170" y="13"/>
                    <a:pt x="150" y="23"/>
                    <a:pt x="147" y="42"/>
                  </a:cubicBezTo>
                  <a:cubicBezTo>
                    <a:pt x="147" y="46"/>
                    <a:pt x="147" y="46"/>
                    <a:pt x="147" y="46"/>
                  </a:cubicBezTo>
                  <a:cubicBezTo>
                    <a:pt x="147" y="29"/>
                    <a:pt x="134" y="13"/>
                    <a:pt x="118" y="10"/>
                  </a:cubicBezTo>
                  <a:cubicBezTo>
                    <a:pt x="101" y="6"/>
                    <a:pt x="82" y="16"/>
                    <a:pt x="78" y="33"/>
                  </a:cubicBezTo>
                  <a:cubicBezTo>
                    <a:pt x="78" y="33"/>
                    <a:pt x="78" y="33"/>
                    <a:pt x="78" y="33"/>
                  </a:cubicBezTo>
                  <a:cubicBezTo>
                    <a:pt x="72" y="13"/>
                    <a:pt x="49" y="0"/>
                    <a:pt x="32" y="3"/>
                  </a:cubicBezTo>
                  <a:cubicBezTo>
                    <a:pt x="13" y="10"/>
                    <a:pt x="0" y="26"/>
                    <a:pt x="3" y="46"/>
                  </a:cubicBezTo>
                  <a:cubicBezTo>
                    <a:pt x="13" y="91"/>
                    <a:pt x="13" y="91"/>
                    <a:pt x="13" y="91"/>
                  </a:cubicBezTo>
                  <a:cubicBezTo>
                    <a:pt x="16" y="105"/>
                    <a:pt x="29" y="121"/>
                    <a:pt x="46" y="121"/>
                  </a:cubicBezTo>
                  <a:cubicBezTo>
                    <a:pt x="49" y="121"/>
                    <a:pt x="52" y="121"/>
                    <a:pt x="55" y="121"/>
                  </a:cubicBezTo>
                  <a:cubicBezTo>
                    <a:pt x="59" y="121"/>
                    <a:pt x="59" y="121"/>
                    <a:pt x="62" y="118"/>
                  </a:cubicBezTo>
                  <a:cubicBezTo>
                    <a:pt x="65" y="131"/>
                    <a:pt x="78" y="141"/>
                    <a:pt x="91" y="144"/>
                  </a:cubicBezTo>
                  <a:cubicBezTo>
                    <a:pt x="95" y="144"/>
                    <a:pt x="95" y="144"/>
                    <a:pt x="95" y="144"/>
                  </a:cubicBezTo>
                  <a:cubicBezTo>
                    <a:pt x="108" y="144"/>
                    <a:pt x="121" y="137"/>
                    <a:pt x="131" y="127"/>
                  </a:cubicBezTo>
                  <a:cubicBezTo>
                    <a:pt x="127" y="131"/>
                    <a:pt x="127" y="131"/>
                    <a:pt x="127" y="131"/>
                  </a:cubicBezTo>
                  <a:cubicBezTo>
                    <a:pt x="124" y="147"/>
                    <a:pt x="137" y="167"/>
                    <a:pt x="157" y="173"/>
                  </a:cubicBezTo>
                  <a:cubicBezTo>
                    <a:pt x="157" y="173"/>
                    <a:pt x="157" y="173"/>
                    <a:pt x="160" y="173"/>
                  </a:cubicBezTo>
                  <a:cubicBezTo>
                    <a:pt x="173" y="173"/>
                    <a:pt x="186" y="167"/>
                    <a:pt x="193" y="157"/>
                  </a:cubicBezTo>
                  <a:cubicBezTo>
                    <a:pt x="193" y="173"/>
                    <a:pt x="203" y="190"/>
                    <a:pt x="222" y="196"/>
                  </a:cubicBezTo>
                  <a:cubicBezTo>
                    <a:pt x="222" y="196"/>
                    <a:pt x="222" y="196"/>
                    <a:pt x="226" y="196"/>
                  </a:cubicBezTo>
                  <a:cubicBezTo>
                    <a:pt x="242" y="196"/>
                    <a:pt x="262" y="186"/>
                    <a:pt x="268" y="167"/>
                  </a:cubicBezTo>
                  <a:cubicBezTo>
                    <a:pt x="281" y="108"/>
                    <a:pt x="281" y="108"/>
                    <a:pt x="281" y="108"/>
                  </a:cubicBezTo>
                  <a:cubicBezTo>
                    <a:pt x="285" y="88"/>
                    <a:pt x="272" y="69"/>
                    <a:pt x="255"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mj-lt"/>
                <a:ea typeface="+mn-ea"/>
                <a:cs typeface="+mn-cs"/>
              </a:endParaRPr>
            </a:p>
          </p:txBody>
        </p:sp>
        <p:sp>
          <p:nvSpPr>
            <p:cNvPr id="10" name="Freeform 318">
              <a:extLst>
                <a:ext uri="{FF2B5EF4-FFF2-40B4-BE49-F238E27FC236}">
                  <a16:creationId xmlns:a16="http://schemas.microsoft.com/office/drawing/2014/main" id="{343B48F9-DD4E-4DBD-ADAF-50745CEF8913}"/>
                </a:ext>
              </a:extLst>
            </p:cNvPr>
            <p:cNvSpPr>
              <a:spLocks/>
            </p:cNvSpPr>
            <p:nvPr/>
          </p:nvSpPr>
          <p:spPr bwMode="auto">
            <a:xfrm>
              <a:off x="4493" y="1376"/>
              <a:ext cx="68" cy="140"/>
            </a:xfrm>
            <a:custGeom>
              <a:avLst/>
              <a:gdLst>
                <a:gd name="T0" fmla="*/ 141 w 141"/>
                <a:gd name="T1" fmla="*/ 255 h 285"/>
                <a:gd name="T2" fmla="*/ 111 w 141"/>
                <a:gd name="T3" fmla="*/ 23 h 285"/>
                <a:gd name="T4" fmla="*/ 82 w 141"/>
                <a:gd name="T5" fmla="*/ 3 h 285"/>
                <a:gd name="T6" fmla="*/ 0 w 141"/>
                <a:gd name="T7" fmla="*/ 23 h 285"/>
                <a:gd name="T8" fmla="*/ 75 w 141"/>
                <a:gd name="T9" fmla="*/ 285 h 285"/>
                <a:gd name="T10" fmla="*/ 111 w 141"/>
                <a:gd name="T11" fmla="*/ 285 h 285"/>
                <a:gd name="T12" fmla="*/ 141 w 141"/>
                <a:gd name="T13" fmla="*/ 255 h 285"/>
              </a:gdLst>
              <a:ahLst/>
              <a:cxnLst>
                <a:cxn ang="0">
                  <a:pos x="T0" y="T1"/>
                </a:cxn>
                <a:cxn ang="0">
                  <a:pos x="T2" y="T3"/>
                </a:cxn>
                <a:cxn ang="0">
                  <a:pos x="T4" y="T5"/>
                </a:cxn>
                <a:cxn ang="0">
                  <a:pos x="T6" y="T7"/>
                </a:cxn>
                <a:cxn ang="0">
                  <a:pos x="T8" y="T9"/>
                </a:cxn>
                <a:cxn ang="0">
                  <a:pos x="T10" y="T11"/>
                </a:cxn>
                <a:cxn ang="0">
                  <a:pos x="T12" y="T13"/>
                </a:cxn>
              </a:cxnLst>
              <a:rect l="0" t="0" r="r" b="b"/>
              <a:pathLst>
                <a:path w="141" h="285">
                  <a:moveTo>
                    <a:pt x="141" y="255"/>
                  </a:moveTo>
                  <a:cubicBezTo>
                    <a:pt x="111" y="23"/>
                    <a:pt x="111" y="23"/>
                    <a:pt x="111" y="23"/>
                  </a:cubicBezTo>
                  <a:cubicBezTo>
                    <a:pt x="108" y="7"/>
                    <a:pt x="95" y="0"/>
                    <a:pt x="82" y="3"/>
                  </a:cubicBezTo>
                  <a:cubicBezTo>
                    <a:pt x="0" y="23"/>
                    <a:pt x="0" y="23"/>
                    <a:pt x="0" y="23"/>
                  </a:cubicBezTo>
                  <a:cubicBezTo>
                    <a:pt x="0" y="23"/>
                    <a:pt x="85" y="108"/>
                    <a:pt x="75" y="285"/>
                  </a:cubicBezTo>
                  <a:cubicBezTo>
                    <a:pt x="111" y="285"/>
                    <a:pt x="111" y="285"/>
                    <a:pt x="111" y="285"/>
                  </a:cubicBezTo>
                  <a:cubicBezTo>
                    <a:pt x="128" y="285"/>
                    <a:pt x="141" y="272"/>
                    <a:pt x="141" y="2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mj-lt"/>
                <a:ea typeface="+mn-ea"/>
                <a:cs typeface="+mn-cs"/>
              </a:endParaRPr>
            </a:p>
          </p:txBody>
        </p:sp>
        <p:sp>
          <p:nvSpPr>
            <p:cNvPr id="11" name="Freeform 319">
              <a:extLst>
                <a:ext uri="{FF2B5EF4-FFF2-40B4-BE49-F238E27FC236}">
                  <a16:creationId xmlns:a16="http://schemas.microsoft.com/office/drawing/2014/main" id="{3FD396D8-20F2-4AA9-B9FA-C7F648B03D7F}"/>
                </a:ext>
              </a:extLst>
            </p:cNvPr>
            <p:cNvSpPr>
              <a:spLocks/>
            </p:cNvSpPr>
            <p:nvPr/>
          </p:nvSpPr>
          <p:spPr bwMode="auto">
            <a:xfrm>
              <a:off x="4138" y="1362"/>
              <a:ext cx="76" cy="154"/>
            </a:xfrm>
            <a:custGeom>
              <a:avLst/>
              <a:gdLst>
                <a:gd name="T0" fmla="*/ 157 w 157"/>
                <a:gd name="T1" fmla="*/ 29 h 314"/>
                <a:gd name="T2" fmla="*/ 118 w 157"/>
                <a:gd name="T3" fmla="*/ 6 h 314"/>
                <a:gd name="T4" fmla="*/ 82 w 157"/>
                <a:gd name="T5" fmla="*/ 19 h 314"/>
                <a:gd name="T6" fmla="*/ 6 w 157"/>
                <a:gd name="T7" fmla="*/ 268 h 314"/>
                <a:gd name="T8" fmla="*/ 23 w 157"/>
                <a:gd name="T9" fmla="*/ 301 h 314"/>
                <a:gd name="T10" fmla="*/ 85 w 157"/>
                <a:gd name="T11" fmla="*/ 314 h 314"/>
                <a:gd name="T12" fmla="*/ 157 w 157"/>
                <a:gd name="T13" fmla="*/ 29 h 314"/>
              </a:gdLst>
              <a:ahLst/>
              <a:cxnLst>
                <a:cxn ang="0">
                  <a:pos x="T0" y="T1"/>
                </a:cxn>
                <a:cxn ang="0">
                  <a:pos x="T2" y="T3"/>
                </a:cxn>
                <a:cxn ang="0">
                  <a:pos x="T4" y="T5"/>
                </a:cxn>
                <a:cxn ang="0">
                  <a:pos x="T6" y="T7"/>
                </a:cxn>
                <a:cxn ang="0">
                  <a:pos x="T8" y="T9"/>
                </a:cxn>
                <a:cxn ang="0">
                  <a:pos x="T10" y="T11"/>
                </a:cxn>
                <a:cxn ang="0">
                  <a:pos x="T12" y="T13"/>
                </a:cxn>
              </a:cxnLst>
              <a:rect l="0" t="0" r="r" b="b"/>
              <a:pathLst>
                <a:path w="157" h="314">
                  <a:moveTo>
                    <a:pt x="157" y="29"/>
                  </a:moveTo>
                  <a:cubicBezTo>
                    <a:pt x="118" y="6"/>
                    <a:pt x="118" y="6"/>
                    <a:pt x="118" y="6"/>
                  </a:cubicBezTo>
                  <a:cubicBezTo>
                    <a:pt x="101" y="0"/>
                    <a:pt x="88" y="6"/>
                    <a:pt x="82" y="19"/>
                  </a:cubicBezTo>
                  <a:cubicBezTo>
                    <a:pt x="6" y="268"/>
                    <a:pt x="6" y="268"/>
                    <a:pt x="6" y="268"/>
                  </a:cubicBezTo>
                  <a:cubicBezTo>
                    <a:pt x="0" y="288"/>
                    <a:pt x="9" y="301"/>
                    <a:pt x="23" y="301"/>
                  </a:cubicBezTo>
                  <a:cubicBezTo>
                    <a:pt x="85" y="314"/>
                    <a:pt x="85" y="314"/>
                    <a:pt x="85" y="314"/>
                  </a:cubicBezTo>
                  <a:cubicBezTo>
                    <a:pt x="78" y="173"/>
                    <a:pt x="157" y="29"/>
                    <a:pt x="15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mj-lt"/>
                <a:ea typeface="+mn-ea"/>
                <a:cs typeface="+mn-cs"/>
              </a:endParaRPr>
            </a:p>
          </p:txBody>
        </p:sp>
      </p:grpSp>
      <p:sp>
        <p:nvSpPr>
          <p:cNvPr id="13" name="Rectangle 12">
            <a:extLst>
              <a:ext uri="{FF2B5EF4-FFF2-40B4-BE49-F238E27FC236}">
                <a16:creationId xmlns:a16="http://schemas.microsoft.com/office/drawing/2014/main" id="{3F60878A-E805-4631-96CF-684455B26DB7}"/>
              </a:ext>
            </a:extLst>
          </p:cNvPr>
          <p:cNvSpPr/>
          <p:nvPr/>
        </p:nvSpPr>
        <p:spPr bwMode="auto">
          <a:xfrm>
            <a:off x="7044550" y="3033974"/>
            <a:ext cx="4883324" cy="8617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026" rtl="0" eaLnBrk="1" fontAlgn="auto" latinLnBrk="0" hangingPunct="1">
              <a:lnSpc>
                <a:spcPct val="100000"/>
              </a:lnSpc>
              <a:spcBef>
                <a:spcPts val="0"/>
              </a:spcBef>
              <a:spcAft>
                <a:spcPts val="600"/>
              </a:spcAft>
              <a:buClrTx/>
              <a:buSzTx/>
              <a:buFontTx/>
              <a:buNone/>
              <a:tabLst/>
              <a:defRPr/>
            </a:pPr>
            <a:r>
              <a:rPr kumimoji="0" lang="en-US" sz="2800" b="0" i="0" u="none" strike="noStrike" kern="0" cap="none" spc="0" normalizeH="0" baseline="0" noProof="0" dirty="0">
                <a:ln>
                  <a:noFill/>
                </a:ln>
                <a:solidFill>
                  <a:srgbClr val="505050"/>
                </a:solidFill>
                <a:effectLst/>
                <a:uLnTx/>
                <a:uFillTx/>
                <a:latin typeface="+mj-lt"/>
                <a:ea typeface="+mn-ea"/>
                <a:cs typeface="+mn-cs"/>
              </a:rPr>
              <a:t>Sell Microsoft cloud services for business with your added value</a:t>
            </a:r>
          </a:p>
        </p:txBody>
      </p:sp>
      <p:grpSp>
        <p:nvGrpSpPr>
          <p:cNvPr id="14" name="Group 336">
            <a:extLst>
              <a:ext uri="{FF2B5EF4-FFF2-40B4-BE49-F238E27FC236}">
                <a16:creationId xmlns:a16="http://schemas.microsoft.com/office/drawing/2014/main" id="{4EB56142-15BD-4E88-9B0F-F1AA15C50A01}"/>
              </a:ext>
            </a:extLst>
          </p:cNvPr>
          <p:cNvGrpSpPr>
            <a:grpSpLocks noChangeAspect="1"/>
          </p:cNvGrpSpPr>
          <p:nvPr/>
        </p:nvGrpSpPr>
        <p:grpSpPr bwMode="auto">
          <a:xfrm>
            <a:off x="6134780" y="3221952"/>
            <a:ext cx="688980" cy="485818"/>
            <a:chOff x="4166" y="2723"/>
            <a:chExt cx="390" cy="275"/>
          </a:xfrm>
          <a:solidFill>
            <a:schemeClr val="accent1"/>
          </a:solidFill>
        </p:grpSpPr>
        <p:sp>
          <p:nvSpPr>
            <p:cNvPr id="15" name="Freeform 337">
              <a:extLst>
                <a:ext uri="{FF2B5EF4-FFF2-40B4-BE49-F238E27FC236}">
                  <a16:creationId xmlns:a16="http://schemas.microsoft.com/office/drawing/2014/main" id="{308454A2-AB56-4FF3-B5AB-A62F82BE2B67}"/>
                </a:ext>
              </a:extLst>
            </p:cNvPr>
            <p:cNvSpPr>
              <a:spLocks/>
            </p:cNvSpPr>
            <p:nvPr/>
          </p:nvSpPr>
          <p:spPr bwMode="auto">
            <a:xfrm>
              <a:off x="4166" y="2723"/>
              <a:ext cx="390" cy="245"/>
            </a:xfrm>
            <a:custGeom>
              <a:avLst/>
              <a:gdLst>
                <a:gd name="T0" fmla="*/ 390 w 390"/>
                <a:gd name="T1" fmla="*/ 0 h 245"/>
                <a:gd name="T2" fmla="*/ 282 w 390"/>
                <a:gd name="T3" fmla="*/ 10 h 245"/>
                <a:gd name="T4" fmla="*/ 310 w 390"/>
                <a:gd name="T5" fmla="*/ 42 h 245"/>
                <a:gd name="T6" fmla="*/ 227 w 390"/>
                <a:gd name="T7" fmla="*/ 105 h 245"/>
                <a:gd name="T8" fmla="*/ 173 w 390"/>
                <a:gd name="T9" fmla="*/ 55 h 245"/>
                <a:gd name="T10" fmla="*/ 0 w 390"/>
                <a:gd name="T11" fmla="*/ 198 h 245"/>
                <a:gd name="T12" fmla="*/ 0 w 390"/>
                <a:gd name="T13" fmla="*/ 245 h 245"/>
                <a:gd name="T14" fmla="*/ 172 w 390"/>
                <a:gd name="T15" fmla="*/ 103 h 245"/>
                <a:gd name="T16" fmla="*/ 225 w 390"/>
                <a:gd name="T17" fmla="*/ 152 h 245"/>
                <a:gd name="T18" fmla="*/ 334 w 390"/>
                <a:gd name="T19" fmla="*/ 69 h 245"/>
                <a:gd name="T20" fmla="*/ 363 w 390"/>
                <a:gd name="T21" fmla="*/ 103 h 245"/>
                <a:gd name="T22" fmla="*/ 390 w 390"/>
                <a:gd name="T23"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0" h="245">
                  <a:moveTo>
                    <a:pt x="390" y="0"/>
                  </a:moveTo>
                  <a:lnTo>
                    <a:pt x="282" y="10"/>
                  </a:lnTo>
                  <a:lnTo>
                    <a:pt x="310" y="42"/>
                  </a:lnTo>
                  <a:lnTo>
                    <a:pt x="227" y="105"/>
                  </a:lnTo>
                  <a:lnTo>
                    <a:pt x="173" y="55"/>
                  </a:lnTo>
                  <a:lnTo>
                    <a:pt x="0" y="198"/>
                  </a:lnTo>
                  <a:lnTo>
                    <a:pt x="0" y="245"/>
                  </a:lnTo>
                  <a:lnTo>
                    <a:pt x="172" y="103"/>
                  </a:lnTo>
                  <a:lnTo>
                    <a:pt x="225" y="152"/>
                  </a:lnTo>
                  <a:lnTo>
                    <a:pt x="334" y="69"/>
                  </a:lnTo>
                  <a:lnTo>
                    <a:pt x="363" y="103"/>
                  </a:lnTo>
                  <a:lnTo>
                    <a:pt x="3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mj-lt"/>
                <a:ea typeface="+mn-ea"/>
                <a:cs typeface="+mn-cs"/>
              </a:endParaRPr>
            </a:p>
          </p:txBody>
        </p:sp>
        <p:sp>
          <p:nvSpPr>
            <p:cNvPr id="16" name="Freeform 338">
              <a:extLst>
                <a:ext uri="{FF2B5EF4-FFF2-40B4-BE49-F238E27FC236}">
                  <a16:creationId xmlns:a16="http://schemas.microsoft.com/office/drawing/2014/main" id="{60C257F8-E14D-4297-876E-5487451535A8}"/>
                </a:ext>
              </a:extLst>
            </p:cNvPr>
            <p:cNvSpPr>
              <a:spLocks/>
            </p:cNvSpPr>
            <p:nvPr/>
          </p:nvSpPr>
          <p:spPr bwMode="auto">
            <a:xfrm>
              <a:off x="4282" y="2857"/>
              <a:ext cx="102" cy="141"/>
            </a:xfrm>
            <a:custGeom>
              <a:avLst/>
              <a:gdLst>
                <a:gd name="T0" fmla="*/ 0 w 102"/>
                <a:gd name="T1" fmla="*/ 141 h 141"/>
                <a:gd name="T2" fmla="*/ 102 w 102"/>
                <a:gd name="T3" fmla="*/ 141 h 141"/>
                <a:gd name="T4" fmla="*/ 102 w 102"/>
                <a:gd name="T5" fmla="*/ 41 h 141"/>
                <a:gd name="T6" fmla="*/ 56 w 102"/>
                <a:gd name="T7" fmla="*/ 0 h 141"/>
                <a:gd name="T8" fmla="*/ 0 w 102"/>
                <a:gd name="T9" fmla="*/ 46 h 141"/>
                <a:gd name="T10" fmla="*/ 0 w 102"/>
                <a:gd name="T11" fmla="*/ 141 h 141"/>
              </a:gdLst>
              <a:ahLst/>
              <a:cxnLst>
                <a:cxn ang="0">
                  <a:pos x="T0" y="T1"/>
                </a:cxn>
                <a:cxn ang="0">
                  <a:pos x="T2" y="T3"/>
                </a:cxn>
                <a:cxn ang="0">
                  <a:pos x="T4" y="T5"/>
                </a:cxn>
                <a:cxn ang="0">
                  <a:pos x="T6" y="T7"/>
                </a:cxn>
                <a:cxn ang="0">
                  <a:pos x="T8" y="T9"/>
                </a:cxn>
                <a:cxn ang="0">
                  <a:pos x="T10" y="T11"/>
                </a:cxn>
              </a:cxnLst>
              <a:rect l="0" t="0" r="r" b="b"/>
              <a:pathLst>
                <a:path w="102" h="141">
                  <a:moveTo>
                    <a:pt x="0" y="141"/>
                  </a:moveTo>
                  <a:lnTo>
                    <a:pt x="102" y="141"/>
                  </a:lnTo>
                  <a:lnTo>
                    <a:pt x="102" y="41"/>
                  </a:lnTo>
                  <a:lnTo>
                    <a:pt x="56" y="0"/>
                  </a:lnTo>
                  <a:lnTo>
                    <a:pt x="0" y="46"/>
                  </a:lnTo>
                  <a:lnTo>
                    <a:pt x="0"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mj-lt"/>
                <a:ea typeface="+mn-ea"/>
                <a:cs typeface="+mn-cs"/>
              </a:endParaRPr>
            </a:p>
          </p:txBody>
        </p:sp>
        <p:sp>
          <p:nvSpPr>
            <p:cNvPr id="17" name="Freeform 339">
              <a:extLst>
                <a:ext uri="{FF2B5EF4-FFF2-40B4-BE49-F238E27FC236}">
                  <a16:creationId xmlns:a16="http://schemas.microsoft.com/office/drawing/2014/main" id="{A568FE52-1E46-4824-9606-4505121DD34F}"/>
                </a:ext>
              </a:extLst>
            </p:cNvPr>
            <p:cNvSpPr>
              <a:spLocks/>
            </p:cNvSpPr>
            <p:nvPr/>
          </p:nvSpPr>
          <p:spPr bwMode="auto">
            <a:xfrm>
              <a:off x="4401" y="2820"/>
              <a:ext cx="101" cy="178"/>
            </a:xfrm>
            <a:custGeom>
              <a:avLst/>
              <a:gdLst>
                <a:gd name="T0" fmla="*/ 0 w 101"/>
                <a:gd name="T1" fmla="*/ 79 h 178"/>
                <a:gd name="T2" fmla="*/ 0 w 101"/>
                <a:gd name="T3" fmla="*/ 178 h 178"/>
                <a:gd name="T4" fmla="*/ 101 w 101"/>
                <a:gd name="T5" fmla="*/ 178 h 178"/>
                <a:gd name="T6" fmla="*/ 101 w 101"/>
                <a:gd name="T7" fmla="*/ 0 h 178"/>
                <a:gd name="T8" fmla="*/ 0 w 101"/>
                <a:gd name="T9" fmla="*/ 79 h 178"/>
              </a:gdLst>
              <a:ahLst/>
              <a:cxnLst>
                <a:cxn ang="0">
                  <a:pos x="T0" y="T1"/>
                </a:cxn>
                <a:cxn ang="0">
                  <a:pos x="T2" y="T3"/>
                </a:cxn>
                <a:cxn ang="0">
                  <a:pos x="T4" y="T5"/>
                </a:cxn>
                <a:cxn ang="0">
                  <a:pos x="T6" y="T7"/>
                </a:cxn>
                <a:cxn ang="0">
                  <a:pos x="T8" y="T9"/>
                </a:cxn>
              </a:cxnLst>
              <a:rect l="0" t="0" r="r" b="b"/>
              <a:pathLst>
                <a:path w="101" h="178">
                  <a:moveTo>
                    <a:pt x="0" y="79"/>
                  </a:moveTo>
                  <a:lnTo>
                    <a:pt x="0" y="178"/>
                  </a:lnTo>
                  <a:lnTo>
                    <a:pt x="101" y="178"/>
                  </a:lnTo>
                  <a:lnTo>
                    <a:pt x="101" y="0"/>
                  </a:lnTo>
                  <a:lnTo>
                    <a:pt x="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mj-lt"/>
                <a:ea typeface="+mn-ea"/>
                <a:cs typeface="+mn-cs"/>
              </a:endParaRPr>
            </a:p>
          </p:txBody>
        </p:sp>
        <p:sp>
          <p:nvSpPr>
            <p:cNvPr id="18" name="Freeform 340">
              <a:extLst>
                <a:ext uri="{FF2B5EF4-FFF2-40B4-BE49-F238E27FC236}">
                  <a16:creationId xmlns:a16="http://schemas.microsoft.com/office/drawing/2014/main" id="{DEDED0C4-2F00-470E-99B0-C6DBAA40A7AD}"/>
                </a:ext>
              </a:extLst>
            </p:cNvPr>
            <p:cNvSpPr>
              <a:spLocks/>
            </p:cNvSpPr>
            <p:nvPr/>
          </p:nvSpPr>
          <p:spPr bwMode="auto">
            <a:xfrm>
              <a:off x="4166" y="2916"/>
              <a:ext cx="100" cy="82"/>
            </a:xfrm>
            <a:custGeom>
              <a:avLst/>
              <a:gdLst>
                <a:gd name="T0" fmla="*/ 100 w 100"/>
                <a:gd name="T1" fmla="*/ 0 h 82"/>
                <a:gd name="T2" fmla="*/ 0 w 100"/>
                <a:gd name="T3" fmla="*/ 82 h 82"/>
                <a:gd name="T4" fmla="*/ 100 w 100"/>
                <a:gd name="T5" fmla="*/ 82 h 82"/>
                <a:gd name="T6" fmla="*/ 100 w 100"/>
                <a:gd name="T7" fmla="*/ 0 h 82"/>
              </a:gdLst>
              <a:ahLst/>
              <a:cxnLst>
                <a:cxn ang="0">
                  <a:pos x="T0" y="T1"/>
                </a:cxn>
                <a:cxn ang="0">
                  <a:pos x="T2" y="T3"/>
                </a:cxn>
                <a:cxn ang="0">
                  <a:pos x="T4" y="T5"/>
                </a:cxn>
                <a:cxn ang="0">
                  <a:pos x="T6" y="T7"/>
                </a:cxn>
              </a:cxnLst>
              <a:rect l="0" t="0" r="r" b="b"/>
              <a:pathLst>
                <a:path w="100" h="82">
                  <a:moveTo>
                    <a:pt x="100" y="0"/>
                  </a:moveTo>
                  <a:lnTo>
                    <a:pt x="0" y="82"/>
                  </a:lnTo>
                  <a:lnTo>
                    <a:pt x="100" y="82"/>
                  </a:lnTo>
                  <a:lnTo>
                    <a:pt x="1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mj-lt"/>
                <a:ea typeface="+mn-ea"/>
                <a:cs typeface="+mn-cs"/>
              </a:endParaRPr>
            </a:p>
          </p:txBody>
        </p:sp>
      </p:grpSp>
      <p:sp>
        <p:nvSpPr>
          <p:cNvPr id="19" name="Freeform: Shape 18">
            <a:extLst>
              <a:ext uri="{FF2B5EF4-FFF2-40B4-BE49-F238E27FC236}">
                <a16:creationId xmlns:a16="http://schemas.microsoft.com/office/drawing/2014/main" id="{5A3E6441-183E-4D53-85E9-9EEBA425EF3E}"/>
              </a:ext>
            </a:extLst>
          </p:cNvPr>
          <p:cNvSpPr/>
          <p:nvPr/>
        </p:nvSpPr>
        <p:spPr>
          <a:xfrm rot="19041743">
            <a:off x="764400" y="1750955"/>
            <a:ext cx="4777838" cy="4777836"/>
          </a:xfrm>
          <a:custGeom>
            <a:avLst/>
            <a:gdLst>
              <a:gd name="connsiteX0" fmla="*/ 2321475 w 4642950"/>
              <a:gd name="connsiteY0" fmla="*/ 0 h 4642950"/>
              <a:gd name="connsiteX1" fmla="*/ 4642950 w 4642950"/>
              <a:gd name="connsiteY1" fmla="*/ 2321475 h 4642950"/>
              <a:gd name="connsiteX2" fmla="*/ 2321475 w 4642950"/>
              <a:gd name="connsiteY2" fmla="*/ 2321475 h 4642950"/>
              <a:gd name="connsiteX3" fmla="*/ 2321475 w 4642950"/>
              <a:gd name="connsiteY3" fmla="*/ 0 h 4642950"/>
            </a:gdLst>
            <a:ahLst/>
            <a:cxnLst>
              <a:cxn ang="0">
                <a:pos x="connsiteX0" y="connsiteY0"/>
              </a:cxn>
              <a:cxn ang="0">
                <a:pos x="connsiteX1" y="connsiteY1"/>
              </a:cxn>
              <a:cxn ang="0">
                <a:pos x="connsiteX2" y="connsiteY2"/>
              </a:cxn>
              <a:cxn ang="0">
                <a:pos x="connsiteX3" y="connsiteY3"/>
              </a:cxn>
            </a:cxnLst>
            <a:rect l="l" t="t" r="r" b="b"/>
            <a:pathLst>
              <a:path w="4642950" h="4642950">
                <a:moveTo>
                  <a:pt x="2321475" y="0"/>
                </a:moveTo>
                <a:cubicBezTo>
                  <a:pt x="3603590" y="0"/>
                  <a:pt x="4642950" y="1039360"/>
                  <a:pt x="4642950" y="2321475"/>
                </a:cubicBezTo>
                <a:lnTo>
                  <a:pt x="2321475" y="2321475"/>
                </a:lnTo>
                <a:lnTo>
                  <a:pt x="2321475" y="0"/>
                </a:lnTo>
                <a:close/>
              </a:path>
            </a:pathLst>
          </a:cu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31584" tIns="1029471" rIns="532083" bIns="2476318" numCol="1" spcCol="1270" anchor="ctr" anchorCtr="0">
            <a:noAutofit/>
          </a:bodyPr>
          <a:lstStyle/>
          <a:p>
            <a:pPr marL="0" marR="0" lvl="0" indent="0" algn="ctr" defTabSz="2355398" rtl="0" eaLnBrk="1" fontAlgn="auto" latinLnBrk="0" hangingPunct="1">
              <a:lnSpc>
                <a:spcPct val="90000"/>
              </a:lnSpc>
              <a:spcBef>
                <a:spcPct val="0"/>
              </a:spcBef>
              <a:spcAft>
                <a:spcPct val="35000"/>
              </a:spcAft>
              <a:buClrTx/>
              <a:buSzTx/>
              <a:buFontTx/>
              <a:buNone/>
              <a:tabLst/>
              <a:defRPr/>
            </a:pPr>
            <a:endParaRPr kumimoji="0" lang="en-US" sz="529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54C9F3C0-ABBC-41A7-A001-12B87CAA1680}"/>
              </a:ext>
            </a:extLst>
          </p:cNvPr>
          <p:cNvSpPr/>
          <p:nvPr/>
        </p:nvSpPr>
        <p:spPr>
          <a:xfrm rot="19041743">
            <a:off x="873049" y="1868952"/>
            <a:ext cx="4777838" cy="4777836"/>
          </a:xfrm>
          <a:custGeom>
            <a:avLst/>
            <a:gdLst>
              <a:gd name="connsiteX0" fmla="*/ 4642950 w 4642950"/>
              <a:gd name="connsiteY0" fmla="*/ 2321475 h 4642950"/>
              <a:gd name="connsiteX1" fmla="*/ 2321475 w 4642950"/>
              <a:gd name="connsiteY1" fmla="*/ 4642950 h 4642950"/>
              <a:gd name="connsiteX2" fmla="*/ 2321475 w 4642950"/>
              <a:gd name="connsiteY2" fmla="*/ 2321475 h 4642950"/>
              <a:gd name="connsiteX3" fmla="*/ 4642950 w 4642950"/>
              <a:gd name="connsiteY3" fmla="*/ 2321475 h 4642950"/>
            </a:gdLst>
            <a:ahLst/>
            <a:cxnLst>
              <a:cxn ang="0">
                <a:pos x="connsiteX0" y="connsiteY0"/>
              </a:cxn>
              <a:cxn ang="0">
                <a:pos x="connsiteX1" y="connsiteY1"/>
              </a:cxn>
              <a:cxn ang="0">
                <a:pos x="connsiteX2" y="connsiteY2"/>
              </a:cxn>
              <a:cxn ang="0">
                <a:pos x="connsiteX3" y="connsiteY3"/>
              </a:cxn>
            </a:cxnLst>
            <a:rect l="l" t="t" r="r" b="b"/>
            <a:pathLst>
              <a:path w="4642950" h="4642950">
                <a:moveTo>
                  <a:pt x="4642950" y="2321475"/>
                </a:moveTo>
                <a:cubicBezTo>
                  <a:pt x="4642950" y="3603590"/>
                  <a:pt x="3603590" y="4642950"/>
                  <a:pt x="2321475" y="4642950"/>
                </a:cubicBezTo>
                <a:lnTo>
                  <a:pt x="2321475" y="2321475"/>
                </a:lnTo>
                <a:lnTo>
                  <a:pt x="4642950" y="232147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31584" tIns="2476318" rIns="532083" bIns="1029471" numCol="1" spcCol="1270" anchor="ctr" anchorCtr="0">
            <a:noAutofit/>
          </a:bodyPr>
          <a:lstStyle/>
          <a:p>
            <a:pPr marL="0" marR="0" lvl="0" indent="0" algn="ctr" defTabSz="2355398" rtl="0" eaLnBrk="1" fontAlgn="auto" latinLnBrk="0" hangingPunct="1">
              <a:lnSpc>
                <a:spcPct val="90000"/>
              </a:lnSpc>
              <a:spcBef>
                <a:spcPct val="0"/>
              </a:spcBef>
              <a:spcAft>
                <a:spcPct val="35000"/>
              </a:spcAft>
              <a:buClrTx/>
              <a:buSzTx/>
              <a:buFontTx/>
              <a:buNone/>
              <a:tabLst/>
              <a:defRPr/>
            </a:pPr>
            <a:endParaRPr kumimoji="0" lang="en-US" sz="529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B2B51A92-DF68-4452-B9C4-D251B2755CB7}"/>
              </a:ext>
            </a:extLst>
          </p:cNvPr>
          <p:cNvSpPr/>
          <p:nvPr/>
        </p:nvSpPr>
        <p:spPr>
          <a:xfrm rot="19041743">
            <a:off x="755051" y="1977600"/>
            <a:ext cx="4777838" cy="4777836"/>
          </a:xfrm>
          <a:custGeom>
            <a:avLst/>
            <a:gdLst>
              <a:gd name="connsiteX0" fmla="*/ 2321475 w 4642950"/>
              <a:gd name="connsiteY0" fmla="*/ 4642950 h 4642950"/>
              <a:gd name="connsiteX1" fmla="*/ 0 w 4642950"/>
              <a:gd name="connsiteY1" fmla="*/ 2321475 h 4642950"/>
              <a:gd name="connsiteX2" fmla="*/ 2321475 w 4642950"/>
              <a:gd name="connsiteY2" fmla="*/ 2321475 h 4642950"/>
              <a:gd name="connsiteX3" fmla="*/ 2321475 w 4642950"/>
              <a:gd name="connsiteY3" fmla="*/ 4642950 h 4642950"/>
            </a:gdLst>
            <a:ahLst/>
            <a:cxnLst>
              <a:cxn ang="0">
                <a:pos x="connsiteX0" y="connsiteY0"/>
              </a:cxn>
              <a:cxn ang="0">
                <a:pos x="connsiteX1" y="connsiteY1"/>
              </a:cxn>
              <a:cxn ang="0">
                <a:pos x="connsiteX2" y="connsiteY2"/>
              </a:cxn>
              <a:cxn ang="0">
                <a:pos x="connsiteX3" y="connsiteY3"/>
              </a:cxn>
            </a:cxnLst>
            <a:rect l="l" t="t" r="r" b="b"/>
            <a:pathLst>
              <a:path w="4642950" h="4642950">
                <a:moveTo>
                  <a:pt x="2321475" y="4642950"/>
                </a:moveTo>
                <a:cubicBezTo>
                  <a:pt x="1039360" y="4642950"/>
                  <a:pt x="0" y="3603590"/>
                  <a:pt x="0" y="2321475"/>
                </a:cubicBezTo>
                <a:lnTo>
                  <a:pt x="2321475" y="2321475"/>
                </a:lnTo>
                <a:lnTo>
                  <a:pt x="2321475" y="464295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2082" tIns="2476318" rIns="2531585" bIns="1029471" numCol="1" spcCol="1270" anchor="ctr" anchorCtr="0">
            <a:noAutofit/>
          </a:bodyPr>
          <a:lstStyle/>
          <a:p>
            <a:pPr marL="0" marR="0" lvl="0" indent="0" algn="ctr" defTabSz="2355398" rtl="0" eaLnBrk="1" fontAlgn="auto" latinLnBrk="0" hangingPunct="1">
              <a:lnSpc>
                <a:spcPct val="90000"/>
              </a:lnSpc>
              <a:spcBef>
                <a:spcPct val="0"/>
              </a:spcBef>
              <a:spcAft>
                <a:spcPct val="35000"/>
              </a:spcAft>
              <a:buClrTx/>
              <a:buSzTx/>
              <a:buFontTx/>
              <a:buNone/>
              <a:tabLst/>
              <a:defRPr/>
            </a:pPr>
            <a:endParaRPr kumimoji="0" lang="en-US" sz="5299"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B4648144-E93B-471D-AFF0-A55B43DD75F4}"/>
              </a:ext>
            </a:extLst>
          </p:cNvPr>
          <p:cNvSpPr/>
          <p:nvPr/>
        </p:nvSpPr>
        <p:spPr>
          <a:xfrm rot="19041743">
            <a:off x="646403" y="1859601"/>
            <a:ext cx="4777838" cy="4777836"/>
          </a:xfrm>
          <a:custGeom>
            <a:avLst/>
            <a:gdLst>
              <a:gd name="connsiteX0" fmla="*/ 0 w 4642950"/>
              <a:gd name="connsiteY0" fmla="*/ 2321475 h 4642950"/>
              <a:gd name="connsiteX1" fmla="*/ 2321475 w 4642950"/>
              <a:gd name="connsiteY1" fmla="*/ 0 h 4642950"/>
              <a:gd name="connsiteX2" fmla="*/ 2321475 w 4642950"/>
              <a:gd name="connsiteY2" fmla="*/ 2321475 h 4642950"/>
              <a:gd name="connsiteX3" fmla="*/ 0 w 4642950"/>
              <a:gd name="connsiteY3" fmla="*/ 2321475 h 4642950"/>
            </a:gdLst>
            <a:ahLst/>
            <a:cxnLst>
              <a:cxn ang="0">
                <a:pos x="connsiteX0" y="connsiteY0"/>
              </a:cxn>
              <a:cxn ang="0">
                <a:pos x="connsiteX1" y="connsiteY1"/>
              </a:cxn>
              <a:cxn ang="0">
                <a:pos x="connsiteX2" y="connsiteY2"/>
              </a:cxn>
              <a:cxn ang="0">
                <a:pos x="connsiteX3" y="connsiteY3"/>
              </a:cxn>
            </a:cxnLst>
            <a:rect l="l" t="t" r="r" b="b"/>
            <a:pathLst>
              <a:path w="4642950" h="4642950">
                <a:moveTo>
                  <a:pt x="0" y="2321475"/>
                </a:moveTo>
                <a:cubicBezTo>
                  <a:pt x="0" y="1039360"/>
                  <a:pt x="1039360" y="0"/>
                  <a:pt x="2321475" y="0"/>
                </a:cubicBezTo>
                <a:lnTo>
                  <a:pt x="2321475" y="2321475"/>
                </a:lnTo>
                <a:lnTo>
                  <a:pt x="0" y="232147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47319" tIns="1044708" rIns="2546823" bIns="2491555" numCol="1" spcCol="1270" anchor="ctr" anchorCtr="0">
            <a:noAutofit/>
          </a:bodyPr>
          <a:lstStyle/>
          <a:p>
            <a:pPr marL="0" marR="0" lvl="0" indent="0" algn="ctr" defTabSz="2888695" rtl="0" eaLnBrk="1" fontAlgn="auto" latinLnBrk="0" hangingPunct="1">
              <a:lnSpc>
                <a:spcPct val="90000"/>
              </a:lnSpc>
              <a:spcBef>
                <a:spcPct val="0"/>
              </a:spcBef>
              <a:spcAft>
                <a:spcPct val="35000"/>
              </a:spcAft>
              <a:buClrTx/>
              <a:buSzTx/>
              <a:buFontTx/>
              <a:buNone/>
              <a:tabLst/>
              <a:defRPr/>
            </a:pPr>
            <a:endParaRPr kumimoji="0" lang="en-US" sz="6499"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3" name="TextBox 22">
            <a:extLst>
              <a:ext uri="{FF2B5EF4-FFF2-40B4-BE49-F238E27FC236}">
                <a16:creationId xmlns:a16="http://schemas.microsoft.com/office/drawing/2014/main" id="{26797093-96CD-46CC-A099-6344F82A7326}"/>
              </a:ext>
            </a:extLst>
          </p:cNvPr>
          <p:cNvSpPr txBox="1"/>
          <p:nvPr/>
        </p:nvSpPr>
        <p:spPr>
          <a:xfrm rot="171099">
            <a:off x="2070904" y="2245940"/>
            <a:ext cx="2328799" cy="1484703"/>
          </a:xfrm>
          <a:prstGeom prst="rect">
            <a:avLst/>
          </a:prstGeom>
          <a:noFill/>
        </p:spPr>
        <p:txBody>
          <a:bodyPr spcFirstLastPara="1" wrap="square" lIns="0" tIns="0" rIns="0" bIns="0" numCol="1" rtlCol="0">
            <a:prstTxWarp prst="textArchUp">
              <a:avLst/>
            </a:prstTxWarp>
            <a:spAutoFit/>
          </a:bodyPr>
          <a:lstStyle/>
          <a:p>
            <a:pPr marL="0" marR="0" lvl="0" indent="0" algn="ctr" defTabSz="914224" rtl="0" eaLnBrk="1" fontAlgn="auto" latinLnBrk="0" hangingPunct="1">
              <a:lnSpc>
                <a:spcPct val="100000"/>
              </a:lnSpc>
              <a:spcBef>
                <a:spcPts val="0"/>
              </a:spcBef>
              <a:spcAft>
                <a:spcPts val="600"/>
              </a:spcAft>
              <a:buClrTx/>
              <a:buSzTx/>
              <a:buFontTx/>
              <a:buNone/>
              <a:tabLst/>
              <a:defRPr/>
            </a:pPr>
            <a:r>
              <a:rPr kumimoji="0" lang="en-IN" sz="2000" b="0" i="0" u="none" strike="noStrike" kern="0" cap="none" spc="0" normalizeH="0" baseline="0" noProof="0" dirty="0">
                <a:ln>
                  <a:noFill/>
                </a:ln>
                <a:solidFill>
                  <a:schemeClr val="bg1"/>
                </a:solidFill>
                <a:effectLst/>
                <a:uLnTx/>
                <a:uFillTx/>
                <a:latin typeface="Segoe UI"/>
                <a:ea typeface="+mn-ea"/>
                <a:cs typeface="+mn-cs"/>
              </a:rPr>
              <a:t>Microsoft Azure</a:t>
            </a:r>
          </a:p>
        </p:txBody>
      </p:sp>
      <p:sp>
        <p:nvSpPr>
          <p:cNvPr id="24" name="TextBox 23">
            <a:extLst>
              <a:ext uri="{FF2B5EF4-FFF2-40B4-BE49-F238E27FC236}">
                <a16:creationId xmlns:a16="http://schemas.microsoft.com/office/drawing/2014/main" id="{E5FFD478-F5ED-4A95-9908-72748DC214AE}"/>
              </a:ext>
            </a:extLst>
          </p:cNvPr>
          <p:cNvSpPr txBox="1"/>
          <p:nvPr/>
        </p:nvSpPr>
        <p:spPr>
          <a:xfrm rot="5668092">
            <a:off x="3481093" y="3751121"/>
            <a:ext cx="2198948" cy="1192702"/>
          </a:xfrm>
          <a:prstGeom prst="rect">
            <a:avLst/>
          </a:prstGeom>
          <a:noFill/>
        </p:spPr>
        <p:txBody>
          <a:bodyPr spcFirstLastPara="1" wrap="square" lIns="0" tIns="0" rIns="0" bIns="0" numCol="1" rtlCol="0">
            <a:prstTxWarp prst="textArchUp">
              <a:avLst/>
            </a:prstTxWarp>
            <a:spAutoFit/>
          </a:bodyPr>
          <a:lstStyle/>
          <a:p>
            <a:pPr marL="0" marR="0" lvl="0" indent="0" algn="ctr" defTabSz="914224" rtl="0" eaLnBrk="1" fontAlgn="auto" latinLnBrk="0" hangingPunct="1">
              <a:lnSpc>
                <a:spcPct val="100000"/>
              </a:lnSpc>
              <a:spcBef>
                <a:spcPts val="0"/>
              </a:spcBef>
              <a:spcAft>
                <a:spcPts val="600"/>
              </a:spcAft>
              <a:buClrTx/>
              <a:buSzTx/>
              <a:buFontTx/>
              <a:buNone/>
              <a:tabLst/>
              <a:defRPr/>
            </a:pPr>
            <a:r>
              <a:rPr kumimoji="0" lang="en-IN" sz="2000" b="0" i="0" u="none" strike="noStrike" kern="0" cap="none" spc="0" normalizeH="0" baseline="0" noProof="0" dirty="0">
                <a:ln>
                  <a:noFill/>
                </a:ln>
                <a:solidFill>
                  <a:schemeClr val="bg1"/>
                </a:solidFill>
                <a:effectLst/>
                <a:uLnTx/>
                <a:uFillTx/>
                <a:latin typeface="Segoe UI"/>
                <a:ea typeface="+mn-ea"/>
                <a:cs typeface="+mn-cs"/>
              </a:rPr>
              <a:t>Dynamic 365</a:t>
            </a:r>
          </a:p>
        </p:txBody>
      </p:sp>
      <p:sp>
        <p:nvSpPr>
          <p:cNvPr id="25" name="TextBox 24">
            <a:extLst>
              <a:ext uri="{FF2B5EF4-FFF2-40B4-BE49-F238E27FC236}">
                <a16:creationId xmlns:a16="http://schemas.microsoft.com/office/drawing/2014/main" id="{5E18A790-F77C-450F-85CC-6B0B1F97BA53}"/>
              </a:ext>
            </a:extLst>
          </p:cNvPr>
          <p:cNvSpPr txBox="1"/>
          <p:nvPr/>
        </p:nvSpPr>
        <p:spPr>
          <a:xfrm rot="16138636">
            <a:off x="793729" y="3822588"/>
            <a:ext cx="1676368" cy="961537"/>
          </a:xfrm>
          <a:prstGeom prst="rect">
            <a:avLst/>
          </a:prstGeom>
          <a:noFill/>
        </p:spPr>
        <p:txBody>
          <a:bodyPr spcFirstLastPara="1" wrap="square" lIns="0" tIns="0" rIns="0" bIns="0" numCol="1" rtlCol="0">
            <a:prstTxWarp prst="textArchUp">
              <a:avLst/>
            </a:prstTxWarp>
            <a:spAutoFit/>
          </a:bodyPr>
          <a:lstStyle/>
          <a:p>
            <a:pPr marL="0" marR="0" lvl="0" indent="0" algn="ctr" defTabSz="914224" rtl="0" eaLnBrk="1" fontAlgn="auto" latinLnBrk="0" hangingPunct="1">
              <a:lnSpc>
                <a:spcPct val="100000"/>
              </a:lnSpc>
              <a:spcBef>
                <a:spcPts val="0"/>
              </a:spcBef>
              <a:spcAft>
                <a:spcPts val="600"/>
              </a:spcAft>
              <a:buClrTx/>
              <a:buSzTx/>
              <a:buFontTx/>
              <a:buNone/>
              <a:tabLst/>
              <a:defRPr/>
            </a:pPr>
            <a:r>
              <a:rPr kumimoji="0" lang="en-IN" sz="2000" b="0" i="0" u="none" strike="noStrike" kern="0" cap="none" spc="0" normalizeH="0" baseline="0" noProof="0" dirty="0">
                <a:ln>
                  <a:noFill/>
                </a:ln>
                <a:solidFill>
                  <a:schemeClr val="bg1"/>
                </a:solidFill>
                <a:effectLst/>
                <a:uLnTx/>
                <a:uFillTx/>
                <a:latin typeface="Segoe UI"/>
                <a:ea typeface="+mn-ea"/>
                <a:cs typeface="+mn-cs"/>
              </a:rPr>
              <a:t>Office 365</a:t>
            </a:r>
          </a:p>
        </p:txBody>
      </p:sp>
      <p:sp>
        <p:nvSpPr>
          <p:cNvPr id="26" name="Freeform 225">
            <a:extLst>
              <a:ext uri="{FF2B5EF4-FFF2-40B4-BE49-F238E27FC236}">
                <a16:creationId xmlns:a16="http://schemas.microsoft.com/office/drawing/2014/main" id="{AC438355-DF5B-4DA8-B8FB-1B53E7E08B18}"/>
              </a:ext>
            </a:extLst>
          </p:cNvPr>
          <p:cNvSpPr>
            <a:spLocks/>
          </p:cNvSpPr>
          <p:nvPr/>
        </p:nvSpPr>
        <p:spPr bwMode="auto">
          <a:xfrm rot="26225">
            <a:off x="3230963" y="2811032"/>
            <a:ext cx="1453531" cy="2169189"/>
          </a:xfrm>
          <a:custGeom>
            <a:avLst/>
            <a:gdLst>
              <a:gd name="T0" fmla="*/ 1 w 539"/>
              <a:gd name="T1" fmla="*/ 1 h 804"/>
              <a:gd name="T2" fmla="*/ 1 w 539"/>
              <a:gd name="T3" fmla="*/ 2 h 804"/>
              <a:gd name="T4" fmla="*/ 466 w 539"/>
              <a:gd name="T5" fmla="*/ 269 h 804"/>
              <a:gd name="T6" fmla="*/ 537 w 539"/>
              <a:gd name="T7" fmla="*/ 536 h 804"/>
              <a:gd name="T8" fmla="*/ 466 w 539"/>
              <a:gd name="T9" fmla="*/ 803 h 804"/>
              <a:gd name="T10" fmla="*/ 466 w 539"/>
              <a:gd name="T11" fmla="*/ 804 h 804"/>
              <a:gd name="T12" fmla="*/ 466 w 539"/>
              <a:gd name="T13" fmla="*/ 803 h 804"/>
              <a:gd name="T14" fmla="*/ 1 w 539"/>
              <a:gd name="T15" fmla="*/ 536 h 804"/>
              <a:gd name="T16" fmla="*/ 1 w 539"/>
              <a:gd name="T17" fmla="*/ 1 h 804"/>
              <a:gd name="T18" fmla="*/ 1 w 539"/>
              <a:gd name="T19" fmla="*/ 1 h 804"/>
              <a:gd name="T20" fmla="*/ 1 w 539"/>
              <a:gd name="T21" fmla="*/ 2 h 804"/>
              <a:gd name="T22" fmla="*/ 1 w 539"/>
              <a:gd name="T23" fmla="*/ 1 h 804"/>
              <a:gd name="T24" fmla="*/ 0 w 539"/>
              <a:gd name="T25" fmla="*/ 1 h 804"/>
              <a:gd name="T26" fmla="*/ 0 w 539"/>
              <a:gd name="T27" fmla="*/ 536 h 804"/>
              <a:gd name="T28" fmla="*/ 0 w 539"/>
              <a:gd name="T29" fmla="*/ 537 h 804"/>
              <a:gd name="T30" fmla="*/ 466 w 539"/>
              <a:gd name="T31" fmla="*/ 804 h 804"/>
              <a:gd name="T32" fmla="*/ 467 w 539"/>
              <a:gd name="T33" fmla="*/ 804 h 804"/>
              <a:gd name="T34" fmla="*/ 539 w 539"/>
              <a:gd name="T35" fmla="*/ 536 h 804"/>
              <a:gd name="T36" fmla="*/ 467 w 539"/>
              <a:gd name="T37" fmla="*/ 268 h 804"/>
              <a:gd name="T38" fmla="*/ 1 w 539"/>
              <a:gd name="T39" fmla="*/ 0 h 804"/>
              <a:gd name="T40" fmla="*/ 0 w 539"/>
              <a:gd name="T41" fmla="*/ 1 h 804"/>
              <a:gd name="T42" fmla="*/ 0 w 539"/>
              <a:gd name="T43" fmla="*/ 1 h 804"/>
              <a:gd name="T44" fmla="*/ 1 w 539"/>
              <a:gd name="T45" fmla="*/ 1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9" h="804">
                <a:moveTo>
                  <a:pt x="1" y="1"/>
                </a:moveTo>
                <a:cubicBezTo>
                  <a:pt x="1" y="2"/>
                  <a:pt x="1" y="2"/>
                  <a:pt x="1" y="2"/>
                </a:cubicBezTo>
                <a:cubicBezTo>
                  <a:pt x="192" y="2"/>
                  <a:pt x="370" y="104"/>
                  <a:pt x="466" y="269"/>
                </a:cubicBezTo>
                <a:cubicBezTo>
                  <a:pt x="513" y="352"/>
                  <a:pt x="537" y="444"/>
                  <a:pt x="537" y="536"/>
                </a:cubicBezTo>
                <a:cubicBezTo>
                  <a:pt x="537" y="628"/>
                  <a:pt x="513" y="721"/>
                  <a:pt x="466" y="803"/>
                </a:cubicBezTo>
                <a:cubicBezTo>
                  <a:pt x="466" y="804"/>
                  <a:pt x="466" y="804"/>
                  <a:pt x="466" y="804"/>
                </a:cubicBezTo>
                <a:cubicBezTo>
                  <a:pt x="466" y="803"/>
                  <a:pt x="466" y="803"/>
                  <a:pt x="466" y="803"/>
                </a:cubicBezTo>
                <a:cubicBezTo>
                  <a:pt x="1" y="536"/>
                  <a:pt x="1" y="536"/>
                  <a:pt x="1" y="536"/>
                </a:cubicBezTo>
                <a:cubicBezTo>
                  <a:pt x="1" y="1"/>
                  <a:pt x="1" y="1"/>
                  <a:pt x="1" y="1"/>
                </a:cubicBezTo>
                <a:cubicBezTo>
                  <a:pt x="1" y="1"/>
                  <a:pt x="1" y="1"/>
                  <a:pt x="1" y="1"/>
                </a:cubicBezTo>
                <a:cubicBezTo>
                  <a:pt x="1" y="2"/>
                  <a:pt x="1" y="2"/>
                  <a:pt x="1" y="2"/>
                </a:cubicBezTo>
                <a:cubicBezTo>
                  <a:pt x="1" y="1"/>
                  <a:pt x="1" y="1"/>
                  <a:pt x="1" y="1"/>
                </a:cubicBezTo>
                <a:cubicBezTo>
                  <a:pt x="0" y="1"/>
                  <a:pt x="0" y="1"/>
                  <a:pt x="0" y="1"/>
                </a:cubicBezTo>
                <a:cubicBezTo>
                  <a:pt x="0" y="536"/>
                  <a:pt x="0" y="536"/>
                  <a:pt x="0" y="536"/>
                </a:cubicBezTo>
                <a:cubicBezTo>
                  <a:pt x="0" y="537"/>
                  <a:pt x="0" y="537"/>
                  <a:pt x="0" y="537"/>
                </a:cubicBezTo>
                <a:cubicBezTo>
                  <a:pt x="466" y="804"/>
                  <a:pt x="466" y="804"/>
                  <a:pt x="466" y="804"/>
                </a:cubicBezTo>
                <a:cubicBezTo>
                  <a:pt x="467" y="804"/>
                  <a:pt x="467" y="804"/>
                  <a:pt x="467" y="804"/>
                </a:cubicBezTo>
                <a:cubicBezTo>
                  <a:pt x="515" y="721"/>
                  <a:pt x="539" y="629"/>
                  <a:pt x="539" y="536"/>
                </a:cubicBezTo>
                <a:cubicBezTo>
                  <a:pt x="539" y="444"/>
                  <a:pt x="515" y="351"/>
                  <a:pt x="467" y="268"/>
                </a:cubicBezTo>
                <a:cubicBezTo>
                  <a:pt x="371" y="102"/>
                  <a:pt x="193" y="0"/>
                  <a:pt x="1" y="0"/>
                </a:cubicBezTo>
                <a:cubicBezTo>
                  <a:pt x="0" y="1"/>
                  <a:pt x="0" y="1"/>
                  <a:pt x="0" y="1"/>
                </a:cubicBezTo>
                <a:cubicBezTo>
                  <a:pt x="0" y="1"/>
                  <a:pt x="0" y="1"/>
                  <a:pt x="0" y="1"/>
                </a:cubicBezTo>
                <a:lnTo>
                  <a:pt x="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7" name="Freeform 278">
            <a:extLst>
              <a:ext uri="{FF2B5EF4-FFF2-40B4-BE49-F238E27FC236}">
                <a16:creationId xmlns:a16="http://schemas.microsoft.com/office/drawing/2014/main" id="{869498BB-9FE8-4069-8EDB-2957D9D0D6E0}"/>
              </a:ext>
            </a:extLst>
          </p:cNvPr>
          <p:cNvSpPr>
            <a:spLocks/>
          </p:cNvSpPr>
          <p:nvPr/>
        </p:nvSpPr>
        <p:spPr bwMode="auto">
          <a:xfrm rot="26225">
            <a:off x="1667989" y="2799085"/>
            <a:ext cx="1447182" cy="2169189"/>
          </a:xfrm>
          <a:custGeom>
            <a:avLst/>
            <a:gdLst>
              <a:gd name="T0" fmla="*/ 73 w 537"/>
              <a:gd name="T1" fmla="*/ 804 h 804"/>
              <a:gd name="T2" fmla="*/ 73 w 537"/>
              <a:gd name="T3" fmla="*/ 803 h 804"/>
              <a:gd name="T4" fmla="*/ 2 w 537"/>
              <a:gd name="T5" fmla="*/ 536 h 804"/>
              <a:gd name="T6" fmla="*/ 73 w 537"/>
              <a:gd name="T7" fmla="*/ 269 h 804"/>
              <a:gd name="T8" fmla="*/ 537 w 537"/>
              <a:gd name="T9" fmla="*/ 2 h 804"/>
              <a:gd name="T10" fmla="*/ 537 w 537"/>
              <a:gd name="T11" fmla="*/ 1 h 804"/>
              <a:gd name="T12" fmla="*/ 536 w 537"/>
              <a:gd name="T13" fmla="*/ 1 h 804"/>
              <a:gd name="T14" fmla="*/ 536 w 537"/>
              <a:gd name="T15" fmla="*/ 536 h 804"/>
              <a:gd name="T16" fmla="*/ 72 w 537"/>
              <a:gd name="T17" fmla="*/ 803 h 804"/>
              <a:gd name="T18" fmla="*/ 73 w 537"/>
              <a:gd name="T19" fmla="*/ 804 h 804"/>
              <a:gd name="T20" fmla="*/ 73 w 537"/>
              <a:gd name="T21" fmla="*/ 803 h 804"/>
              <a:gd name="T22" fmla="*/ 73 w 537"/>
              <a:gd name="T23" fmla="*/ 804 h 804"/>
              <a:gd name="T24" fmla="*/ 73 w 537"/>
              <a:gd name="T25" fmla="*/ 804 h 804"/>
              <a:gd name="T26" fmla="*/ 537 w 537"/>
              <a:gd name="T27" fmla="*/ 537 h 804"/>
              <a:gd name="T28" fmla="*/ 537 w 537"/>
              <a:gd name="T29" fmla="*/ 536 h 804"/>
              <a:gd name="T30" fmla="*/ 537 w 537"/>
              <a:gd name="T31" fmla="*/ 1 h 804"/>
              <a:gd name="T32" fmla="*/ 537 w 537"/>
              <a:gd name="T33" fmla="*/ 1 h 804"/>
              <a:gd name="T34" fmla="*/ 537 w 537"/>
              <a:gd name="T35" fmla="*/ 0 h 804"/>
              <a:gd name="T36" fmla="*/ 72 w 537"/>
              <a:gd name="T37" fmla="*/ 268 h 804"/>
              <a:gd name="T38" fmla="*/ 0 w 537"/>
              <a:gd name="T39" fmla="*/ 536 h 804"/>
              <a:gd name="T40" fmla="*/ 72 w 537"/>
              <a:gd name="T41" fmla="*/ 804 h 804"/>
              <a:gd name="T42" fmla="*/ 73 w 537"/>
              <a:gd name="T43"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7" h="804">
                <a:moveTo>
                  <a:pt x="73" y="804"/>
                </a:moveTo>
                <a:cubicBezTo>
                  <a:pt x="73" y="803"/>
                  <a:pt x="73" y="803"/>
                  <a:pt x="73" y="803"/>
                </a:cubicBezTo>
                <a:cubicBezTo>
                  <a:pt x="25" y="721"/>
                  <a:pt x="2" y="628"/>
                  <a:pt x="2" y="536"/>
                </a:cubicBezTo>
                <a:cubicBezTo>
                  <a:pt x="2" y="444"/>
                  <a:pt x="25" y="352"/>
                  <a:pt x="73" y="269"/>
                </a:cubicBezTo>
                <a:cubicBezTo>
                  <a:pt x="169" y="104"/>
                  <a:pt x="345" y="2"/>
                  <a:pt x="537" y="2"/>
                </a:cubicBezTo>
                <a:cubicBezTo>
                  <a:pt x="537" y="1"/>
                  <a:pt x="537" y="1"/>
                  <a:pt x="537" y="1"/>
                </a:cubicBezTo>
                <a:cubicBezTo>
                  <a:pt x="536" y="1"/>
                  <a:pt x="536" y="1"/>
                  <a:pt x="536" y="1"/>
                </a:cubicBezTo>
                <a:cubicBezTo>
                  <a:pt x="536" y="536"/>
                  <a:pt x="536" y="536"/>
                  <a:pt x="536" y="536"/>
                </a:cubicBezTo>
                <a:cubicBezTo>
                  <a:pt x="72" y="803"/>
                  <a:pt x="72" y="803"/>
                  <a:pt x="72" y="803"/>
                </a:cubicBezTo>
                <a:cubicBezTo>
                  <a:pt x="73" y="804"/>
                  <a:pt x="73" y="804"/>
                  <a:pt x="73" y="804"/>
                </a:cubicBezTo>
                <a:cubicBezTo>
                  <a:pt x="73" y="803"/>
                  <a:pt x="73" y="803"/>
                  <a:pt x="73" y="803"/>
                </a:cubicBezTo>
                <a:cubicBezTo>
                  <a:pt x="73" y="804"/>
                  <a:pt x="73" y="804"/>
                  <a:pt x="73" y="804"/>
                </a:cubicBezTo>
                <a:cubicBezTo>
                  <a:pt x="73" y="804"/>
                  <a:pt x="73" y="804"/>
                  <a:pt x="73" y="804"/>
                </a:cubicBezTo>
                <a:cubicBezTo>
                  <a:pt x="537" y="537"/>
                  <a:pt x="537" y="537"/>
                  <a:pt x="537" y="537"/>
                </a:cubicBezTo>
                <a:cubicBezTo>
                  <a:pt x="537" y="536"/>
                  <a:pt x="537" y="536"/>
                  <a:pt x="537" y="536"/>
                </a:cubicBezTo>
                <a:cubicBezTo>
                  <a:pt x="537" y="1"/>
                  <a:pt x="537" y="1"/>
                  <a:pt x="537" y="1"/>
                </a:cubicBezTo>
                <a:cubicBezTo>
                  <a:pt x="537" y="1"/>
                  <a:pt x="537" y="1"/>
                  <a:pt x="537" y="1"/>
                </a:cubicBezTo>
                <a:cubicBezTo>
                  <a:pt x="537" y="0"/>
                  <a:pt x="537" y="0"/>
                  <a:pt x="537" y="0"/>
                </a:cubicBezTo>
                <a:cubicBezTo>
                  <a:pt x="345" y="0"/>
                  <a:pt x="168" y="102"/>
                  <a:pt x="72" y="268"/>
                </a:cubicBezTo>
                <a:cubicBezTo>
                  <a:pt x="24" y="351"/>
                  <a:pt x="0" y="444"/>
                  <a:pt x="0" y="536"/>
                </a:cubicBezTo>
                <a:cubicBezTo>
                  <a:pt x="0" y="629"/>
                  <a:pt x="24" y="721"/>
                  <a:pt x="72" y="804"/>
                </a:cubicBezTo>
                <a:cubicBezTo>
                  <a:pt x="73" y="804"/>
                  <a:pt x="73" y="804"/>
                  <a:pt x="73" y="80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8" name="Oval 223">
            <a:extLst>
              <a:ext uri="{FF2B5EF4-FFF2-40B4-BE49-F238E27FC236}">
                <a16:creationId xmlns:a16="http://schemas.microsoft.com/office/drawing/2014/main" id="{7722A594-4F50-4B05-9E05-6A759C6F97E6}"/>
              </a:ext>
            </a:extLst>
          </p:cNvPr>
          <p:cNvSpPr>
            <a:spLocks noChangeArrowheads="1"/>
          </p:cNvSpPr>
          <p:nvPr/>
        </p:nvSpPr>
        <p:spPr bwMode="auto">
          <a:xfrm rot="26225">
            <a:off x="1437577" y="2550783"/>
            <a:ext cx="3421679" cy="341215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9" name="Freeform 224">
            <a:extLst>
              <a:ext uri="{FF2B5EF4-FFF2-40B4-BE49-F238E27FC236}">
                <a16:creationId xmlns:a16="http://schemas.microsoft.com/office/drawing/2014/main" id="{D7DAFBD0-3BA5-42C8-B55B-7657C19F1063}"/>
              </a:ext>
            </a:extLst>
          </p:cNvPr>
          <p:cNvSpPr>
            <a:spLocks/>
          </p:cNvSpPr>
          <p:nvPr/>
        </p:nvSpPr>
        <p:spPr bwMode="auto">
          <a:xfrm rot="26225">
            <a:off x="3208528" y="2798170"/>
            <a:ext cx="1496588" cy="2142517"/>
          </a:xfrm>
          <a:custGeom>
            <a:avLst/>
            <a:gdLst>
              <a:gd name="T0" fmla="*/ 0 w 561"/>
              <a:gd name="T1" fmla="*/ 0 h 803"/>
              <a:gd name="T2" fmla="*/ 465 w 561"/>
              <a:gd name="T3" fmla="*/ 268 h 803"/>
              <a:gd name="T4" fmla="*/ 465 w 561"/>
              <a:gd name="T5" fmla="*/ 803 h 803"/>
              <a:gd name="T6" fmla="*/ 0 w 561"/>
              <a:gd name="T7" fmla="*/ 535 h 803"/>
              <a:gd name="T8" fmla="*/ 0 w 561"/>
              <a:gd name="T9" fmla="*/ 0 h 803"/>
            </a:gdLst>
            <a:ahLst/>
            <a:cxnLst>
              <a:cxn ang="0">
                <a:pos x="T0" y="T1"/>
              </a:cxn>
              <a:cxn ang="0">
                <a:pos x="T2" y="T3"/>
              </a:cxn>
              <a:cxn ang="0">
                <a:pos x="T4" y="T5"/>
              </a:cxn>
              <a:cxn ang="0">
                <a:pos x="T6" y="T7"/>
              </a:cxn>
              <a:cxn ang="0">
                <a:pos x="T8" y="T9"/>
              </a:cxn>
            </a:cxnLst>
            <a:rect l="0" t="0" r="r" b="b"/>
            <a:pathLst>
              <a:path w="561" h="803">
                <a:moveTo>
                  <a:pt x="0" y="0"/>
                </a:moveTo>
                <a:cubicBezTo>
                  <a:pt x="192" y="0"/>
                  <a:pt x="369" y="102"/>
                  <a:pt x="465" y="268"/>
                </a:cubicBezTo>
                <a:cubicBezTo>
                  <a:pt x="561" y="433"/>
                  <a:pt x="561" y="637"/>
                  <a:pt x="465" y="803"/>
                </a:cubicBezTo>
                <a:cubicBezTo>
                  <a:pt x="0" y="535"/>
                  <a:pt x="0" y="535"/>
                  <a:pt x="0" y="535"/>
                </a:cubicBezTo>
                <a:lnTo>
                  <a:pt x="0"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0" name="Freeform 225">
            <a:extLst>
              <a:ext uri="{FF2B5EF4-FFF2-40B4-BE49-F238E27FC236}">
                <a16:creationId xmlns:a16="http://schemas.microsoft.com/office/drawing/2014/main" id="{9E9EB671-EEBF-4ECE-A405-473C57E1AE12}"/>
              </a:ext>
            </a:extLst>
          </p:cNvPr>
          <p:cNvSpPr>
            <a:spLocks/>
          </p:cNvSpPr>
          <p:nvPr/>
        </p:nvSpPr>
        <p:spPr bwMode="auto">
          <a:xfrm rot="26225">
            <a:off x="3206957" y="2794754"/>
            <a:ext cx="1436280" cy="2145690"/>
          </a:xfrm>
          <a:custGeom>
            <a:avLst/>
            <a:gdLst>
              <a:gd name="T0" fmla="*/ 1 w 539"/>
              <a:gd name="T1" fmla="*/ 1 h 804"/>
              <a:gd name="T2" fmla="*/ 1 w 539"/>
              <a:gd name="T3" fmla="*/ 2 h 804"/>
              <a:gd name="T4" fmla="*/ 466 w 539"/>
              <a:gd name="T5" fmla="*/ 269 h 804"/>
              <a:gd name="T6" fmla="*/ 537 w 539"/>
              <a:gd name="T7" fmla="*/ 536 h 804"/>
              <a:gd name="T8" fmla="*/ 466 w 539"/>
              <a:gd name="T9" fmla="*/ 803 h 804"/>
              <a:gd name="T10" fmla="*/ 466 w 539"/>
              <a:gd name="T11" fmla="*/ 804 h 804"/>
              <a:gd name="T12" fmla="*/ 466 w 539"/>
              <a:gd name="T13" fmla="*/ 803 h 804"/>
              <a:gd name="T14" fmla="*/ 1 w 539"/>
              <a:gd name="T15" fmla="*/ 536 h 804"/>
              <a:gd name="T16" fmla="*/ 1 w 539"/>
              <a:gd name="T17" fmla="*/ 1 h 804"/>
              <a:gd name="T18" fmla="*/ 1 w 539"/>
              <a:gd name="T19" fmla="*/ 1 h 804"/>
              <a:gd name="T20" fmla="*/ 1 w 539"/>
              <a:gd name="T21" fmla="*/ 2 h 804"/>
              <a:gd name="T22" fmla="*/ 1 w 539"/>
              <a:gd name="T23" fmla="*/ 1 h 804"/>
              <a:gd name="T24" fmla="*/ 0 w 539"/>
              <a:gd name="T25" fmla="*/ 1 h 804"/>
              <a:gd name="T26" fmla="*/ 0 w 539"/>
              <a:gd name="T27" fmla="*/ 536 h 804"/>
              <a:gd name="T28" fmla="*/ 0 w 539"/>
              <a:gd name="T29" fmla="*/ 537 h 804"/>
              <a:gd name="T30" fmla="*/ 466 w 539"/>
              <a:gd name="T31" fmla="*/ 804 h 804"/>
              <a:gd name="T32" fmla="*/ 467 w 539"/>
              <a:gd name="T33" fmla="*/ 804 h 804"/>
              <a:gd name="T34" fmla="*/ 539 w 539"/>
              <a:gd name="T35" fmla="*/ 536 h 804"/>
              <a:gd name="T36" fmla="*/ 467 w 539"/>
              <a:gd name="T37" fmla="*/ 268 h 804"/>
              <a:gd name="T38" fmla="*/ 1 w 539"/>
              <a:gd name="T39" fmla="*/ 0 h 804"/>
              <a:gd name="T40" fmla="*/ 0 w 539"/>
              <a:gd name="T41" fmla="*/ 1 h 804"/>
              <a:gd name="T42" fmla="*/ 0 w 539"/>
              <a:gd name="T43" fmla="*/ 1 h 804"/>
              <a:gd name="T44" fmla="*/ 1 w 539"/>
              <a:gd name="T45" fmla="*/ 1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9" h="804">
                <a:moveTo>
                  <a:pt x="1" y="1"/>
                </a:moveTo>
                <a:cubicBezTo>
                  <a:pt x="1" y="2"/>
                  <a:pt x="1" y="2"/>
                  <a:pt x="1" y="2"/>
                </a:cubicBezTo>
                <a:cubicBezTo>
                  <a:pt x="192" y="2"/>
                  <a:pt x="370" y="104"/>
                  <a:pt x="466" y="269"/>
                </a:cubicBezTo>
                <a:cubicBezTo>
                  <a:pt x="513" y="352"/>
                  <a:pt x="537" y="444"/>
                  <a:pt x="537" y="536"/>
                </a:cubicBezTo>
                <a:cubicBezTo>
                  <a:pt x="537" y="628"/>
                  <a:pt x="513" y="721"/>
                  <a:pt x="466" y="803"/>
                </a:cubicBezTo>
                <a:cubicBezTo>
                  <a:pt x="466" y="804"/>
                  <a:pt x="466" y="804"/>
                  <a:pt x="466" y="804"/>
                </a:cubicBezTo>
                <a:cubicBezTo>
                  <a:pt x="466" y="803"/>
                  <a:pt x="466" y="803"/>
                  <a:pt x="466" y="803"/>
                </a:cubicBezTo>
                <a:cubicBezTo>
                  <a:pt x="1" y="536"/>
                  <a:pt x="1" y="536"/>
                  <a:pt x="1" y="536"/>
                </a:cubicBezTo>
                <a:cubicBezTo>
                  <a:pt x="1" y="1"/>
                  <a:pt x="1" y="1"/>
                  <a:pt x="1" y="1"/>
                </a:cubicBezTo>
                <a:cubicBezTo>
                  <a:pt x="1" y="1"/>
                  <a:pt x="1" y="1"/>
                  <a:pt x="1" y="1"/>
                </a:cubicBezTo>
                <a:cubicBezTo>
                  <a:pt x="1" y="2"/>
                  <a:pt x="1" y="2"/>
                  <a:pt x="1" y="2"/>
                </a:cubicBezTo>
                <a:cubicBezTo>
                  <a:pt x="1" y="1"/>
                  <a:pt x="1" y="1"/>
                  <a:pt x="1" y="1"/>
                </a:cubicBezTo>
                <a:cubicBezTo>
                  <a:pt x="0" y="1"/>
                  <a:pt x="0" y="1"/>
                  <a:pt x="0" y="1"/>
                </a:cubicBezTo>
                <a:cubicBezTo>
                  <a:pt x="0" y="536"/>
                  <a:pt x="0" y="536"/>
                  <a:pt x="0" y="536"/>
                </a:cubicBezTo>
                <a:cubicBezTo>
                  <a:pt x="0" y="537"/>
                  <a:pt x="0" y="537"/>
                  <a:pt x="0" y="537"/>
                </a:cubicBezTo>
                <a:cubicBezTo>
                  <a:pt x="466" y="804"/>
                  <a:pt x="466" y="804"/>
                  <a:pt x="466" y="804"/>
                </a:cubicBezTo>
                <a:cubicBezTo>
                  <a:pt x="467" y="804"/>
                  <a:pt x="467" y="804"/>
                  <a:pt x="467" y="804"/>
                </a:cubicBezTo>
                <a:cubicBezTo>
                  <a:pt x="515" y="721"/>
                  <a:pt x="539" y="629"/>
                  <a:pt x="539" y="536"/>
                </a:cubicBezTo>
                <a:cubicBezTo>
                  <a:pt x="539" y="444"/>
                  <a:pt x="515" y="351"/>
                  <a:pt x="467" y="268"/>
                </a:cubicBezTo>
                <a:cubicBezTo>
                  <a:pt x="371" y="102"/>
                  <a:pt x="193" y="0"/>
                  <a:pt x="1" y="0"/>
                </a:cubicBezTo>
                <a:cubicBezTo>
                  <a:pt x="0" y="1"/>
                  <a:pt x="0" y="1"/>
                  <a:pt x="0" y="1"/>
                </a:cubicBezTo>
                <a:cubicBezTo>
                  <a:pt x="0" y="1"/>
                  <a:pt x="0" y="1"/>
                  <a:pt x="0" y="1"/>
                </a:cubicBezTo>
                <a:lnTo>
                  <a:pt x="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1" name="Freeform 249">
            <a:extLst>
              <a:ext uri="{FF2B5EF4-FFF2-40B4-BE49-F238E27FC236}">
                <a16:creationId xmlns:a16="http://schemas.microsoft.com/office/drawing/2014/main" id="{A16CFCD3-C114-4309-8241-46634A4EC8B2}"/>
              </a:ext>
            </a:extLst>
          </p:cNvPr>
          <p:cNvSpPr>
            <a:spLocks/>
          </p:cNvSpPr>
          <p:nvPr/>
        </p:nvSpPr>
        <p:spPr bwMode="auto">
          <a:xfrm rot="26225">
            <a:off x="1901404" y="4318739"/>
            <a:ext cx="2483732" cy="1433107"/>
          </a:xfrm>
          <a:custGeom>
            <a:avLst/>
            <a:gdLst>
              <a:gd name="T0" fmla="*/ 931 w 931"/>
              <a:gd name="T1" fmla="*/ 269 h 537"/>
              <a:gd name="T2" fmla="*/ 465 w 931"/>
              <a:gd name="T3" fmla="*/ 537 h 537"/>
              <a:gd name="T4" fmla="*/ 0 w 931"/>
              <a:gd name="T5" fmla="*/ 269 h 537"/>
              <a:gd name="T6" fmla="*/ 465 w 931"/>
              <a:gd name="T7" fmla="*/ 0 h 537"/>
              <a:gd name="T8" fmla="*/ 931 w 931"/>
              <a:gd name="T9" fmla="*/ 269 h 537"/>
            </a:gdLst>
            <a:ahLst/>
            <a:cxnLst>
              <a:cxn ang="0">
                <a:pos x="T0" y="T1"/>
              </a:cxn>
              <a:cxn ang="0">
                <a:pos x="T2" y="T3"/>
              </a:cxn>
              <a:cxn ang="0">
                <a:pos x="T4" y="T5"/>
              </a:cxn>
              <a:cxn ang="0">
                <a:pos x="T6" y="T7"/>
              </a:cxn>
              <a:cxn ang="0">
                <a:pos x="T8" y="T9"/>
              </a:cxn>
            </a:cxnLst>
            <a:rect l="0" t="0" r="r" b="b"/>
            <a:pathLst>
              <a:path w="931" h="537">
                <a:moveTo>
                  <a:pt x="931" y="269"/>
                </a:moveTo>
                <a:cubicBezTo>
                  <a:pt x="835" y="435"/>
                  <a:pt x="658" y="537"/>
                  <a:pt x="465" y="537"/>
                </a:cubicBezTo>
                <a:cubicBezTo>
                  <a:pt x="273" y="537"/>
                  <a:pt x="96" y="435"/>
                  <a:pt x="0" y="269"/>
                </a:cubicBezTo>
                <a:cubicBezTo>
                  <a:pt x="465" y="0"/>
                  <a:pt x="465" y="0"/>
                  <a:pt x="465" y="0"/>
                </a:cubicBezTo>
                <a:lnTo>
                  <a:pt x="931" y="269"/>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2" name="Freeform 250">
            <a:extLst>
              <a:ext uri="{FF2B5EF4-FFF2-40B4-BE49-F238E27FC236}">
                <a16:creationId xmlns:a16="http://schemas.microsoft.com/office/drawing/2014/main" id="{6ADC2995-078A-4913-9C4C-2CBE2E811947}"/>
              </a:ext>
            </a:extLst>
          </p:cNvPr>
          <p:cNvSpPr>
            <a:spLocks/>
          </p:cNvSpPr>
          <p:nvPr/>
        </p:nvSpPr>
        <p:spPr bwMode="auto">
          <a:xfrm rot="26225">
            <a:off x="1898219" y="4318731"/>
            <a:ext cx="2488494" cy="1436282"/>
          </a:xfrm>
          <a:custGeom>
            <a:avLst/>
            <a:gdLst>
              <a:gd name="T0" fmla="*/ 932 w 933"/>
              <a:gd name="T1" fmla="*/ 269 h 538"/>
              <a:gd name="T2" fmla="*/ 931 w 933"/>
              <a:gd name="T3" fmla="*/ 268 h 538"/>
              <a:gd name="T4" fmla="*/ 466 w 933"/>
              <a:gd name="T5" fmla="*/ 536 h 538"/>
              <a:gd name="T6" fmla="*/ 2 w 933"/>
              <a:gd name="T7" fmla="*/ 268 h 538"/>
              <a:gd name="T8" fmla="*/ 1 w 933"/>
              <a:gd name="T9" fmla="*/ 269 h 538"/>
              <a:gd name="T10" fmla="*/ 1 w 933"/>
              <a:gd name="T11" fmla="*/ 269 h 538"/>
              <a:gd name="T12" fmla="*/ 466 w 933"/>
              <a:gd name="T13" fmla="*/ 1 h 538"/>
              <a:gd name="T14" fmla="*/ 932 w 933"/>
              <a:gd name="T15" fmla="*/ 269 h 538"/>
              <a:gd name="T16" fmla="*/ 932 w 933"/>
              <a:gd name="T17" fmla="*/ 269 h 538"/>
              <a:gd name="T18" fmla="*/ 931 w 933"/>
              <a:gd name="T19" fmla="*/ 268 h 538"/>
              <a:gd name="T20" fmla="*/ 932 w 933"/>
              <a:gd name="T21" fmla="*/ 269 h 538"/>
              <a:gd name="T22" fmla="*/ 932 w 933"/>
              <a:gd name="T23" fmla="*/ 268 h 538"/>
              <a:gd name="T24" fmla="*/ 467 w 933"/>
              <a:gd name="T25" fmla="*/ 0 h 538"/>
              <a:gd name="T26" fmla="*/ 466 w 933"/>
              <a:gd name="T27" fmla="*/ 0 h 538"/>
              <a:gd name="T28" fmla="*/ 1 w 933"/>
              <a:gd name="T29" fmla="*/ 268 h 538"/>
              <a:gd name="T30" fmla="*/ 0 w 933"/>
              <a:gd name="T31" fmla="*/ 268 h 538"/>
              <a:gd name="T32" fmla="*/ 0 w 933"/>
              <a:gd name="T33" fmla="*/ 269 h 538"/>
              <a:gd name="T34" fmla="*/ 466 w 933"/>
              <a:gd name="T35" fmla="*/ 538 h 538"/>
              <a:gd name="T36" fmla="*/ 933 w 933"/>
              <a:gd name="T37" fmla="*/ 269 h 538"/>
              <a:gd name="T38" fmla="*/ 933 w 933"/>
              <a:gd name="T39" fmla="*/ 268 h 538"/>
              <a:gd name="T40" fmla="*/ 932 w 933"/>
              <a:gd name="T41" fmla="*/ 268 h 538"/>
              <a:gd name="T42" fmla="*/ 932 w 933"/>
              <a:gd name="T43" fmla="*/ 269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3" h="538">
                <a:moveTo>
                  <a:pt x="932" y="269"/>
                </a:moveTo>
                <a:cubicBezTo>
                  <a:pt x="931" y="268"/>
                  <a:pt x="931" y="268"/>
                  <a:pt x="931" y="268"/>
                </a:cubicBezTo>
                <a:cubicBezTo>
                  <a:pt x="835" y="434"/>
                  <a:pt x="658" y="536"/>
                  <a:pt x="466" y="536"/>
                </a:cubicBezTo>
                <a:cubicBezTo>
                  <a:pt x="275" y="536"/>
                  <a:pt x="97" y="434"/>
                  <a:pt x="2" y="268"/>
                </a:cubicBezTo>
                <a:cubicBezTo>
                  <a:pt x="1" y="269"/>
                  <a:pt x="1" y="269"/>
                  <a:pt x="1" y="269"/>
                </a:cubicBezTo>
                <a:cubicBezTo>
                  <a:pt x="1" y="269"/>
                  <a:pt x="1" y="269"/>
                  <a:pt x="1" y="269"/>
                </a:cubicBezTo>
                <a:cubicBezTo>
                  <a:pt x="466" y="1"/>
                  <a:pt x="466" y="1"/>
                  <a:pt x="466" y="1"/>
                </a:cubicBezTo>
                <a:cubicBezTo>
                  <a:pt x="932" y="269"/>
                  <a:pt x="932" y="269"/>
                  <a:pt x="932" y="269"/>
                </a:cubicBezTo>
                <a:cubicBezTo>
                  <a:pt x="932" y="269"/>
                  <a:pt x="932" y="269"/>
                  <a:pt x="932" y="269"/>
                </a:cubicBezTo>
                <a:cubicBezTo>
                  <a:pt x="931" y="268"/>
                  <a:pt x="931" y="268"/>
                  <a:pt x="931" y="268"/>
                </a:cubicBezTo>
                <a:cubicBezTo>
                  <a:pt x="932" y="269"/>
                  <a:pt x="932" y="269"/>
                  <a:pt x="932" y="269"/>
                </a:cubicBezTo>
                <a:cubicBezTo>
                  <a:pt x="932" y="268"/>
                  <a:pt x="932" y="268"/>
                  <a:pt x="932" y="268"/>
                </a:cubicBezTo>
                <a:cubicBezTo>
                  <a:pt x="467" y="0"/>
                  <a:pt x="467" y="0"/>
                  <a:pt x="467" y="0"/>
                </a:cubicBezTo>
                <a:cubicBezTo>
                  <a:pt x="466" y="0"/>
                  <a:pt x="466" y="0"/>
                  <a:pt x="466" y="0"/>
                </a:cubicBezTo>
                <a:cubicBezTo>
                  <a:pt x="1" y="268"/>
                  <a:pt x="1" y="268"/>
                  <a:pt x="1" y="268"/>
                </a:cubicBezTo>
                <a:cubicBezTo>
                  <a:pt x="0" y="268"/>
                  <a:pt x="0" y="268"/>
                  <a:pt x="0" y="268"/>
                </a:cubicBezTo>
                <a:cubicBezTo>
                  <a:pt x="0" y="269"/>
                  <a:pt x="0" y="269"/>
                  <a:pt x="0" y="269"/>
                </a:cubicBezTo>
                <a:cubicBezTo>
                  <a:pt x="97" y="435"/>
                  <a:pt x="274" y="538"/>
                  <a:pt x="466" y="538"/>
                </a:cubicBezTo>
                <a:cubicBezTo>
                  <a:pt x="659" y="538"/>
                  <a:pt x="836" y="435"/>
                  <a:pt x="933" y="269"/>
                </a:cubicBezTo>
                <a:cubicBezTo>
                  <a:pt x="933" y="268"/>
                  <a:pt x="933" y="268"/>
                  <a:pt x="933" y="268"/>
                </a:cubicBezTo>
                <a:cubicBezTo>
                  <a:pt x="932" y="268"/>
                  <a:pt x="932" y="268"/>
                  <a:pt x="932" y="268"/>
                </a:cubicBezTo>
                <a:lnTo>
                  <a:pt x="932" y="2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3" name="Freeform 277">
            <a:extLst>
              <a:ext uri="{FF2B5EF4-FFF2-40B4-BE49-F238E27FC236}">
                <a16:creationId xmlns:a16="http://schemas.microsoft.com/office/drawing/2014/main" id="{CF5626A4-680F-4DB4-A7A3-1F0AC532EAAB}"/>
              </a:ext>
            </a:extLst>
          </p:cNvPr>
          <p:cNvSpPr>
            <a:spLocks/>
          </p:cNvSpPr>
          <p:nvPr/>
        </p:nvSpPr>
        <p:spPr bwMode="auto">
          <a:xfrm rot="26225">
            <a:off x="1599309" y="2785882"/>
            <a:ext cx="1493413" cy="2142517"/>
          </a:xfrm>
          <a:custGeom>
            <a:avLst/>
            <a:gdLst>
              <a:gd name="T0" fmla="*/ 96 w 560"/>
              <a:gd name="T1" fmla="*/ 803 h 803"/>
              <a:gd name="T2" fmla="*/ 96 w 560"/>
              <a:gd name="T3" fmla="*/ 268 h 803"/>
              <a:gd name="T4" fmla="*/ 560 w 560"/>
              <a:gd name="T5" fmla="*/ 0 h 803"/>
              <a:gd name="T6" fmla="*/ 560 w 560"/>
              <a:gd name="T7" fmla="*/ 535 h 803"/>
              <a:gd name="T8" fmla="*/ 96 w 560"/>
              <a:gd name="T9" fmla="*/ 803 h 803"/>
            </a:gdLst>
            <a:ahLst/>
            <a:cxnLst>
              <a:cxn ang="0">
                <a:pos x="T0" y="T1"/>
              </a:cxn>
              <a:cxn ang="0">
                <a:pos x="T2" y="T3"/>
              </a:cxn>
              <a:cxn ang="0">
                <a:pos x="T4" y="T5"/>
              </a:cxn>
              <a:cxn ang="0">
                <a:pos x="T6" y="T7"/>
              </a:cxn>
              <a:cxn ang="0">
                <a:pos x="T8" y="T9"/>
              </a:cxn>
            </a:cxnLst>
            <a:rect l="0" t="0" r="r" b="b"/>
            <a:pathLst>
              <a:path w="560" h="803">
                <a:moveTo>
                  <a:pt x="96" y="803"/>
                </a:moveTo>
                <a:cubicBezTo>
                  <a:pt x="0" y="637"/>
                  <a:pt x="0" y="433"/>
                  <a:pt x="96" y="268"/>
                </a:cubicBezTo>
                <a:cubicBezTo>
                  <a:pt x="191" y="102"/>
                  <a:pt x="368" y="0"/>
                  <a:pt x="560" y="0"/>
                </a:cubicBezTo>
                <a:cubicBezTo>
                  <a:pt x="560" y="535"/>
                  <a:pt x="560" y="535"/>
                  <a:pt x="560" y="535"/>
                </a:cubicBezTo>
                <a:lnTo>
                  <a:pt x="96" y="803"/>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4" name="Freeform 278">
            <a:extLst>
              <a:ext uri="{FF2B5EF4-FFF2-40B4-BE49-F238E27FC236}">
                <a16:creationId xmlns:a16="http://schemas.microsoft.com/office/drawing/2014/main" id="{04FB5ED5-635E-4877-9BB9-860789668616}"/>
              </a:ext>
            </a:extLst>
          </p:cNvPr>
          <p:cNvSpPr>
            <a:spLocks/>
          </p:cNvSpPr>
          <p:nvPr/>
        </p:nvSpPr>
        <p:spPr bwMode="auto">
          <a:xfrm rot="26225">
            <a:off x="1659627" y="2782938"/>
            <a:ext cx="1433106" cy="2145690"/>
          </a:xfrm>
          <a:custGeom>
            <a:avLst/>
            <a:gdLst>
              <a:gd name="T0" fmla="*/ 73 w 537"/>
              <a:gd name="T1" fmla="*/ 804 h 804"/>
              <a:gd name="T2" fmla="*/ 73 w 537"/>
              <a:gd name="T3" fmla="*/ 803 h 804"/>
              <a:gd name="T4" fmla="*/ 2 w 537"/>
              <a:gd name="T5" fmla="*/ 536 h 804"/>
              <a:gd name="T6" fmla="*/ 73 w 537"/>
              <a:gd name="T7" fmla="*/ 269 h 804"/>
              <a:gd name="T8" fmla="*/ 537 w 537"/>
              <a:gd name="T9" fmla="*/ 2 h 804"/>
              <a:gd name="T10" fmla="*/ 537 w 537"/>
              <a:gd name="T11" fmla="*/ 1 h 804"/>
              <a:gd name="T12" fmla="*/ 536 w 537"/>
              <a:gd name="T13" fmla="*/ 1 h 804"/>
              <a:gd name="T14" fmla="*/ 536 w 537"/>
              <a:gd name="T15" fmla="*/ 536 h 804"/>
              <a:gd name="T16" fmla="*/ 72 w 537"/>
              <a:gd name="T17" fmla="*/ 803 h 804"/>
              <a:gd name="T18" fmla="*/ 73 w 537"/>
              <a:gd name="T19" fmla="*/ 804 h 804"/>
              <a:gd name="T20" fmla="*/ 73 w 537"/>
              <a:gd name="T21" fmla="*/ 803 h 804"/>
              <a:gd name="T22" fmla="*/ 73 w 537"/>
              <a:gd name="T23" fmla="*/ 804 h 804"/>
              <a:gd name="T24" fmla="*/ 73 w 537"/>
              <a:gd name="T25" fmla="*/ 804 h 804"/>
              <a:gd name="T26" fmla="*/ 537 w 537"/>
              <a:gd name="T27" fmla="*/ 537 h 804"/>
              <a:gd name="T28" fmla="*/ 537 w 537"/>
              <a:gd name="T29" fmla="*/ 536 h 804"/>
              <a:gd name="T30" fmla="*/ 537 w 537"/>
              <a:gd name="T31" fmla="*/ 1 h 804"/>
              <a:gd name="T32" fmla="*/ 537 w 537"/>
              <a:gd name="T33" fmla="*/ 1 h 804"/>
              <a:gd name="T34" fmla="*/ 537 w 537"/>
              <a:gd name="T35" fmla="*/ 0 h 804"/>
              <a:gd name="T36" fmla="*/ 72 w 537"/>
              <a:gd name="T37" fmla="*/ 268 h 804"/>
              <a:gd name="T38" fmla="*/ 0 w 537"/>
              <a:gd name="T39" fmla="*/ 536 h 804"/>
              <a:gd name="T40" fmla="*/ 72 w 537"/>
              <a:gd name="T41" fmla="*/ 804 h 804"/>
              <a:gd name="T42" fmla="*/ 73 w 537"/>
              <a:gd name="T43"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7" h="804">
                <a:moveTo>
                  <a:pt x="73" y="804"/>
                </a:moveTo>
                <a:cubicBezTo>
                  <a:pt x="73" y="803"/>
                  <a:pt x="73" y="803"/>
                  <a:pt x="73" y="803"/>
                </a:cubicBezTo>
                <a:cubicBezTo>
                  <a:pt x="25" y="721"/>
                  <a:pt x="2" y="628"/>
                  <a:pt x="2" y="536"/>
                </a:cubicBezTo>
                <a:cubicBezTo>
                  <a:pt x="2" y="444"/>
                  <a:pt x="25" y="352"/>
                  <a:pt x="73" y="269"/>
                </a:cubicBezTo>
                <a:cubicBezTo>
                  <a:pt x="169" y="104"/>
                  <a:pt x="345" y="2"/>
                  <a:pt x="537" y="2"/>
                </a:cubicBezTo>
                <a:cubicBezTo>
                  <a:pt x="537" y="1"/>
                  <a:pt x="537" y="1"/>
                  <a:pt x="537" y="1"/>
                </a:cubicBezTo>
                <a:cubicBezTo>
                  <a:pt x="536" y="1"/>
                  <a:pt x="536" y="1"/>
                  <a:pt x="536" y="1"/>
                </a:cubicBezTo>
                <a:cubicBezTo>
                  <a:pt x="536" y="536"/>
                  <a:pt x="536" y="536"/>
                  <a:pt x="536" y="536"/>
                </a:cubicBezTo>
                <a:cubicBezTo>
                  <a:pt x="72" y="803"/>
                  <a:pt x="72" y="803"/>
                  <a:pt x="72" y="803"/>
                </a:cubicBezTo>
                <a:cubicBezTo>
                  <a:pt x="73" y="804"/>
                  <a:pt x="73" y="804"/>
                  <a:pt x="73" y="804"/>
                </a:cubicBezTo>
                <a:cubicBezTo>
                  <a:pt x="73" y="803"/>
                  <a:pt x="73" y="803"/>
                  <a:pt x="73" y="803"/>
                </a:cubicBezTo>
                <a:cubicBezTo>
                  <a:pt x="73" y="804"/>
                  <a:pt x="73" y="804"/>
                  <a:pt x="73" y="804"/>
                </a:cubicBezTo>
                <a:cubicBezTo>
                  <a:pt x="73" y="804"/>
                  <a:pt x="73" y="804"/>
                  <a:pt x="73" y="804"/>
                </a:cubicBezTo>
                <a:cubicBezTo>
                  <a:pt x="537" y="537"/>
                  <a:pt x="537" y="537"/>
                  <a:pt x="537" y="537"/>
                </a:cubicBezTo>
                <a:cubicBezTo>
                  <a:pt x="537" y="536"/>
                  <a:pt x="537" y="536"/>
                  <a:pt x="537" y="536"/>
                </a:cubicBezTo>
                <a:cubicBezTo>
                  <a:pt x="537" y="1"/>
                  <a:pt x="537" y="1"/>
                  <a:pt x="537" y="1"/>
                </a:cubicBezTo>
                <a:cubicBezTo>
                  <a:pt x="537" y="1"/>
                  <a:pt x="537" y="1"/>
                  <a:pt x="537" y="1"/>
                </a:cubicBezTo>
                <a:cubicBezTo>
                  <a:pt x="537" y="0"/>
                  <a:pt x="537" y="0"/>
                  <a:pt x="537" y="0"/>
                </a:cubicBezTo>
                <a:cubicBezTo>
                  <a:pt x="345" y="0"/>
                  <a:pt x="168" y="102"/>
                  <a:pt x="72" y="268"/>
                </a:cubicBezTo>
                <a:cubicBezTo>
                  <a:pt x="24" y="351"/>
                  <a:pt x="0" y="444"/>
                  <a:pt x="0" y="536"/>
                </a:cubicBezTo>
                <a:cubicBezTo>
                  <a:pt x="0" y="629"/>
                  <a:pt x="24" y="721"/>
                  <a:pt x="72" y="804"/>
                </a:cubicBezTo>
                <a:cubicBezTo>
                  <a:pt x="73" y="804"/>
                  <a:pt x="73" y="804"/>
                  <a:pt x="73" y="80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5" name="Freeform 309">
            <a:extLst>
              <a:ext uri="{FF2B5EF4-FFF2-40B4-BE49-F238E27FC236}">
                <a16:creationId xmlns:a16="http://schemas.microsoft.com/office/drawing/2014/main" id="{CD694F6B-4996-4F23-8F59-E9005BD5E25B}"/>
              </a:ext>
            </a:extLst>
          </p:cNvPr>
          <p:cNvSpPr>
            <a:spLocks/>
          </p:cNvSpPr>
          <p:nvPr/>
        </p:nvSpPr>
        <p:spPr bwMode="auto">
          <a:xfrm rot="26225">
            <a:off x="3208857" y="2723664"/>
            <a:ext cx="1518806" cy="2206000"/>
          </a:xfrm>
          <a:custGeom>
            <a:avLst/>
            <a:gdLst>
              <a:gd name="T0" fmla="*/ 0 w 569"/>
              <a:gd name="T1" fmla="*/ 0 h 827"/>
              <a:gd name="T2" fmla="*/ 561 w 569"/>
              <a:gd name="T3" fmla="*/ 561 h 827"/>
              <a:gd name="T4" fmla="*/ 509 w 569"/>
              <a:gd name="T5" fmla="*/ 797 h 827"/>
              <a:gd name="T6" fmla="*/ 545 w 569"/>
              <a:gd name="T7" fmla="*/ 818 h 827"/>
              <a:gd name="T8" fmla="*/ 460 w 569"/>
              <a:gd name="T9" fmla="*/ 827 h 827"/>
              <a:gd name="T10" fmla="*/ 421 w 569"/>
              <a:gd name="T11" fmla="*/ 746 h 827"/>
              <a:gd name="T12" fmla="*/ 456 w 569"/>
              <a:gd name="T13" fmla="*/ 766 h 827"/>
              <a:gd name="T14" fmla="*/ 205 w 569"/>
              <a:gd name="T15" fmla="*/ 105 h 827"/>
              <a:gd name="T16" fmla="*/ 0 w 569"/>
              <a:gd name="T17" fmla="*/ 61 h 827"/>
              <a:gd name="T18" fmla="*/ 0 w 569"/>
              <a:gd name="T19" fmla="*/ 0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9" h="827">
                <a:moveTo>
                  <a:pt x="0" y="0"/>
                </a:moveTo>
                <a:cubicBezTo>
                  <a:pt x="310" y="0"/>
                  <a:pt x="561" y="251"/>
                  <a:pt x="561" y="561"/>
                </a:cubicBezTo>
                <a:cubicBezTo>
                  <a:pt x="561" y="643"/>
                  <a:pt x="544" y="723"/>
                  <a:pt x="509" y="797"/>
                </a:cubicBezTo>
                <a:cubicBezTo>
                  <a:pt x="545" y="818"/>
                  <a:pt x="545" y="818"/>
                  <a:pt x="545" y="818"/>
                </a:cubicBezTo>
                <a:cubicBezTo>
                  <a:pt x="460" y="827"/>
                  <a:pt x="460" y="827"/>
                  <a:pt x="460" y="827"/>
                </a:cubicBezTo>
                <a:cubicBezTo>
                  <a:pt x="421" y="746"/>
                  <a:pt x="421" y="746"/>
                  <a:pt x="421" y="746"/>
                </a:cubicBezTo>
                <a:cubicBezTo>
                  <a:pt x="456" y="766"/>
                  <a:pt x="456" y="766"/>
                  <a:pt x="456" y="766"/>
                </a:cubicBezTo>
                <a:cubicBezTo>
                  <a:pt x="569" y="515"/>
                  <a:pt x="457" y="219"/>
                  <a:pt x="205" y="105"/>
                </a:cubicBezTo>
                <a:cubicBezTo>
                  <a:pt x="140" y="76"/>
                  <a:pt x="70" y="61"/>
                  <a:pt x="0" y="61"/>
                </a:cubicBezTo>
                <a:lnTo>
                  <a:pt x="0" y="0"/>
                </a:lnTo>
                <a:close/>
              </a:path>
            </a:pathLst>
          </a:custGeom>
          <a:solidFill>
            <a:schemeClr val="bg1">
              <a:lumMod val="75000"/>
            </a:schemeClr>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6" name="Freeform 310">
            <a:extLst>
              <a:ext uri="{FF2B5EF4-FFF2-40B4-BE49-F238E27FC236}">
                <a16:creationId xmlns:a16="http://schemas.microsoft.com/office/drawing/2014/main" id="{3525EE7A-2EE2-424B-B59D-2B1A5BF6C3D2}"/>
              </a:ext>
            </a:extLst>
          </p:cNvPr>
          <p:cNvSpPr>
            <a:spLocks/>
          </p:cNvSpPr>
          <p:nvPr/>
        </p:nvSpPr>
        <p:spPr bwMode="auto">
          <a:xfrm rot="26225">
            <a:off x="1810516" y="4985123"/>
            <a:ext cx="2615458" cy="1044279"/>
          </a:xfrm>
          <a:custGeom>
            <a:avLst/>
            <a:gdLst>
              <a:gd name="T0" fmla="*/ 981 w 981"/>
              <a:gd name="T1" fmla="*/ 31 h 391"/>
              <a:gd name="T2" fmla="*/ 214 w 981"/>
              <a:gd name="T3" fmla="*/ 236 h 391"/>
              <a:gd name="T4" fmla="*/ 36 w 981"/>
              <a:gd name="T5" fmla="*/ 73 h 391"/>
              <a:gd name="T6" fmla="*/ 0 w 981"/>
              <a:gd name="T7" fmla="*/ 94 h 391"/>
              <a:gd name="T8" fmla="*/ 35 w 981"/>
              <a:gd name="T9" fmla="*/ 15 h 391"/>
              <a:gd name="T10" fmla="*/ 124 w 981"/>
              <a:gd name="T11" fmla="*/ 22 h 391"/>
              <a:gd name="T12" fmla="*/ 89 w 981"/>
              <a:gd name="T13" fmla="*/ 43 h 391"/>
              <a:gd name="T14" fmla="*/ 788 w 981"/>
              <a:gd name="T15" fmla="*/ 156 h 391"/>
              <a:gd name="T16" fmla="*/ 928 w 981"/>
              <a:gd name="T17" fmla="*/ 0 h 391"/>
              <a:gd name="T18" fmla="*/ 981 w 981"/>
              <a:gd name="T19" fmla="*/ 3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1" h="391">
                <a:moveTo>
                  <a:pt x="981" y="31"/>
                </a:moveTo>
                <a:cubicBezTo>
                  <a:pt x="826" y="299"/>
                  <a:pt x="483" y="391"/>
                  <a:pt x="214" y="236"/>
                </a:cubicBezTo>
                <a:cubicBezTo>
                  <a:pt x="143" y="195"/>
                  <a:pt x="83" y="140"/>
                  <a:pt x="36" y="73"/>
                </a:cubicBezTo>
                <a:cubicBezTo>
                  <a:pt x="0" y="94"/>
                  <a:pt x="0" y="94"/>
                  <a:pt x="0" y="94"/>
                </a:cubicBezTo>
                <a:cubicBezTo>
                  <a:pt x="35" y="15"/>
                  <a:pt x="35" y="15"/>
                  <a:pt x="35" y="15"/>
                </a:cubicBezTo>
                <a:cubicBezTo>
                  <a:pt x="124" y="22"/>
                  <a:pt x="124" y="22"/>
                  <a:pt x="124" y="22"/>
                </a:cubicBezTo>
                <a:cubicBezTo>
                  <a:pt x="89" y="43"/>
                  <a:pt x="89" y="43"/>
                  <a:pt x="89" y="43"/>
                </a:cubicBezTo>
                <a:cubicBezTo>
                  <a:pt x="251" y="267"/>
                  <a:pt x="564" y="317"/>
                  <a:pt x="788" y="156"/>
                </a:cubicBezTo>
                <a:cubicBezTo>
                  <a:pt x="845" y="114"/>
                  <a:pt x="893" y="61"/>
                  <a:pt x="928" y="0"/>
                </a:cubicBezTo>
                <a:lnTo>
                  <a:pt x="981" y="31"/>
                </a:lnTo>
                <a:close/>
              </a:path>
            </a:pathLst>
          </a:custGeom>
          <a:solidFill>
            <a:schemeClr val="bg1">
              <a:lumMod val="75000"/>
            </a:schemeClr>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7" name="Freeform 311">
            <a:extLst>
              <a:ext uri="{FF2B5EF4-FFF2-40B4-BE49-F238E27FC236}">
                <a16:creationId xmlns:a16="http://schemas.microsoft.com/office/drawing/2014/main" id="{2E115189-38EE-4C4E-8573-BB5501D7BE79}"/>
              </a:ext>
            </a:extLst>
          </p:cNvPr>
          <p:cNvSpPr>
            <a:spLocks/>
          </p:cNvSpPr>
          <p:nvPr/>
        </p:nvSpPr>
        <p:spPr bwMode="auto">
          <a:xfrm rot="26225">
            <a:off x="1374506" y="2608837"/>
            <a:ext cx="1712427" cy="2348834"/>
          </a:xfrm>
          <a:custGeom>
            <a:avLst/>
            <a:gdLst>
              <a:gd name="T0" fmla="*/ 155 w 642"/>
              <a:gd name="T1" fmla="*/ 880 h 880"/>
              <a:gd name="T2" fmla="*/ 361 w 642"/>
              <a:gd name="T3" fmla="*/ 113 h 880"/>
              <a:gd name="T4" fmla="*/ 591 w 642"/>
              <a:gd name="T5" fmla="*/ 40 h 880"/>
              <a:gd name="T6" fmla="*/ 591 w 642"/>
              <a:gd name="T7" fmla="*/ 0 h 880"/>
              <a:gd name="T8" fmla="*/ 642 w 642"/>
              <a:gd name="T9" fmla="*/ 69 h 880"/>
              <a:gd name="T10" fmla="*/ 591 w 642"/>
              <a:gd name="T11" fmla="*/ 143 h 880"/>
              <a:gd name="T12" fmla="*/ 591 w 642"/>
              <a:gd name="T13" fmla="*/ 102 h 880"/>
              <a:gd name="T14" fmla="*/ 144 w 642"/>
              <a:gd name="T15" fmla="*/ 650 h 880"/>
              <a:gd name="T16" fmla="*/ 208 w 642"/>
              <a:gd name="T17" fmla="*/ 849 h 880"/>
              <a:gd name="T18" fmla="*/ 155 w 642"/>
              <a:gd name="T19" fmla="*/ 88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2" h="880">
                <a:moveTo>
                  <a:pt x="155" y="880"/>
                </a:moveTo>
                <a:cubicBezTo>
                  <a:pt x="0" y="612"/>
                  <a:pt x="92" y="268"/>
                  <a:pt x="361" y="113"/>
                </a:cubicBezTo>
                <a:cubicBezTo>
                  <a:pt x="432" y="73"/>
                  <a:pt x="510" y="48"/>
                  <a:pt x="591" y="40"/>
                </a:cubicBezTo>
                <a:cubicBezTo>
                  <a:pt x="591" y="0"/>
                  <a:pt x="591" y="0"/>
                  <a:pt x="591" y="0"/>
                </a:cubicBezTo>
                <a:cubicBezTo>
                  <a:pt x="642" y="69"/>
                  <a:pt x="642" y="69"/>
                  <a:pt x="642" y="69"/>
                </a:cubicBezTo>
                <a:cubicBezTo>
                  <a:pt x="591" y="143"/>
                  <a:pt x="591" y="143"/>
                  <a:pt x="591" y="143"/>
                </a:cubicBezTo>
                <a:cubicBezTo>
                  <a:pt x="591" y="102"/>
                  <a:pt x="591" y="102"/>
                  <a:pt x="591" y="102"/>
                </a:cubicBezTo>
                <a:cubicBezTo>
                  <a:pt x="316" y="130"/>
                  <a:pt x="116" y="375"/>
                  <a:pt x="144" y="650"/>
                </a:cubicBezTo>
                <a:cubicBezTo>
                  <a:pt x="151" y="720"/>
                  <a:pt x="173" y="788"/>
                  <a:pt x="208" y="849"/>
                </a:cubicBezTo>
                <a:lnTo>
                  <a:pt x="155" y="880"/>
                </a:lnTo>
                <a:close/>
              </a:path>
            </a:pathLst>
          </a:custGeom>
          <a:solidFill>
            <a:schemeClr val="bg1">
              <a:lumMod val="75000"/>
            </a:schemeClr>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39D6EC18-4FED-4D3D-A79A-B731F27F4885}"/>
              </a:ext>
            </a:extLst>
          </p:cNvPr>
          <p:cNvSpPr txBox="1"/>
          <p:nvPr/>
        </p:nvSpPr>
        <p:spPr>
          <a:xfrm rot="26225">
            <a:off x="2040339" y="3293362"/>
            <a:ext cx="945762" cy="885884"/>
          </a:xfrm>
          <a:prstGeom prst="rect">
            <a:avLst/>
          </a:prstGeom>
          <a:noFill/>
        </p:spPr>
        <p:txBody>
          <a:bodyPr wrap="square" lIns="0" tIns="0" rIns="0" bIns="0"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IN" sz="1599" b="0" i="0" u="none" strike="noStrike" kern="0" cap="none" spc="0" normalizeH="0" baseline="0" noProof="0" dirty="0">
                <a:ln>
                  <a:noFill/>
                </a:ln>
                <a:solidFill>
                  <a:schemeClr val="tx2"/>
                </a:solidFill>
                <a:effectLst/>
                <a:uLnTx/>
                <a:uFillTx/>
                <a:latin typeface="Segoe UI"/>
                <a:ea typeface="+mn-ea"/>
                <a:cs typeface="+mn-cs"/>
              </a:rPr>
              <a:t>Sell Integrated Offers and Services</a:t>
            </a:r>
          </a:p>
        </p:txBody>
      </p:sp>
      <p:sp>
        <p:nvSpPr>
          <p:cNvPr id="39" name="TextBox 38">
            <a:extLst>
              <a:ext uri="{FF2B5EF4-FFF2-40B4-BE49-F238E27FC236}">
                <a16:creationId xmlns:a16="http://schemas.microsoft.com/office/drawing/2014/main" id="{BC788CAD-DA39-4223-8B1D-CB8E6226E808}"/>
              </a:ext>
            </a:extLst>
          </p:cNvPr>
          <p:cNvSpPr txBox="1"/>
          <p:nvPr/>
        </p:nvSpPr>
        <p:spPr>
          <a:xfrm rot="26225">
            <a:off x="3297267" y="3407075"/>
            <a:ext cx="945762" cy="677640"/>
          </a:xfrm>
          <a:prstGeom prst="rect">
            <a:avLst/>
          </a:prstGeom>
          <a:noFill/>
        </p:spPr>
        <p:txBody>
          <a:bodyPr wrap="square" lIns="0" tIns="0" rIns="0" bIns="0"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IN" sz="1599" b="0" i="0" u="none" strike="noStrike" kern="0" cap="none" spc="0" normalizeH="0" baseline="0" noProof="0" dirty="0">
                <a:ln>
                  <a:noFill/>
                </a:ln>
                <a:solidFill>
                  <a:schemeClr val="tx2"/>
                </a:solidFill>
                <a:effectLst/>
                <a:uLnTx/>
                <a:uFillTx/>
                <a:latin typeface="Segoe UI"/>
                <a:ea typeface="+mn-ea"/>
                <a:cs typeface="+mn-cs"/>
              </a:rPr>
              <a:t>Own and Control the Billing</a:t>
            </a:r>
          </a:p>
        </p:txBody>
      </p:sp>
      <p:sp>
        <p:nvSpPr>
          <p:cNvPr id="40" name="TextBox 39">
            <a:extLst>
              <a:ext uri="{FF2B5EF4-FFF2-40B4-BE49-F238E27FC236}">
                <a16:creationId xmlns:a16="http://schemas.microsoft.com/office/drawing/2014/main" id="{7BF8DB76-5E7D-4C67-A0A8-1B352031A9BD}"/>
              </a:ext>
            </a:extLst>
          </p:cNvPr>
          <p:cNvSpPr txBox="1"/>
          <p:nvPr/>
        </p:nvSpPr>
        <p:spPr>
          <a:xfrm rot="26225">
            <a:off x="2603430" y="4721316"/>
            <a:ext cx="1205421" cy="677640"/>
          </a:xfrm>
          <a:prstGeom prst="rect">
            <a:avLst/>
          </a:prstGeom>
          <a:noFill/>
        </p:spPr>
        <p:txBody>
          <a:bodyPr wrap="square" lIns="0" tIns="0" rIns="0" bIns="0"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IN" sz="1599" b="0" i="0" u="none" strike="noStrike" kern="0" cap="none" spc="0" normalizeH="0" baseline="0" noProof="0" dirty="0">
                <a:ln>
                  <a:noFill/>
                </a:ln>
                <a:solidFill>
                  <a:schemeClr val="tx2"/>
                </a:solidFill>
                <a:effectLst/>
                <a:uLnTx/>
                <a:uFillTx/>
                <a:latin typeface="Segoe UI"/>
                <a:ea typeface="+mn-ea"/>
                <a:cs typeface="+mn-cs"/>
              </a:rPr>
              <a:t>Provision Manage and Support</a:t>
            </a:r>
          </a:p>
        </p:txBody>
      </p:sp>
      <p:sp>
        <p:nvSpPr>
          <p:cNvPr id="41" name="TextBox 40">
            <a:extLst>
              <a:ext uri="{FF2B5EF4-FFF2-40B4-BE49-F238E27FC236}">
                <a16:creationId xmlns:a16="http://schemas.microsoft.com/office/drawing/2014/main" id="{BF8B2F2C-13EE-4978-B647-120DE4B95200}"/>
              </a:ext>
            </a:extLst>
          </p:cNvPr>
          <p:cNvSpPr txBox="1"/>
          <p:nvPr/>
        </p:nvSpPr>
        <p:spPr>
          <a:xfrm rot="72040">
            <a:off x="1659718" y="4811045"/>
            <a:ext cx="2863742" cy="1624192"/>
          </a:xfrm>
          <a:prstGeom prst="rect">
            <a:avLst/>
          </a:prstGeom>
          <a:noFill/>
        </p:spPr>
        <p:txBody>
          <a:bodyPr spcFirstLastPara="1" wrap="square" lIns="0" tIns="0" rIns="0" bIns="0" numCol="1" rtlCol="0">
            <a:prstTxWarp prst="textArchDown">
              <a:avLst>
                <a:gd name="adj" fmla="val 21330411"/>
              </a:avLst>
            </a:prstTxWarp>
            <a:spAutoFit/>
          </a:bodyPr>
          <a:lstStyle/>
          <a:p>
            <a:pPr marL="0" marR="0" lvl="0" indent="0" algn="ctr" defTabSz="914224" rtl="0" eaLnBrk="1" fontAlgn="auto" latinLnBrk="0" hangingPunct="1">
              <a:lnSpc>
                <a:spcPct val="100000"/>
              </a:lnSpc>
              <a:spcBef>
                <a:spcPts val="0"/>
              </a:spcBef>
              <a:spcAft>
                <a:spcPts val="600"/>
              </a:spcAft>
              <a:buClrTx/>
              <a:buSzTx/>
              <a:buFontTx/>
              <a:buNone/>
              <a:tabLst/>
              <a:defRPr/>
            </a:pPr>
            <a:r>
              <a:rPr kumimoji="0" lang="en-IN" sz="2000" b="0" i="0" u="none" strike="noStrike" kern="0" cap="none" spc="0" normalizeH="0" baseline="0" noProof="0" dirty="0">
                <a:ln>
                  <a:noFill/>
                </a:ln>
                <a:solidFill>
                  <a:schemeClr val="bg1"/>
                </a:solidFill>
                <a:effectLst/>
                <a:uLnTx/>
                <a:uFillTx/>
                <a:latin typeface="Segoe UI"/>
                <a:ea typeface="+mn-ea"/>
                <a:cs typeface="+mn-cs"/>
              </a:rPr>
              <a:t>Enterprise Mobility Suite</a:t>
            </a:r>
          </a:p>
        </p:txBody>
      </p:sp>
      <p:cxnSp>
        <p:nvCxnSpPr>
          <p:cNvPr id="43" name="Straight Connector 42">
            <a:extLst>
              <a:ext uri="{FF2B5EF4-FFF2-40B4-BE49-F238E27FC236}">
                <a16:creationId xmlns:a16="http://schemas.microsoft.com/office/drawing/2014/main" id="{1D1BADA4-E16B-47B0-BD19-B292D61F0A0F}"/>
              </a:ext>
            </a:extLst>
          </p:cNvPr>
          <p:cNvCxnSpPr>
            <a:cxnSpLocks/>
          </p:cNvCxnSpPr>
          <p:nvPr/>
        </p:nvCxnSpPr>
        <p:spPr>
          <a:xfrm>
            <a:off x="7162800" y="4256274"/>
            <a:ext cx="458724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624812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val 18">
            <a:extLst>
              <a:ext uri="{FF2B5EF4-FFF2-40B4-BE49-F238E27FC236}">
                <a16:creationId xmlns:a16="http://schemas.microsoft.com/office/drawing/2014/main" id="{A3080E52-75E2-48C7-9120-379C39958827}"/>
              </a:ext>
            </a:extLst>
          </p:cNvPr>
          <p:cNvSpPr/>
          <p:nvPr/>
        </p:nvSpPr>
        <p:spPr bwMode="auto">
          <a:xfrm>
            <a:off x="1282147" y="5009452"/>
            <a:ext cx="534192" cy="534192"/>
          </a:xfrm>
          <a:prstGeom prst="ellipse">
            <a:avLst/>
          </a:prstGeom>
          <a:solidFill>
            <a:schemeClr val="accent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1399"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F8409D3D-9430-4D32-AA67-758F16A04A58}"/>
              </a:ext>
            </a:extLst>
          </p:cNvPr>
          <p:cNvSpPr/>
          <p:nvPr/>
        </p:nvSpPr>
        <p:spPr bwMode="auto">
          <a:xfrm>
            <a:off x="4295181" y="5009452"/>
            <a:ext cx="534192" cy="534192"/>
          </a:xfrm>
          <a:prstGeom prst="ellipse">
            <a:avLst/>
          </a:prstGeom>
          <a:solidFill>
            <a:schemeClr val="accent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1399"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E9F78426-A4C6-43AD-8432-6CE9BE79156B}"/>
              </a:ext>
            </a:extLst>
          </p:cNvPr>
          <p:cNvSpPr/>
          <p:nvPr/>
        </p:nvSpPr>
        <p:spPr bwMode="auto">
          <a:xfrm>
            <a:off x="7301128" y="5009452"/>
            <a:ext cx="534192" cy="534192"/>
          </a:xfrm>
          <a:prstGeom prst="ellipse">
            <a:avLst/>
          </a:prstGeom>
          <a:solidFill>
            <a:schemeClr val="accent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1399"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AD92A392-1872-4B1A-BFD7-0042A62B1131}"/>
              </a:ext>
            </a:extLst>
          </p:cNvPr>
          <p:cNvSpPr/>
          <p:nvPr/>
        </p:nvSpPr>
        <p:spPr bwMode="auto">
          <a:xfrm>
            <a:off x="10652768" y="5009452"/>
            <a:ext cx="534192" cy="534192"/>
          </a:xfrm>
          <a:prstGeom prst="ellipse">
            <a:avLst/>
          </a:prstGeom>
          <a:solidFill>
            <a:schemeClr val="accent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1399"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8" name="Straight Connector 37">
            <a:extLst>
              <a:ext uri="{FF2B5EF4-FFF2-40B4-BE49-F238E27FC236}">
                <a16:creationId xmlns:a16="http://schemas.microsoft.com/office/drawing/2014/main" id="{808C68DE-3213-4BBF-84B5-4C5F07AA8D3E}"/>
              </a:ext>
            </a:extLst>
          </p:cNvPr>
          <p:cNvCxnSpPr>
            <a:cxnSpLocks/>
          </p:cNvCxnSpPr>
          <p:nvPr/>
        </p:nvCxnSpPr>
        <p:spPr>
          <a:xfrm flipH="1">
            <a:off x="1764" y="5276547"/>
            <a:ext cx="12432948" cy="0"/>
          </a:xfrm>
          <a:prstGeom prst="line">
            <a:avLst/>
          </a:prstGeom>
          <a:ln w="63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6E1A89B7-FE18-4D18-9C6E-6F2860E36A32}"/>
              </a:ext>
            </a:extLst>
          </p:cNvPr>
          <p:cNvSpPr/>
          <p:nvPr/>
        </p:nvSpPr>
        <p:spPr bwMode="auto">
          <a:xfrm>
            <a:off x="1370819" y="5098123"/>
            <a:ext cx="356847" cy="35684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IN"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23" name="Oval 22">
            <a:extLst>
              <a:ext uri="{FF2B5EF4-FFF2-40B4-BE49-F238E27FC236}">
                <a16:creationId xmlns:a16="http://schemas.microsoft.com/office/drawing/2014/main" id="{AA8F43AC-6212-4F7C-A0CE-03D9DCB3C566}"/>
              </a:ext>
            </a:extLst>
          </p:cNvPr>
          <p:cNvSpPr/>
          <p:nvPr/>
        </p:nvSpPr>
        <p:spPr bwMode="auto">
          <a:xfrm>
            <a:off x="4383852" y="5098123"/>
            <a:ext cx="356847" cy="35684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IN"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26" name="Oval 25">
            <a:extLst>
              <a:ext uri="{FF2B5EF4-FFF2-40B4-BE49-F238E27FC236}">
                <a16:creationId xmlns:a16="http://schemas.microsoft.com/office/drawing/2014/main" id="{97FD2604-F086-4E5C-A00D-24B9DA0BD373}"/>
              </a:ext>
            </a:extLst>
          </p:cNvPr>
          <p:cNvSpPr/>
          <p:nvPr/>
        </p:nvSpPr>
        <p:spPr bwMode="auto">
          <a:xfrm>
            <a:off x="7389800" y="5098123"/>
            <a:ext cx="356847" cy="35684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IN"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29" name="Oval 28">
            <a:extLst>
              <a:ext uri="{FF2B5EF4-FFF2-40B4-BE49-F238E27FC236}">
                <a16:creationId xmlns:a16="http://schemas.microsoft.com/office/drawing/2014/main" id="{AFC67D61-48FC-4FCA-ABB9-679AA7DE87F1}"/>
              </a:ext>
            </a:extLst>
          </p:cNvPr>
          <p:cNvSpPr/>
          <p:nvPr/>
        </p:nvSpPr>
        <p:spPr bwMode="auto">
          <a:xfrm>
            <a:off x="10741441" y="5098123"/>
            <a:ext cx="356847" cy="35684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IN"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sp>
        <p:nvSpPr>
          <p:cNvPr id="2" name="Title 1">
            <a:extLst>
              <a:ext uri="{FF2B5EF4-FFF2-40B4-BE49-F238E27FC236}">
                <a16:creationId xmlns:a16="http://schemas.microsoft.com/office/drawing/2014/main" id="{B599E4E7-FC0C-4169-9EB1-C9F208A3EA06}"/>
              </a:ext>
            </a:extLst>
          </p:cNvPr>
          <p:cNvSpPr>
            <a:spLocks noGrp="1"/>
          </p:cNvSpPr>
          <p:nvPr>
            <p:ph type="title"/>
          </p:nvPr>
        </p:nvSpPr>
        <p:spPr/>
        <p:txBody>
          <a:bodyPr/>
          <a:lstStyle/>
          <a:p>
            <a:r>
              <a:rPr lang="en-US" dirty="0"/>
              <a:t>Azure in CSP enables Partners to…</a:t>
            </a:r>
            <a:endParaRPr lang="en-IN" dirty="0"/>
          </a:p>
        </p:txBody>
      </p:sp>
      <p:pic>
        <p:nvPicPr>
          <p:cNvPr id="4" name="Picture 3">
            <a:extLst>
              <a:ext uri="{FF2B5EF4-FFF2-40B4-BE49-F238E27FC236}">
                <a16:creationId xmlns:a16="http://schemas.microsoft.com/office/drawing/2014/main" id="{BABE5A84-123E-43CC-BB2C-0532F4FE233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747" t="5339" r="2755"/>
          <a:stretch/>
        </p:blipFill>
        <p:spPr>
          <a:xfrm flipH="1">
            <a:off x="2648" y="1243791"/>
            <a:ext cx="12432064" cy="3652880"/>
          </a:xfrm>
          <a:prstGeom prst="rect">
            <a:avLst/>
          </a:prstGeom>
        </p:spPr>
      </p:pic>
      <p:sp>
        <p:nvSpPr>
          <p:cNvPr id="5" name="Rectangle 4">
            <a:extLst>
              <a:ext uri="{FF2B5EF4-FFF2-40B4-BE49-F238E27FC236}">
                <a16:creationId xmlns:a16="http://schemas.microsoft.com/office/drawing/2014/main" id="{7907606D-174E-449A-A79E-9385AEB344DC}"/>
              </a:ext>
            </a:extLst>
          </p:cNvPr>
          <p:cNvSpPr/>
          <p:nvPr/>
        </p:nvSpPr>
        <p:spPr bwMode="auto">
          <a:xfrm>
            <a:off x="1764" y="1243791"/>
            <a:ext cx="12432948" cy="3652880"/>
          </a:xfrm>
          <a:prstGeom prst="rect">
            <a:avLst/>
          </a:prstGeom>
          <a:gradFill>
            <a:gsLst>
              <a:gs pos="69003">
                <a:srgbClr val="000000">
                  <a:alpha val="55000"/>
                </a:srgbClr>
              </a:gs>
              <a:gs pos="99000">
                <a:srgbClr val="000000">
                  <a:alpha val="60000"/>
                </a:srgbClr>
              </a:gs>
              <a:gs pos="0">
                <a:schemeClr val="bg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8802C288-19DE-4942-9571-F331BB695162}"/>
              </a:ext>
            </a:extLst>
          </p:cNvPr>
          <p:cNvSpPr/>
          <p:nvPr/>
        </p:nvSpPr>
        <p:spPr bwMode="auto">
          <a:xfrm>
            <a:off x="488477" y="4040516"/>
            <a:ext cx="3029497" cy="62780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r>
              <a:rPr kumimoji="0" lang="en-IN" sz="2000" b="0" i="0" u="none" strike="noStrike" kern="0" cap="none" spc="0" normalizeH="0" baseline="0" noProof="0" dirty="0">
                <a:ln>
                  <a:noFill/>
                </a:ln>
                <a:solidFill>
                  <a:schemeClr val="bg1"/>
                </a:solidFill>
                <a:effectLst/>
                <a:uLnTx/>
                <a:uFillTx/>
                <a:latin typeface="Segoe UI"/>
                <a:ea typeface="+mn-ea"/>
                <a:cs typeface="+mn-cs"/>
              </a:rPr>
              <a:t>Set the price, the terms </a:t>
            </a:r>
            <a:br>
              <a:rPr kumimoji="0" lang="en-IN" sz="2000" b="0" i="0" u="none" strike="noStrike" kern="0" cap="none" spc="0" normalizeH="0" baseline="0" noProof="0" dirty="0">
                <a:ln>
                  <a:noFill/>
                </a:ln>
                <a:solidFill>
                  <a:schemeClr val="bg1"/>
                </a:solidFill>
                <a:effectLst/>
                <a:uLnTx/>
                <a:uFillTx/>
                <a:latin typeface="Segoe UI"/>
                <a:ea typeface="+mn-ea"/>
                <a:cs typeface="+mn-cs"/>
              </a:rPr>
            </a:br>
            <a:r>
              <a:rPr kumimoji="0" lang="en-IN" sz="2000" b="0" i="0" u="none" strike="noStrike" kern="0" cap="none" spc="0" normalizeH="0" baseline="0" noProof="0" dirty="0">
                <a:ln>
                  <a:noFill/>
                </a:ln>
                <a:solidFill>
                  <a:schemeClr val="bg1"/>
                </a:solidFill>
                <a:effectLst/>
                <a:uLnTx/>
                <a:uFillTx/>
                <a:latin typeface="Segoe UI"/>
                <a:ea typeface="+mn-ea"/>
                <a:cs typeface="+mn-cs"/>
              </a:rPr>
              <a:t>and directly bill customers</a:t>
            </a:r>
          </a:p>
        </p:txBody>
      </p:sp>
      <p:sp>
        <p:nvSpPr>
          <p:cNvPr id="7" name="Rectangle 6">
            <a:extLst>
              <a:ext uri="{FF2B5EF4-FFF2-40B4-BE49-F238E27FC236}">
                <a16:creationId xmlns:a16="http://schemas.microsoft.com/office/drawing/2014/main" id="{4B526B04-B4B9-425B-8F5D-6FE639D9A2F6}"/>
              </a:ext>
            </a:extLst>
          </p:cNvPr>
          <p:cNvSpPr/>
          <p:nvPr/>
        </p:nvSpPr>
        <p:spPr bwMode="auto">
          <a:xfrm>
            <a:off x="4298080" y="4040516"/>
            <a:ext cx="3765208" cy="62780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r>
              <a:rPr kumimoji="0" lang="en-IN" sz="2000" b="0" i="0" u="none" strike="noStrike" kern="0" cap="none" spc="0" normalizeH="0" baseline="0" noProof="0" dirty="0">
                <a:ln>
                  <a:noFill/>
                </a:ln>
                <a:solidFill>
                  <a:schemeClr val="bg1"/>
                </a:solidFill>
                <a:effectLst/>
                <a:uLnTx/>
                <a:uFillTx/>
                <a:latin typeface="Segoe UI"/>
                <a:ea typeface="+mn-ea"/>
                <a:cs typeface="+mn-cs"/>
              </a:rPr>
              <a:t>Directly provision, own</a:t>
            </a:r>
            <a:br>
              <a:rPr kumimoji="0" lang="en-IN" sz="2000" b="0" i="0" u="none" strike="noStrike" kern="0" cap="none" spc="0" normalizeH="0" baseline="0" noProof="0" dirty="0">
                <a:ln>
                  <a:noFill/>
                </a:ln>
                <a:solidFill>
                  <a:schemeClr val="bg1"/>
                </a:solidFill>
                <a:effectLst/>
                <a:uLnTx/>
                <a:uFillTx/>
                <a:latin typeface="Segoe UI"/>
                <a:ea typeface="+mn-ea"/>
                <a:cs typeface="+mn-cs"/>
              </a:rPr>
            </a:br>
            <a:r>
              <a:rPr kumimoji="0" lang="en-IN" sz="2000" b="0" i="0" u="none" strike="noStrike" kern="0" cap="none" spc="0" normalizeH="0" baseline="0" noProof="0" dirty="0">
                <a:ln>
                  <a:noFill/>
                </a:ln>
                <a:solidFill>
                  <a:schemeClr val="bg1"/>
                </a:solidFill>
                <a:effectLst/>
                <a:uLnTx/>
                <a:uFillTx/>
                <a:latin typeface="Segoe UI"/>
                <a:ea typeface="+mn-ea"/>
                <a:cs typeface="+mn-cs"/>
              </a:rPr>
              <a:t>and manage Azure subscriptions</a:t>
            </a:r>
          </a:p>
        </p:txBody>
      </p:sp>
      <p:sp>
        <p:nvSpPr>
          <p:cNvPr id="8" name="Rectangle 7">
            <a:extLst>
              <a:ext uri="{FF2B5EF4-FFF2-40B4-BE49-F238E27FC236}">
                <a16:creationId xmlns:a16="http://schemas.microsoft.com/office/drawing/2014/main" id="{09CBC065-FCE8-4F5B-A102-9F3DEF2D7A6A}"/>
              </a:ext>
            </a:extLst>
          </p:cNvPr>
          <p:cNvSpPr/>
          <p:nvPr/>
        </p:nvSpPr>
        <p:spPr bwMode="auto">
          <a:xfrm>
            <a:off x="8843395" y="4040516"/>
            <a:ext cx="3227322" cy="62780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r>
              <a:rPr kumimoji="0" lang="en-IN" sz="2000" b="0" i="0" u="none" strike="noStrike" kern="0" cap="none" spc="0" normalizeH="0" baseline="0" noProof="0" dirty="0">
                <a:ln>
                  <a:noFill/>
                </a:ln>
                <a:solidFill>
                  <a:schemeClr val="bg1"/>
                </a:solidFill>
                <a:effectLst/>
                <a:uLnTx/>
                <a:uFillTx/>
                <a:latin typeface="Segoe UI"/>
                <a:ea typeface="+mn-ea"/>
                <a:cs typeface="+mn-cs"/>
              </a:rPr>
              <a:t>Be the first point of contact </a:t>
            </a:r>
            <a:br>
              <a:rPr kumimoji="0" lang="en-IN" sz="2000" b="0" i="0" u="none" strike="noStrike" kern="0" cap="none" spc="0" normalizeH="0" baseline="0" noProof="0" dirty="0">
                <a:ln>
                  <a:noFill/>
                </a:ln>
                <a:solidFill>
                  <a:schemeClr val="bg1"/>
                </a:solidFill>
                <a:effectLst/>
                <a:uLnTx/>
                <a:uFillTx/>
                <a:latin typeface="Segoe UI"/>
                <a:ea typeface="+mn-ea"/>
                <a:cs typeface="+mn-cs"/>
              </a:rPr>
            </a:br>
            <a:r>
              <a:rPr kumimoji="0" lang="en-IN" sz="2000" b="0" i="0" u="none" strike="noStrike" kern="0" cap="none" spc="0" normalizeH="0" baseline="0" noProof="0" dirty="0">
                <a:ln>
                  <a:noFill/>
                </a:ln>
                <a:solidFill>
                  <a:schemeClr val="bg1"/>
                </a:solidFill>
                <a:effectLst/>
                <a:uLnTx/>
                <a:uFillTx/>
                <a:latin typeface="Segoe UI"/>
                <a:ea typeface="+mn-ea"/>
                <a:cs typeface="+mn-cs"/>
              </a:rPr>
              <a:t>for customer support</a:t>
            </a:r>
          </a:p>
        </p:txBody>
      </p:sp>
      <p:sp>
        <p:nvSpPr>
          <p:cNvPr id="9" name="Freeform 5">
            <a:extLst>
              <a:ext uri="{FF2B5EF4-FFF2-40B4-BE49-F238E27FC236}">
                <a16:creationId xmlns:a16="http://schemas.microsoft.com/office/drawing/2014/main" id="{F997E29A-E5BD-4338-AA56-EECD3CFD2885}"/>
              </a:ext>
            </a:extLst>
          </p:cNvPr>
          <p:cNvSpPr>
            <a:spLocks noEditPoints="1"/>
          </p:cNvSpPr>
          <p:nvPr/>
        </p:nvSpPr>
        <p:spPr bwMode="auto">
          <a:xfrm>
            <a:off x="1620018" y="3286192"/>
            <a:ext cx="766417" cy="726077"/>
          </a:xfrm>
          <a:custGeom>
            <a:avLst/>
            <a:gdLst>
              <a:gd name="T0" fmla="*/ 1100 w 2217"/>
              <a:gd name="T1" fmla="*/ 1549 h 2100"/>
              <a:gd name="T2" fmla="*/ 1100 w 2217"/>
              <a:gd name="T3" fmla="*/ 1549 h 2100"/>
              <a:gd name="T4" fmla="*/ 1100 w 2217"/>
              <a:gd name="T5" fmla="*/ 1429 h 2100"/>
              <a:gd name="T6" fmla="*/ 1100 w 2217"/>
              <a:gd name="T7" fmla="*/ 1429 h 2100"/>
              <a:gd name="T8" fmla="*/ 911 w 2217"/>
              <a:gd name="T9" fmla="*/ 1394 h 2100"/>
              <a:gd name="T10" fmla="*/ 894 w 2217"/>
              <a:gd name="T11" fmla="*/ 1377 h 2100"/>
              <a:gd name="T12" fmla="*/ 894 w 2217"/>
              <a:gd name="T13" fmla="*/ 1377 h 2100"/>
              <a:gd name="T14" fmla="*/ 945 w 2217"/>
              <a:gd name="T15" fmla="*/ 1188 h 2100"/>
              <a:gd name="T16" fmla="*/ 979 w 2217"/>
              <a:gd name="T17" fmla="*/ 1205 h 2100"/>
              <a:gd name="T18" fmla="*/ 979 w 2217"/>
              <a:gd name="T19" fmla="*/ 1205 h 2100"/>
              <a:gd name="T20" fmla="*/ 1151 w 2217"/>
              <a:gd name="T21" fmla="*/ 1257 h 2100"/>
              <a:gd name="T22" fmla="*/ 1151 w 2217"/>
              <a:gd name="T23" fmla="*/ 1257 h 2100"/>
              <a:gd name="T24" fmla="*/ 1237 w 2217"/>
              <a:gd name="T25" fmla="*/ 1205 h 2100"/>
              <a:gd name="T26" fmla="*/ 1237 w 2217"/>
              <a:gd name="T27" fmla="*/ 1205 h 2100"/>
              <a:gd name="T28" fmla="*/ 1134 w 2217"/>
              <a:gd name="T29" fmla="*/ 1136 h 2100"/>
              <a:gd name="T30" fmla="*/ 1134 w 2217"/>
              <a:gd name="T31" fmla="*/ 1136 h 2100"/>
              <a:gd name="T32" fmla="*/ 894 w 2217"/>
              <a:gd name="T33" fmla="*/ 895 h 2100"/>
              <a:gd name="T34" fmla="*/ 894 w 2217"/>
              <a:gd name="T35" fmla="*/ 895 h 2100"/>
              <a:gd name="T36" fmla="*/ 1100 w 2217"/>
              <a:gd name="T37" fmla="*/ 671 h 2100"/>
              <a:gd name="T38" fmla="*/ 1100 w 2217"/>
              <a:gd name="T39" fmla="*/ 551 h 2100"/>
              <a:gd name="T40" fmla="*/ 1272 w 2217"/>
              <a:gd name="T41" fmla="*/ 551 h 2100"/>
              <a:gd name="T42" fmla="*/ 1272 w 2217"/>
              <a:gd name="T43" fmla="*/ 654 h 2100"/>
              <a:gd name="T44" fmla="*/ 1272 w 2217"/>
              <a:gd name="T45" fmla="*/ 654 h 2100"/>
              <a:gd name="T46" fmla="*/ 1409 w 2217"/>
              <a:gd name="T47" fmla="*/ 688 h 2100"/>
              <a:gd name="T48" fmla="*/ 1443 w 2217"/>
              <a:gd name="T49" fmla="*/ 706 h 2100"/>
              <a:gd name="T50" fmla="*/ 1392 w 2217"/>
              <a:gd name="T51" fmla="*/ 861 h 2100"/>
              <a:gd name="T52" fmla="*/ 1375 w 2217"/>
              <a:gd name="T53" fmla="*/ 895 h 2100"/>
              <a:gd name="T54" fmla="*/ 1358 w 2217"/>
              <a:gd name="T55" fmla="*/ 878 h 2100"/>
              <a:gd name="T56" fmla="*/ 1358 w 2217"/>
              <a:gd name="T57" fmla="*/ 878 h 2100"/>
              <a:gd name="T58" fmla="*/ 1203 w 2217"/>
              <a:gd name="T59" fmla="*/ 843 h 2100"/>
              <a:gd name="T60" fmla="*/ 1203 w 2217"/>
              <a:gd name="T61" fmla="*/ 843 h 2100"/>
              <a:gd name="T62" fmla="*/ 1134 w 2217"/>
              <a:gd name="T63" fmla="*/ 878 h 2100"/>
              <a:gd name="T64" fmla="*/ 1134 w 2217"/>
              <a:gd name="T65" fmla="*/ 878 h 2100"/>
              <a:gd name="T66" fmla="*/ 1254 w 2217"/>
              <a:gd name="T67" fmla="*/ 947 h 2100"/>
              <a:gd name="T68" fmla="*/ 1254 w 2217"/>
              <a:gd name="T69" fmla="*/ 947 h 2100"/>
              <a:gd name="T70" fmla="*/ 1461 w 2217"/>
              <a:gd name="T71" fmla="*/ 1188 h 2100"/>
              <a:gd name="T72" fmla="*/ 1461 w 2217"/>
              <a:gd name="T73" fmla="*/ 1188 h 2100"/>
              <a:gd name="T74" fmla="*/ 1272 w 2217"/>
              <a:gd name="T75" fmla="*/ 1429 h 2100"/>
              <a:gd name="T76" fmla="*/ 1272 w 2217"/>
              <a:gd name="T77" fmla="*/ 1549 h 2100"/>
              <a:gd name="T78" fmla="*/ 1100 w 2217"/>
              <a:gd name="T79" fmla="*/ 1549 h 2100"/>
              <a:gd name="T80" fmla="*/ 1168 w 2217"/>
              <a:gd name="T81" fmla="*/ 17 h 2100"/>
              <a:gd name="T82" fmla="*/ 155 w 2217"/>
              <a:gd name="T83" fmla="*/ 912 h 2100"/>
              <a:gd name="T84" fmla="*/ 0 w 2217"/>
              <a:gd name="T85" fmla="*/ 912 h 2100"/>
              <a:gd name="T86" fmla="*/ 241 w 2217"/>
              <a:gd name="T87" fmla="*/ 1153 h 2100"/>
              <a:gd name="T88" fmla="*/ 481 w 2217"/>
              <a:gd name="T89" fmla="*/ 912 h 2100"/>
              <a:gd name="T90" fmla="*/ 327 w 2217"/>
              <a:gd name="T91" fmla="*/ 912 h 2100"/>
              <a:gd name="T92" fmla="*/ 876 w 2217"/>
              <a:gd name="T93" fmla="*/ 241 h 2100"/>
              <a:gd name="T94" fmla="*/ 1993 w 2217"/>
              <a:gd name="T95" fmla="*/ 757 h 2100"/>
              <a:gd name="T96" fmla="*/ 1461 w 2217"/>
              <a:gd name="T97" fmla="*/ 1876 h 2100"/>
              <a:gd name="T98" fmla="*/ 361 w 2217"/>
              <a:gd name="T99" fmla="*/ 1343 h 2100"/>
              <a:gd name="T100" fmla="*/ 206 w 2217"/>
              <a:gd name="T101" fmla="*/ 1412 h 2100"/>
              <a:gd name="T102" fmla="*/ 1186 w 2217"/>
              <a:gd name="T103" fmla="*/ 2100 h 2100"/>
              <a:gd name="T104" fmla="*/ 2217 w 2217"/>
              <a:gd name="T105" fmla="*/ 1050 h 2100"/>
              <a:gd name="T106" fmla="*/ 1168 w 2217"/>
              <a:gd name="T107" fmla="*/ 17 h 2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17" h="2100">
                <a:moveTo>
                  <a:pt x="1100" y="1549"/>
                </a:moveTo>
                <a:cubicBezTo>
                  <a:pt x="1100" y="1549"/>
                  <a:pt x="1100" y="1549"/>
                  <a:pt x="1100" y="1549"/>
                </a:cubicBezTo>
                <a:cubicBezTo>
                  <a:pt x="1100" y="1429"/>
                  <a:pt x="1100" y="1429"/>
                  <a:pt x="1100" y="1429"/>
                </a:cubicBezTo>
                <a:cubicBezTo>
                  <a:pt x="1100" y="1429"/>
                  <a:pt x="1100" y="1429"/>
                  <a:pt x="1100" y="1429"/>
                </a:cubicBezTo>
                <a:cubicBezTo>
                  <a:pt x="1031" y="1429"/>
                  <a:pt x="962" y="1412"/>
                  <a:pt x="911" y="1394"/>
                </a:cubicBezTo>
                <a:cubicBezTo>
                  <a:pt x="911" y="1394"/>
                  <a:pt x="911" y="1394"/>
                  <a:pt x="894" y="1377"/>
                </a:cubicBezTo>
                <a:cubicBezTo>
                  <a:pt x="894" y="1377"/>
                  <a:pt x="894" y="1377"/>
                  <a:pt x="894" y="1377"/>
                </a:cubicBezTo>
                <a:cubicBezTo>
                  <a:pt x="894" y="1377"/>
                  <a:pt x="894" y="1377"/>
                  <a:pt x="945" y="1188"/>
                </a:cubicBezTo>
                <a:cubicBezTo>
                  <a:pt x="945" y="1188"/>
                  <a:pt x="945" y="1188"/>
                  <a:pt x="979" y="1205"/>
                </a:cubicBezTo>
                <a:cubicBezTo>
                  <a:pt x="979" y="1205"/>
                  <a:pt x="979" y="1205"/>
                  <a:pt x="979" y="1205"/>
                </a:cubicBezTo>
                <a:cubicBezTo>
                  <a:pt x="997" y="1222"/>
                  <a:pt x="1065" y="1257"/>
                  <a:pt x="1151" y="1257"/>
                </a:cubicBezTo>
                <a:cubicBezTo>
                  <a:pt x="1151" y="1257"/>
                  <a:pt x="1151" y="1257"/>
                  <a:pt x="1151" y="1257"/>
                </a:cubicBezTo>
                <a:cubicBezTo>
                  <a:pt x="1186" y="1257"/>
                  <a:pt x="1237" y="1239"/>
                  <a:pt x="1237" y="1205"/>
                </a:cubicBezTo>
                <a:cubicBezTo>
                  <a:pt x="1237" y="1205"/>
                  <a:pt x="1237" y="1205"/>
                  <a:pt x="1237" y="1205"/>
                </a:cubicBezTo>
                <a:cubicBezTo>
                  <a:pt x="1237" y="1188"/>
                  <a:pt x="1220" y="1170"/>
                  <a:pt x="1134" y="1136"/>
                </a:cubicBezTo>
                <a:cubicBezTo>
                  <a:pt x="1134" y="1136"/>
                  <a:pt x="1134" y="1136"/>
                  <a:pt x="1134" y="1136"/>
                </a:cubicBezTo>
                <a:cubicBezTo>
                  <a:pt x="1031" y="1102"/>
                  <a:pt x="894" y="1033"/>
                  <a:pt x="894" y="895"/>
                </a:cubicBezTo>
                <a:cubicBezTo>
                  <a:pt x="894" y="895"/>
                  <a:pt x="894" y="895"/>
                  <a:pt x="894" y="895"/>
                </a:cubicBezTo>
                <a:cubicBezTo>
                  <a:pt x="894" y="792"/>
                  <a:pt x="979" y="706"/>
                  <a:pt x="1100" y="671"/>
                </a:cubicBezTo>
                <a:cubicBezTo>
                  <a:pt x="1100" y="671"/>
                  <a:pt x="1100" y="671"/>
                  <a:pt x="1100" y="551"/>
                </a:cubicBezTo>
                <a:cubicBezTo>
                  <a:pt x="1100" y="551"/>
                  <a:pt x="1100" y="551"/>
                  <a:pt x="1272" y="551"/>
                </a:cubicBezTo>
                <a:cubicBezTo>
                  <a:pt x="1272" y="551"/>
                  <a:pt x="1272" y="551"/>
                  <a:pt x="1272" y="654"/>
                </a:cubicBezTo>
                <a:cubicBezTo>
                  <a:pt x="1272" y="654"/>
                  <a:pt x="1272" y="654"/>
                  <a:pt x="1272" y="654"/>
                </a:cubicBezTo>
                <a:cubicBezTo>
                  <a:pt x="1340" y="671"/>
                  <a:pt x="1375" y="688"/>
                  <a:pt x="1409" y="688"/>
                </a:cubicBezTo>
                <a:cubicBezTo>
                  <a:pt x="1409" y="688"/>
                  <a:pt x="1409" y="688"/>
                  <a:pt x="1443" y="706"/>
                </a:cubicBezTo>
                <a:cubicBezTo>
                  <a:pt x="1443" y="706"/>
                  <a:pt x="1443" y="706"/>
                  <a:pt x="1392" y="861"/>
                </a:cubicBezTo>
                <a:cubicBezTo>
                  <a:pt x="1392" y="861"/>
                  <a:pt x="1392" y="861"/>
                  <a:pt x="1375" y="895"/>
                </a:cubicBezTo>
                <a:cubicBezTo>
                  <a:pt x="1375" y="895"/>
                  <a:pt x="1375" y="895"/>
                  <a:pt x="1358" y="878"/>
                </a:cubicBezTo>
                <a:cubicBezTo>
                  <a:pt x="1358" y="878"/>
                  <a:pt x="1358" y="878"/>
                  <a:pt x="1358" y="878"/>
                </a:cubicBezTo>
                <a:cubicBezTo>
                  <a:pt x="1323" y="861"/>
                  <a:pt x="1272" y="843"/>
                  <a:pt x="1203" y="843"/>
                </a:cubicBezTo>
                <a:cubicBezTo>
                  <a:pt x="1203" y="843"/>
                  <a:pt x="1203" y="843"/>
                  <a:pt x="1203" y="843"/>
                </a:cubicBezTo>
                <a:cubicBezTo>
                  <a:pt x="1168" y="843"/>
                  <a:pt x="1134" y="843"/>
                  <a:pt x="1134" y="878"/>
                </a:cubicBezTo>
                <a:cubicBezTo>
                  <a:pt x="1134" y="878"/>
                  <a:pt x="1134" y="878"/>
                  <a:pt x="1134" y="878"/>
                </a:cubicBezTo>
                <a:cubicBezTo>
                  <a:pt x="1134" y="895"/>
                  <a:pt x="1203" y="929"/>
                  <a:pt x="1254" y="947"/>
                </a:cubicBezTo>
                <a:cubicBezTo>
                  <a:pt x="1254" y="947"/>
                  <a:pt x="1254" y="947"/>
                  <a:pt x="1254" y="947"/>
                </a:cubicBezTo>
                <a:cubicBezTo>
                  <a:pt x="1409" y="998"/>
                  <a:pt x="1461" y="1084"/>
                  <a:pt x="1461" y="1188"/>
                </a:cubicBezTo>
                <a:cubicBezTo>
                  <a:pt x="1461" y="1188"/>
                  <a:pt x="1461" y="1188"/>
                  <a:pt x="1461" y="1188"/>
                </a:cubicBezTo>
                <a:cubicBezTo>
                  <a:pt x="1461" y="1308"/>
                  <a:pt x="1375" y="1394"/>
                  <a:pt x="1272" y="1429"/>
                </a:cubicBezTo>
                <a:cubicBezTo>
                  <a:pt x="1272" y="1429"/>
                  <a:pt x="1272" y="1429"/>
                  <a:pt x="1272" y="1549"/>
                </a:cubicBezTo>
                <a:cubicBezTo>
                  <a:pt x="1272" y="1549"/>
                  <a:pt x="1272" y="1549"/>
                  <a:pt x="1100" y="1549"/>
                </a:cubicBezTo>
                <a:close/>
                <a:moveTo>
                  <a:pt x="1168" y="17"/>
                </a:moveTo>
                <a:cubicBezTo>
                  <a:pt x="653" y="17"/>
                  <a:pt x="223" y="396"/>
                  <a:pt x="155" y="912"/>
                </a:cubicBezTo>
                <a:cubicBezTo>
                  <a:pt x="0" y="912"/>
                  <a:pt x="0" y="912"/>
                  <a:pt x="0" y="912"/>
                </a:cubicBezTo>
                <a:cubicBezTo>
                  <a:pt x="241" y="1153"/>
                  <a:pt x="241" y="1153"/>
                  <a:pt x="241" y="1153"/>
                </a:cubicBezTo>
                <a:cubicBezTo>
                  <a:pt x="481" y="912"/>
                  <a:pt x="481" y="912"/>
                  <a:pt x="481" y="912"/>
                </a:cubicBezTo>
                <a:cubicBezTo>
                  <a:pt x="327" y="912"/>
                  <a:pt x="327" y="912"/>
                  <a:pt x="327" y="912"/>
                </a:cubicBezTo>
                <a:cubicBezTo>
                  <a:pt x="378" y="602"/>
                  <a:pt x="584" y="344"/>
                  <a:pt x="876" y="241"/>
                </a:cubicBezTo>
                <a:cubicBezTo>
                  <a:pt x="1323" y="68"/>
                  <a:pt x="1821" y="310"/>
                  <a:pt x="1993" y="757"/>
                </a:cubicBezTo>
                <a:cubicBezTo>
                  <a:pt x="2148" y="1205"/>
                  <a:pt x="1925" y="1704"/>
                  <a:pt x="1461" y="1876"/>
                </a:cubicBezTo>
                <a:cubicBezTo>
                  <a:pt x="1014" y="2031"/>
                  <a:pt x="516" y="1808"/>
                  <a:pt x="361" y="1343"/>
                </a:cubicBezTo>
                <a:cubicBezTo>
                  <a:pt x="206" y="1412"/>
                  <a:pt x="206" y="1412"/>
                  <a:pt x="206" y="1412"/>
                </a:cubicBezTo>
                <a:cubicBezTo>
                  <a:pt x="344" y="1825"/>
                  <a:pt x="739" y="2100"/>
                  <a:pt x="1186" y="2100"/>
                </a:cubicBezTo>
                <a:cubicBezTo>
                  <a:pt x="1753" y="2083"/>
                  <a:pt x="2217" y="1618"/>
                  <a:pt x="2217" y="1050"/>
                </a:cubicBezTo>
                <a:cubicBezTo>
                  <a:pt x="2199" y="465"/>
                  <a:pt x="1736" y="0"/>
                  <a:pt x="1168" y="17"/>
                </a:cubicBezTo>
                <a:close/>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bg1"/>
              </a:solidFill>
              <a:effectLst/>
              <a:uLnTx/>
              <a:uFillTx/>
              <a:latin typeface="Segoe UI"/>
              <a:ea typeface="+mn-ea"/>
              <a:cs typeface="+mn-cs"/>
            </a:endParaRPr>
          </a:p>
        </p:txBody>
      </p:sp>
      <p:grpSp>
        <p:nvGrpSpPr>
          <p:cNvPr id="10" name="Group 4">
            <a:extLst>
              <a:ext uri="{FF2B5EF4-FFF2-40B4-BE49-F238E27FC236}">
                <a16:creationId xmlns:a16="http://schemas.microsoft.com/office/drawing/2014/main" id="{CF4CBEFD-03E1-4470-8E9D-1E31F9DBBF6B}"/>
              </a:ext>
            </a:extLst>
          </p:cNvPr>
          <p:cNvGrpSpPr/>
          <p:nvPr/>
        </p:nvGrpSpPr>
        <p:grpSpPr>
          <a:xfrm>
            <a:off x="5848157" y="3403114"/>
            <a:ext cx="665071" cy="609154"/>
            <a:chOff x="278641" y="2718894"/>
            <a:chExt cx="665355" cy="609413"/>
          </a:xfrm>
          <a:solidFill>
            <a:schemeClr val="bg1"/>
          </a:solidFill>
        </p:grpSpPr>
        <p:grpSp>
          <p:nvGrpSpPr>
            <p:cNvPr id="11" name="Group 8">
              <a:extLst>
                <a:ext uri="{FF2B5EF4-FFF2-40B4-BE49-F238E27FC236}">
                  <a16:creationId xmlns:a16="http://schemas.microsoft.com/office/drawing/2014/main" id="{1617B74B-458C-4716-AD47-429CFF227218}"/>
                </a:ext>
              </a:extLst>
            </p:cNvPr>
            <p:cNvGrpSpPr>
              <a:grpSpLocks noChangeAspect="1"/>
            </p:cNvGrpSpPr>
            <p:nvPr/>
          </p:nvGrpSpPr>
          <p:grpSpPr bwMode="auto">
            <a:xfrm>
              <a:off x="278641" y="2718894"/>
              <a:ext cx="665355" cy="609413"/>
              <a:chOff x="1123" y="-357"/>
              <a:chExt cx="5590" cy="5120"/>
            </a:xfrm>
            <a:grpFill/>
          </p:grpSpPr>
          <p:sp>
            <p:nvSpPr>
              <p:cNvPr id="13" name="Freeform 9">
                <a:extLst>
                  <a:ext uri="{FF2B5EF4-FFF2-40B4-BE49-F238E27FC236}">
                    <a16:creationId xmlns:a16="http://schemas.microsoft.com/office/drawing/2014/main" id="{64DC4584-CB15-424E-BD96-E2E91411423B}"/>
                  </a:ext>
                </a:extLst>
              </p:cNvPr>
              <p:cNvSpPr>
                <a:spLocks/>
              </p:cNvSpPr>
              <p:nvPr/>
            </p:nvSpPr>
            <p:spPr bwMode="auto">
              <a:xfrm>
                <a:off x="1123" y="1011"/>
                <a:ext cx="5590" cy="1667"/>
              </a:xfrm>
              <a:custGeom>
                <a:avLst/>
                <a:gdLst>
                  <a:gd name="T0" fmla="*/ 0 w 2363"/>
                  <a:gd name="T1" fmla="*/ 622 h 705"/>
                  <a:gd name="T2" fmla="*/ 90 w 2363"/>
                  <a:gd name="T3" fmla="*/ 705 h 705"/>
                  <a:gd name="T4" fmla="*/ 2273 w 2363"/>
                  <a:gd name="T5" fmla="*/ 705 h 705"/>
                  <a:gd name="T6" fmla="*/ 2363 w 2363"/>
                  <a:gd name="T7" fmla="*/ 622 h 705"/>
                  <a:gd name="T8" fmla="*/ 2363 w 2363"/>
                  <a:gd name="T9" fmla="*/ 0 h 705"/>
                  <a:gd name="T10" fmla="*/ 0 w 2363"/>
                  <a:gd name="T11" fmla="*/ 0 h 705"/>
                  <a:gd name="T12" fmla="*/ 0 w 2363"/>
                  <a:gd name="T13" fmla="*/ 622 h 705"/>
                  <a:gd name="T14" fmla="*/ 0 w 2363"/>
                  <a:gd name="T15" fmla="*/ 622 h 7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3" h="705">
                    <a:moveTo>
                      <a:pt x="0" y="622"/>
                    </a:moveTo>
                    <a:cubicBezTo>
                      <a:pt x="0" y="667"/>
                      <a:pt x="45" y="705"/>
                      <a:pt x="90" y="705"/>
                    </a:cubicBezTo>
                    <a:cubicBezTo>
                      <a:pt x="2273" y="705"/>
                      <a:pt x="2273" y="705"/>
                      <a:pt x="2273" y="705"/>
                    </a:cubicBezTo>
                    <a:cubicBezTo>
                      <a:pt x="2324" y="705"/>
                      <a:pt x="2363" y="667"/>
                      <a:pt x="2363" y="622"/>
                    </a:cubicBezTo>
                    <a:cubicBezTo>
                      <a:pt x="2363" y="0"/>
                      <a:pt x="2363" y="0"/>
                      <a:pt x="2363" y="0"/>
                    </a:cubicBezTo>
                    <a:cubicBezTo>
                      <a:pt x="0" y="0"/>
                      <a:pt x="0" y="0"/>
                      <a:pt x="0" y="0"/>
                    </a:cubicBezTo>
                    <a:cubicBezTo>
                      <a:pt x="0" y="622"/>
                      <a:pt x="0" y="622"/>
                      <a:pt x="0" y="622"/>
                    </a:cubicBezTo>
                    <a:cubicBezTo>
                      <a:pt x="0" y="622"/>
                      <a:pt x="0" y="622"/>
                      <a:pt x="0" y="6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bg1"/>
                  </a:solidFill>
                  <a:effectLst/>
                  <a:uLnTx/>
                  <a:uFillTx/>
                  <a:latin typeface="Segoe UI"/>
                  <a:ea typeface="+mn-ea"/>
                  <a:cs typeface="+mn-cs"/>
                </a:endParaRPr>
              </a:p>
            </p:txBody>
          </p:sp>
          <p:sp>
            <p:nvSpPr>
              <p:cNvPr id="14" name="Freeform 10">
                <a:extLst>
                  <a:ext uri="{FF2B5EF4-FFF2-40B4-BE49-F238E27FC236}">
                    <a16:creationId xmlns:a16="http://schemas.microsoft.com/office/drawing/2014/main" id="{31C2CF14-D690-47F6-B96F-A237205752E1}"/>
                  </a:ext>
                </a:extLst>
              </p:cNvPr>
              <p:cNvSpPr>
                <a:spLocks noEditPoints="1"/>
              </p:cNvSpPr>
              <p:nvPr/>
            </p:nvSpPr>
            <p:spPr bwMode="auto">
              <a:xfrm>
                <a:off x="1211" y="-357"/>
                <a:ext cx="5412" cy="1122"/>
              </a:xfrm>
              <a:custGeom>
                <a:avLst/>
                <a:gdLst>
                  <a:gd name="T0" fmla="*/ 2256 w 2288"/>
                  <a:gd name="T1" fmla="*/ 435 h 474"/>
                  <a:gd name="T2" fmla="*/ 2050 w 2288"/>
                  <a:gd name="T3" fmla="*/ 292 h 474"/>
                  <a:gd name="T4" fmla="*/ 1947 w 2288"/>
                  <a:gd name="T5" fmla="*/ 260 h 474"/>
                  <a:gd name="T6" fmla="*/ 1553 w 2288"/>
                  <a:gd name="T7" fmla="*/ 260 h 474"/>
                  <a:gd name="T8" fmla="*/ 1553 w 2288"/>
                  <a:gd name="T9" fmla="*/ 169 h 474"/>
                  <a:gd name="T10" fmla="*/ 1631 w 2288"/>
                  <a:gd name="T11" fmla="*/ 188 h 474"/>
                  <a:gd name="T12" fmla="*/ 1663 w 2288"/>
                  <a:gd name="T13" fmla="*/ 78 h 474"/>
                  <a:gd name="T14" fmla="*/ 1147 w 2288"/>
                  <a:gd name="T15" fmla="*/ 0 h 474"/>
                  <a:gd name="T16" fmla="*/ 626 w 2288"/>
                  <a:gd name="T17" fmla="*/ 78 h 474"/>
                  <a:gd name="T18" fmla="*/ 664 w 2288"/>
                  <a:gd name="T19" fmla="*/ 188 h 474"/>
                  <a:gd name="T20" fmla="*/ 735 w 2288"/>
                  <a:gd name="T21" fmla="*/ 169 h 474"/>
                  <a:gd name="T22" fmla="*/ 735 w 2288"/>
                  <a:gd name="T23" fmla="*/ 260 h 474"/>
                  <a:gd name="T24" fmla="*/ 348 w 2288"/>
                  <a:gd name="T25" fmla="*/ 260 h 474"/>
                  <a:gd name="T26" fmla="*/ 239 w 2288"/>
                  <a:gd name="T27" fmla="*/ 292 h 474"/>
                  <a:gd name="T28" fmla="*/ 39 w 2288"/>
                  <a:gd name="T29" fmla="*/ 435 h 474"/>
                  <a:gd name="T30" fmla="*/ 0 w 2288"/>
                  <a:gd name="T31" fmla="*/ 474 h 474"/>
                  <a:gd name="T32" fmla="*/ 2288 w 2288"/>
                  <a:gd name="T33" fmla="*/ 474 h 474"/>
                  <a:gd name="T34" fmla="*/ 2256 w 2288"/>
                  <a:gd name="T35" fmla="*/ 435 h 474"/>
                  <a:gd name="T36" fmla="*/ 1450 w 2288"/>
                  <a:gd name="T37" fmla="*/ 260 h 474"/>
                  <a:gd name="T38" fmla="*/ 838 w 2288"/>
                  <a:gd name="T39" fmla="*/ 260 h 474"/>
                  <a:gd name="T40" fmla="*/ 838 w 2288"/>
                  <a:gd name="T41" fmla="*/ 143 h 474"/>
                  <a:gd name="T42" fmla="*/ 1147 w 2288"/>
                  <a:gd name="T43" fmla="*/ 117 h 474"/>
                  <a:gd name="T44" fmla="*/ 1450 w 2288"/>
                  <a:gd name="T45" fmla="*/ 143 h 474"/>
                  <a:gd name="T46" fmla="*/ 1450 w 2288"/>
                  <a:gd name="T47" fmla="*/ 260 h 474"/>
                  <a:gd name="T48" fmla="*/ 1450 w 2288"/>
                  <a:gd name="T49" fmla="*/ 26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88" h="474">
                    <a:moveTo>
                      <a:pt x="2256" y="435"/>
                    </a:moveTo>
                    <a:cubicBezTo>
                      <a:pt x="2050" y="292"/>
                      <a:pt x="2050" y="292"/>
                      <a:pt x="2050" y="292"/>
                    </a:cubicBezTo>
                    <a:cubicBezTo>
                      <a:pt x="2024" y="273"/>
                      <a:pt x="1979" y="260"/>
                      <a:pt x="1947" y="260"/>
                    </a:cubicBezTo>
                    <a:cubicBezTo>
                      <a:pt x="1553" y="260"/>
                      <a:pt x="1553" y="260"/>
                      <a:pt x="1553" y="260"/>
                    </a:cubicBezTo>
                    <a:cubicBezTo>
                      <a:pt x="1553" y="169"/>
                      <a:pt x="1553" y="169"/>
                      <a:pt x="1553" y="169"/>
                    </a:cubicBezTo>
                    <a:cubicBezTo>
                      <a:pt x="1579" y="175"/>
                      <a:pt x="1605" y="182"/>
                      <a:pt x="1631" y="188"/>
                    </a:cubicBezTo>
                    <a:cubicBezTo>
                      <a:pt x="1663" y="78"/>
                      <a:pt x="1663" y="78"/>
                      <a:pt x="1663" y="78"/>
                    </a:cubicBezTo>
                    <a:cubicBezTo>
                      <a:pt x="1470" y="13"/>
                      <a:pt x="1270" y="0"/>
                      <a:pt x="1147" y="0"/>
                    </a:cubicBezTo>
                    <a:cubicBezTo>
                      <a:pt x="1025" y="0"/>
                      <a:pt x="825" y="13"/>
                      <a:pt x="626" y="78"/>
                    </a:cubicBezTo>
                    <a:cubicBezTo>
                      <a:pt x="664" y="188"/>
                      <a:pt x="664" y="188"/>
                      <a:pt x="664" y="188"/>
                    </a:cubicBezTo>
                    <a:cubicBezTo>
                      <a:pt x="690" y="182"/>
                      <a:pt x="716" y="175"/>
                      <a:pt x="735" y="169"/>
                    </a:cubicBezTo>
                    <a:cubicBezTo>
                      <a:pt x="735" y="260"/>
                      <a:pt x="735" y="260"/>
                      <a:pt x="735" y="260"/>
                    </a:cubicBezTo>
                    <a:cubicBezTo>
                      <a:pt x="348" y="260"/>
                      <a:pt x="348" y="260"/>
                      <a:pt x="348" y="260"/>
                    </a:cubicBezTo>
                    <a:cubicBezTo>
                      <a:pt x="316" y="260"/>
                      <a:pt x="265" y="273"/>
                      <a:pt x="239" y="292"/>
                    </a:cubicBezTo>
                    <a:cubicBezTo>
                      <a:pt x="39" y="435"/>
                      <a:pt x="39" y="435"/>
                      <a:pt x="39" y="435"/>
                    </a:cubicBezTo>
                    <a:cubicBezTo>
                      <a:pt x="26" y="448"/>
                      <a:pt x="13" y="461"/>
                      <a:pt x="0" y="474"/>
                    </a:cubicBezTo>
                    <a:cubicBezTo>
                      <a:pt x="2288" y="474"/>
                      <a:pt x="2288" y="474"/>
                      <a:pt x="2288" y="474"/>
                    </a:cubicBezTo>
                    <a:cubicBezTo>
                      <a:pt x="2275" y="461"/>
                      <a:pt x="2269" y="448"/>
                      <a:pt x="2256" y="435"/>
                    </a:cubicBezTo>
                    <a:close/>
                    <a:moveTo>
                      <a:pt x="1450" y="260"/>
                    </a:moveTo>
                    <a:cubicBezTo>
                      <a:pt x="838" y="260"/>
                      <a:pt x="838" y="260"/>
                      <a:pt x="838" y="260"/>
                    </a:cubicBezTo>
                    <a:cubicBezTo>
                      <a:pt x="838" y="143"/>
                      <a:pt x="838" y="143"/>
                      <a:pt x="838" y="143"/>
                    </a:cubicBezTo>
                    <a:cubicBezTo>
                      <a:pt x="961" y="123"/>
                      <a:pt x="1070" y="117"/>
                      <a:pt x="1147" y="117"/>
                    </a:cubicBezTo>
                    <a:cubicBezTo>
                      <a:pt x="1225" y="117"/>
                      <a:pt x="1334" y="123"/>
                      <a:pt x="1450" y="143"/>
                    </a:cubicBezTo>
                    <a:cubicBezTo>
                      <a:pt x="1450" y="260"/>
                      <a:pt x="1450" y="260"/>
                      <a:pt x="1450" y="260"/>
                    </a:cubicBezTo>
                    <a:cubicBezTo>
                      <a:pt x="1450" y="260"/>
                      <a:pt x="1450" y="260"/>
                      <a:pt x="1450" y="2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bg1"/>
                  </a:solidFill>
                  <a:effectLst/>
                  <a:uLnTx/>
                  <a:uFillTx/>
                  <a:latin typeface="Segoe UI"/>
                  <a:ea typeface="+mn-ea"/>
                  <a:cs typeface="+mn-cs"/>
                </a:endParaRPr>
              </a:p>
            </p:txBody>
          </p:sp>
          <p:sp>
            <p:nvSpPr>
              <p:cNvPr id="15" name="Freeform 11">
                <a:extLst>
                  <a:ext uri="{FF2B5EF4-FFF2-40B4-BE49-F238E27FC236}">
                    <a16:creationId xmlns:a16="http://schemas.microsoft.com/office/drawing/2014/main" id="{2E2E76C9-1E8A-45A2-B755-D4448C08DF5A}"/>
                  </a:ext>
                </a:extLst>
              </p:cNvPr>
              <p:cNvSpPr>
                <a:spLocks/>
              </p:cNvSpPr>
              <p:nvPr/>
            </p:nvSpPr>
            <p:spPr bwMode="auto">
              <a:xfrm>
                <a:off x="1346" y="2927"/>
                <a:ext cx="5154" cy="1836"/>
              </a:xfrm>
              <a:custGeom>
                <a:avLst/>
                <a:gdLst>
                  <a:gd name="T0" fmla="*/ 1369 w 2179"/>
                  <a:gd name="T1" fmla="*/ 167 h 776"/>
                  <a:gd name="T2" fmla="*/ 816 w 2179"/>
                  <a:gd name="T3" fmla="*/ 167 h 776"/>
                  <a:gd name="T4" fmla="*/ 816 w 2179"/>
                  <a:gd name="T5" fmla="*/ 0 h 776"/>
                  <a:gd name="T6" fmla="*/ 0 w 2179"/>
                  <a:gd name="T7" fmla="*/ 0 h 776"/>
                  <a:gd name="T8" fmla="*/ 0 w 2179"/>
                  <a:gd name="T9" fmla="*/ 693 h 776"/>
                  <a:gd name="T10" fmla="*/ 90 w 2179"/>
                  <a:gd name="T11" fmla="*/ 776 h 776"/>
                  <a:gd name="T12" fmla="*/ 2095 w 2179"/>
                  <a:gd name="T13" fmla="*/ 776 h 776"/>
                  <a:gd name="T14" fmla="*/ 2179 w 2179"/>
                  <a:gd name="T15" fmla="*/ 693 h 776"/>
                  <a:gd name="T16" fmla="*/ 2179 w 2179"/>
                  <a:gd name="T17" fmla="*/ 0 h 776"/>
                  <a:gd name="T18" fmla="*/ 1369 w 2179"/>
                  <a:gd name="T19" fmla="*/ 0 h 776"/>
                  <a:gd name="T20" fmla="*/ 1369 w 2179"/>
                  <a:gd name="T21" fmla="*/ 167 h 776"/>
                  <a:gd name="T22" fmla="*/ 1369 w 2179"/>
                  <a:gd name="T23" fmla="*/ 167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9" h="776">
                    <a:moveTo>
                      <a:pt x="1369" y="167"/>
                    </a:moveTo>
                    <a:cubicBezTo>
                      <a:pt x="816" y="167"/>
                      <a:pt x="816" y="167"/>
                      <a:pt x="816" y="167"/>
                    </a:cubicBezTo>
                    <a:cubicBezTo>
                      <a:pt x="816" y="0"/>
                      <a:pt x="816" y="0"/>
                      <a:pt x="816" y="0"/>
                    </a:cubicBezTo>
                    <a:cubicBezTo>
                      <a:pt x="0" y="0"/>
                      <a:pt x="0" y="0"/>
                      <a:pt x="0" y="0"/>
                    </a:cubicBezTo>
                    <a:cubicBezTo>
                      <a:pt x="0" y="693"/>
                      <a:pt x="0" y="693"/>
                      <a:pt x="0" y="693"/>
                    </a:cubicBezTo>
                    <a:cubicBezTo>
                      <a:pt x="0" y="738"/>
                      <a:pt x="39" y="776"/>
                      <a:pt x="90" y="776"/>
                    </a:cubicBezTo>
                    <a:cubicBezTo>
                      <a:pt x="2095" y="776"/>
                      <a:pt x="2095" y="776"/>
                      <a:pt x="2095" y="776"/>
                    </a:cubicBezTo>
                    <a:cubicBezTo>
                      <a:pt x="2140" y="776"/>
                      <a:pt x="2179" y="738"/>
                      <a:pt x="2179" y="693"/>
                    </a:cubicBezTo>
                    <a:cubicBezTo>
                      <a:pt x="2179" y="0"/>
                      <a:pt x="2179" y="0"/>
                      <a:pt x="2179" y="0"/>
                    </a:cubicBezTo>
                    <a:cubicBezTo>
                      <a:pt x="1369" y="0"/>
                      <a:pt x="1369" y="0"/>
                      <a:pt x="1369" y="0"/>
                    </a:cubicBezTo>
                    <a:cubicBezTo>
                      <a:pt x="1369" y="167"/>
                      <a:pt x="1369" y="167"/>
                      <a:pt x="1369" y="167"/>
                    </a:cubicBezTo>
                    <a:cubicBezTo>
                      <a:pt x="1369" y="167"/>
                      <a:pt x="1369" y="167"/>
                      <a:pt x="1369"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bg1"/>
                  </a:solidFill>
                  <a:effectLst/>
                  <a:uLnTx/>
                  <a:uFillTx/>
                  <a:latin typeface="Segoe UI"/>
                  <a:ea typeface="+mn-ea"/>
                  <a:cs typeface="+mn-cs"/>
                </a:endParaRPr>
              </a:p>
            </p:txBody>
          </p:sp>
        </p:grpSp>
        <p:sp>
          <p:nvSpPr>
            <p:cNvPr id="12" name="Rectangle 7">
              <a:extLst>
                <a:ext uri="{FF2B5EF4-FFF2-40B4-BE49-F238E27FC236}">
                  <a16:creationId xmlns:a16="http://schemas.microsoft.com/office/drawing/2014/main" id="{132BFBEC-09E2-4F2B-9593-9394C797540B}"/>
                </a:ext>
              </a:extLst>
            </p:cNvPr>
            <p:cNvSpPr/>
            <p:nvPr/>
          </p:nvSpPr>
          <p:spPr bwMode="auto">
            <a:xfrm>
              <a:off x="525203" y="3109913"/>
              <a:ext cx="249090" cy="6018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grpSp>
      <p:sp>
        <p:nvSpPr>
          <p:cNvPr id="16" name="Freeform 19">
            <a:extLst>
              <a:ext uri="{FF2B5EF4-FFF2-40B4-BE49-F238E27FC236}">
                <a16:creationId xmlns:a16="http://schemas.microsoft.com/office/drawing/2014/main" id="{7EF839DB-4FC1-471B-81C3-DB60CFE321B6}"/>
              </a:ext>
            </a:extLst>
          </p:cNvPr>
          <p:cNvSpPr>
            <a:spLocks/>
          </p:cNvSpPr>
          <p:nvPr/>
        </p:nvSpPr>
        <p:spPr bwMode="auto">
          <a:xfrm>
            <a:off x="10074213" y="3312550"/>
            <a:ext cx="765688" cy="699719"/>
          </a:xfrm>
          <a:custGeom>
            <a:avLst/>
            <a:gdLst>
              <a:gd name="T0" fmla="*/ 2120 w 2120"/>
              <a:gd name="T1" fmla="*/ 962 h 1936"/>
              <a:gd name="T2" fmla="*/ 1834 w 2120"/>
              <a:gd name="T3" fmla="*/ 559 h 1936"/>
              <a:gd name="T4" fmla="*/ 1060 w 2120"/>
              <a:gd name="T5" fmla="*/ 0 h 1936"/>
              <a:gd name="T6" fmla="*/ 286 w 2120"/>
              <a:gd name="T7" fmla="*/ 559 h 1936"/>
              <a:gd name="T8" fmla="*/ 0 w 2120"/>
              <a:gd name="T9" fmla="*/ 962 h 1936"/>
              <a:gd name="T10" fmla="*/ 429 w 2120"/>
              <a:gd name="T11" fmla="*/ 1384 h 1936"/>
              <a:gd name="T12" fmla="*/ 429 w 2120"/>
              <a:gd name="T13" fmla="*/ 612 h 1936"/>
              <a:gd name="T14" fmla="*/ 1060 w 2120"/>
              <a:gd name="T15" fmla="*/ 149 h 1936"/>
              <a:gd name="T16" fmla="*/ 1691 w 2120"/>
              <a:gd name="T17" fmla="*/ 606 h 1936"/>
              <a:gd name="T18" fmla="*/ 1691 w 2120"/>
              <a:gd name="T19" fmla="*/ 1331 h 1936"/>
              <a:gd name="T20" fmla="*/ 1251 w 2120"/>
              <a:gd name="T21" fmla="*/ 1758 h 1936"/>
              <a:gd name="T22" fmla="*/ 1126 w 2120"/>
              <a:gd name="T23" fmla="*/ 1675 h 1936"/>
              <a:gd name="T24" fmla="*/ 994 w 2120"/>
              <a:gd name="T25" fmla="*/ 1806 h 1936"/>
              <a:gd name="T26" fmla="*/ 1126 w 2120"/>
              <a:gd name="T27" fmla="*/ 1936 h 1936"/>
              <a:gd name="T28" fmla="*/ 1251 w 2120"/>
              <a:gd name="T29" fmla="*/ 1847 h 1936"/>
              <a:gd name="T30" fmla="*/ 1769 w 2120"/>
              <a:gd name="T31" fmla="*/ 1378 h 1936"/>
              <a:gd name="T32" fmla="*/ 2120 w 2120"/>
              <a:gd name="T33" fmla="*/ 962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0" h="1936">
                <a:moveTo>
                  <a:pt x="2120" y="962"/>
                </a:moveTo>
                <a:cubicBezTo>
                  <a:pt x="2120" y="772"/>
                  <a:pt x="2001" y="618"/>
                  <a:pt x="1834" y="559"/>
                </a:cubicBezTo>
                <a:cubicBezTo>
                  <a:pt x="1727" y="238"/>
                  <a:pt x="1423" y="0"/>
                  <a:pt x="1060" y="0"/>
                </a:cubicBezTo>
                <a:cubicBezTo>
                  <a:pt x="703" y="0"/>
                  <a:pt x="393" y="232"/>
                  <a:pt x="286" y="559"/>
                </a:cubicBezTo>
                <a:cubicBezTo>
                  <a:pt x="119" y="618"/>
                  <a:pt x="0" y="772"/>
                  <a:pt x="0" y="962"/>
                </a:cubicBezTo>
                <a:cubicBezTo>
                  <a:pt x="0" y="1194"/>
                  <a:pt x="191" y="1384"/>
                  <a:pt x="429" y="1384"/>
                </a:cubicBezTo>
                <a:cubicBezTo>
                  <a:pt x="429" y="612"/>
                  <a:pt x="429" y="612"/>
                  <a:pt x="429" y="612"/>
                </a:cubicBezTo>
                <a:cubicBezTo>
                  <a:pt x="512" y="339"/>
                  <a:pt x="762" y="149"/>
                  <a:pt x="1060" y="149"/>
                </a:cubicBezTo>
                <a:cubicBezTo>
                  <a:pt x="1358" y="149"/>
                  <a:pt x="1608" y="339"/>
                  <a:pt x="1691" y="606"/>
                </a:cubicBezTo>
                <a:cubicBezTo>
                  <a:pt x="1691" y="1331"/>
                  <a:pt x="1691" y="1331"/>
                  <a:pt x="1691" y="1331"/>
                </a:cubicBezTo>
                <a:cubicBezTo>
                  <a:pt x="1661" y="1396"/>
                  <a:pt x="1483" y="1752"/>
                  <a:pt x="1251" y="1758"/>
                </a:cubicBezTo>
                <a:cubicBezTo>
                  <a:pt x="1233" y="1711"/>
                  <a:pt x="1185" y="1675"/>
                  <a:pt x="1126" y="1675"/>
                </a:cubicBezTo>
                <a:cubicBezTo>
                  <a:pt x="1054" y="1675"/>
                  <a:pt x="994" y="1735"/>
                  <a:pt x="994" y="1806"/>
                </a:cubicBezTo>
                <a:cubicBezTo>
                  <a:pt x="994" y="1877"/>
                  <a:pt x="1054" y="1936"/>
                  <a:pt x="1126" y="1936"/>
                </a:cubicBezTo>
                <a:cubicBezTo>
                  <a:pt x="1185" y="1936"/>
                  <a:pt x="1233" y="1901"/>
                  <a:pt x="1251" y="1847"/>
                </a:cubicBezTo>
                <a:cubicBezTo>
                  <a:pt x="1530" y="1841"/>
                  <a:pt x="1727" y="1467"/>
                  <a:pt x="1769" y="1378"/>
                </a:cubicBezTo>
                <a:cubicBezTo>
                  <a:pt x="1971" y="1343"/>
                  <a:pt x="2120" y="1170"/>
                  <a:pt x="2120" y="962"/>
                </a:cubicBezTo>
                <a:close/>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bg1"/>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398DAF9A-3741-4271-AFE3-73EEA41DD827}"/>
              </a:ext>
            </a:extLst>
          </p:cNvPr>
          <p:cNvSpPr/>
          <p:nvPr/>
        </p:nvSpPr>
        <p:spPr bwMode="auto">
          <a:xfrm>
            <a:off x="3505001" y="5674909"/>
            <a:ext cx="2114550" cy="93905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Segoe UI Light"/>
                <a:ea typeface="+mn-ea"/>
                <a:cs typeface="+mn-cs"/>
              </a:rPr>
              <a:t>Set package </a:t>
            </a:r>
            <a:br>
              <a:rPr kumimoji="0" lang="en-US" sz="2400" b="0" i="0" u="none" strike="noStrike" kern="0" cap="none" spc="0" normalizeH="0" baseline="0" noProof="0" dirty="0">
                <a:ln>
                  <a:noFill/>
                </a:ln>
                <a:solidFill>
                  <a:schemeClr val="tx2"/>
                </a:solidFill>
                <a:effectLst/>
                <a:uLnTx/>
                <a:uFillTx/>
                <a:latin typeface="Segoe UI Light"/>
                <a:ea typeface="+mn-ea"/>
                <a:cs typeface="+mn-cs"/>
              </a:rPr>
            </a:br>
            <a:r>
              <a:rPr kumimoji="0" lang="en-US" sz="2400" b="0" i="0" u="none" strike="noStrike" kern="0" cap="none" spc="0" normalizeH="0" baseline="0" noProof="0" dirty="0">
                <a:ln>
                  <a:noFill/>
                </a:ln>
                <a:solidFill>
                  <a:schemeClr val="tx2"/>
                </a:solidFill>
                <a:effectLst/>
                <a:uLnTx/>
                <a:uFillTx/>
                <a:latin typeface="Segoe UI Light"/>
                <a:ea typeface="+mn-ea"/>
                <a:cs typeface="+mn-cs"/>
              </a:rPr>
              <a:t>price and sell </a:t>
            </a:r>
            <a:br>
              <a:rPr kumimoji="0" lang="en-US" sz="2400" b="0" i="0" u="none" strike="noStrike" kern="0" cap="none" spc="0" normalizeH="0" baseline="0" noProof="0" dirty="0">
                <a:ln>
                  <a:noFill/>
                </a:ln>
                <a:solidFill>
                  <a:schemeClr val="tx2"/>
                </a:solidFill>
                <a:effectLst/>
                <a:uLnTx/>
                <a:uFillTx/>
                <a:latin typeface="Segoe UI Light"/>
                <a:ea typeface="+mn-ea"/>
                <a:cs typeface="+mn-cs"/>
              </a:rPr>
            </a:br>
            <a:r>
              <a:rPr kumimoji="0" lang="en-US" sz="2400" b="0" i="0" u="none" strike="noStrike" kern="0" cap="none" spc="0" normalizeH="0" baseline="0" noProof="0" dirty="0">
                <a:ln>
                  <a:noFill/>
                </a:ln>
                <a:solidFill>
                  <a:schemeClr val="tx2"/>
                </a:solidFill>
                <a:effectLst/>
                <a:uLnTx/>
                <a:uFillTx/>
                <a:latin typeface="Segoe UI Light"/>
                <a:ea typeface="+mn-ea"/>
                <a:cs typeface="+mn-cs"/>
              </a:rPr>
              <a:t>to customers</a:t>
            </a:r>
          </a:p>
        </p:txBody>
      </p:sp>
      <p:sp>
        <p:nvSpPr>
          <p:cNvPr id="31" name="Rectangle 35">
            <a:extLst>
              <a:ext uri="{FF2B5EF4-FFF2-40B4-BE49-F238E27FC236}">
                <a16:creationId xmlns:a16="http://schemas.microsoft.com/office/drawing/2014/main" id="{4E7B4B9B-C98E-4384-B58E-C147457B559B}"/>
              </a:ext>
            </a:extLst>
          </p:cNvPr>
          <p:cNvSpPr/>
          <p:nvPr/>
        </p:nvSpPr>
        <p:spPr bwMode="auto">
          <a:xfrm>
            <a:off x="6510948" y="5674909"/>
            <a:ext cx="2114550" cy="93905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Segoe UI Light"/>
                <a:ea typeface="+mn-ea"/>
                <a:cs typeface="+mn-cs"/>
              </a:rPr>
              <a:t>Place order </a:t>
            </a:r>
            <a:br>
              <a:rPr kumimoji="0" lang="en-US" sz="2400" b="0" i="0" u="none" strike="noStrike" kern="0" cap="none" spc="0" normalizeH="0" baseline="0" noProof="0" dirty="0">
                <a:ln>
                  <a:noFill/>
                </a:ln>
                <a:solidFill>
                  <a:schemeClr val="tx2"/>
                </a:solidFill>
                <a:effectLst/>
                <a:uLnTx/>
                <a:uFillTx/>
                <a:latin typeface="Segoe UI Light"/>
                <a:ea typeface="+mn-ea"/>
                <a:cs typeface="+mn-cs"/>
              </a:rPr>
            </a:br>
            <a:r>
              <a:rPr kumimoji="0" lang="en-US" sz="2400" b="0" i="0" u="none" strike="noStrike" kern="0" cap="none" spc="0" normalizeH="0" baseline="0" noProof="0" dirty="0">
                <a:ln>
                  <a:noFill/>
                </a:ln>
                <a:solidFill>
                  <a:schemeClr val="tx2"/>
                </a:solidFill>
                <a:effectLst/>
                <a:uLnTx/>
                <a:uFillTx/>
                <a:latin typeface="Segoe UI Light"/>
                <a:ea typeface="+mn-ea"/>
                <a:cs typeface="+mn-cs"/>
              </a:rPr>
              <a:t>for Microsoft </a:t>
            </a:r>
            <a:br>
              <a:rPr kumimoji="0" lang="en-US" sz="2400" b="0" i="0" u="none" strike="noStrike" kern="0" cap="none" spc="0" normalizeH="0" baseline="0" noProof="0" dirty="0">
                <a:ln>
                  <a:noFill/>
                </a:ln>
                <a:solidFill>
                  <a:schemeClr val="tx2"/>
                </a:solidFill>
                <a:effectLst/>
                <a:uLnTx/>
                <a:uFillTx/>
                <a:latin typeface="Segoe UI Light"/>
                <a:ea typeface="+mn-ea"/>
                <a:cs typeface="+mn-cs"/>
              </a:rPr>
            </a:br>
            <a:r>
              <a:rPr kumimoji="0" lang="en-US" sz="2400" b="0" i="0" u="none" strike="noStrike" kern="0" cap="none" spc="0" normalizeH="0" baseline="0" noProof="0" dirty="0">
                <a:ln>
                  <a:noFill/>
                </a:ln>
                <a:solidFill>
                  <a:schemeClr val="tx2"/>
                </a:solidFill>
                <a:effectLst/>
                <a:uLnTx/>
                <a:uFillTx/>
                <a:latin typeface="Segoe UI Light"/>
                <a:ea typeface="+mn-ea"/>
                <a:cs typeface="+mn-cs"/>
              </a:rPr>
              <a:t>Cloud Services</a:t>
            </a:r>
          </a:p>
        </p:txBody>
      </p:sp>
      <p:sp>
        <p:nvSpPr>
          <p:cNvPr id="32" name="Rectangle 43">
            <a:extLst>
              <a:ext uri="{FF2B5EF4-FFF2-40B4-BE49-F238E27FC236}">
                <a16:creationId xmlns:a16="http://schemas.microsoft.com/office/drawing/2014/main" id="{1D269448-CA5B-4370-9C11-DB6833CEFFA9}"/>
              </a:ext>
            </a:extLst>
          </p:cNvPr>
          <p:cNvSpPr/>
          <p:nvPr/>
        </p:nvSpPr>
        <p:spPr bwMode="auto">
          <a:xfrm>
            <a:off x="9862589" y="5674909"/>
            <a:ext cx="2114550" cy="93905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Segoe UI Light"/>
                <a:ea typeface="+mn-ea"/>
                <a:cs typeface="+mn-cs"/>
              </a:rPr>
              <a:t>Offer single packaged </a:t>
            </a:r>
            <a:br>
              <a:rPr kumimoji="0" lang="en-US" sz="2400" b="0" i="0" u="none" strike="noStrike" kern="0" cap="none" spc="0" normalizeH="0" baseline="0" noProof="0" dirty="0">
                <a:ln>
                  <a:noFill/>
                </a:ln>
                <a:solidFill>
                  <a:schemeClr val="tx2"/>
                </a:solidFill>
                <a:effectLst/>
                <a:uLnTx/>
                <a:uFillTx/>
                <a:latin typeface="Segoe UI Light"/>
                <a:ea typeface="+mn-ea"/>
                <a:cs typeface="+mn-cs"/>
              </a:rPr>
            </a:br>
            <a:r>
              <a:rPr kumimoji="0" lang="en-US" sz="2400" b="0" i="0" u="none" strike="noStrike" kern="0" cap="none" spc="0" normalizeH="0" baseline="0" noProof="0" dirty="0">
                <a:ln>
                  <a:noFill/>
                </a:ln>
                <a:solidFill>
                  <a:schemeClr val="tx2"/>
                </a:solidFill>
                <a:effectLst/>
                <a:uLnTx/>
                <a:uFillTx/>
                <a:latin typeface="Segoe UI Light"/>
                <a:ea typeface="+mn-ea"/>
                <a:cs typeface="+mn-cs"/>
              </a:rPr>
              <a:t>solution</a:t>
            </a:r>
          </a:p>
        </p:txBody>
      </p:sp>
      <p:sp>
        <p:nvSpPr>
          <p:cNvPr id="33" name="Rectangle 21">
            <a:extLst>
              <a:ext uri="{FF2B5EF4-FFF2-40B4-BE49-F238E27FC236}">
                <a16:creationId xmlns:a16="http://schemas.microsoft.com/office/drawing/2014/main" id="{C6610D0E-6983-4FAA-BA30-A2F0C6A9DC55}"/>
              </a:ext>
            </a:extLst>
          </p:cNvPr>
          <p:cNvSpPr/>
          <p:nvPr/>
        </p:nvSpPr>
        <p:spPr bwMode="auto">
          <a:xfrm>
            <a:off x="491968" y="5674909"/>
            <a:ext cx="2114550" cy="93905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Segoe UI Light"/>
                <a:ea typeface="+mn-ea"/>
                <a:cs typeface="+mn-cs"/>
              </a:rPr>
              <a:t>Create cloud subscription + partner offer</a:t>
            </a:r>
          </a:p>
        </p:txBody>
      </p:sp>
    </p:spTree>
    <p:extLst>
      <p:ext uri="{BB962C8B-B14F-4D97-AF65-F5344CB8AC3E}">
        <p14:creationId xmlns:p14="http://schemas.microsoft.com/office/powerpoint/2010/main" val="318848995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80785-6433-41F8-895D-452B94D57A54}"/>
              </a:ext>
            </a:extLst>
          </p:cNvPr>
          <p:cNvSpPr>
            <a:spLocks noGrp="1"/>
          </p:cNvSpPr>
          <p:nvPr>
            <p:ph type="title"/>
          </p:nvPr>
        </p:nvSpPr>
        <p:spPr/>
        <p:txBody>
          <a:bodyPr/>
          <a:lstStyle/>
          <a:p>
            <a:r>
              <a:rPr lang="en-US" dirty="0"/>
              <a:t>One program, two different Business Models</a:t>
            </a:r>
            <a:endParaRPr lang="en-IN" dirty="0"/>
          </a:p>
        </p:txBody>
      </p:sp>
      <p:sp>
        <p:nvSpPr>
          <p:cNvPr id="5" name="Rectangle 4">
            <a:extLst>
              <a:ext uri="{FF2B5EF4-FFF2-40B4-BE49-F238E27FC236}">
                <a16:creationId xmlns:a16="http://schemas.microsoft.com/office/drawing/2014/main" id="{8BFE4916-A161-4AD1-A612-C0EFCE1CB9B0}"/>
              </a:ext>
            </a:extLst>
          </p:cNvPr>
          <p:cNvSpPr/>
          <p:nvPr/>
        </p:nvSpPr>
        <p:spPr bwMode="auto">
          <a:xfrm>
            <a:off x="6944810" y="1235072"/>
            <a:ext cx="5026529" cy="541020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174862" marR="0" lvl="0" indent="-174862" algn="l" defTabSz="932418" rtl="0" eaLnBrk="1" fontAlgn="auto" latinLnBrk="0" hangingPunct="1">
              <a:lnSpc>
                <a:spcPct val="100000"/>
              </a:lnSpc>
              <a:spcBef>
                <a:spcPts val="612"/>
              </a:spcBef>
              <a:spcAft>
                <a:spcPts val="0"/>
              </a:spcAft>
              <a:buClrTx/>
              <a:buSzTx/>
              <a:buFont typeface="Arial" panose="020B0604020202020204" pitchFamily="34" charset="0"/>
              <a:buChar char="•"/>
              <a:tabLst/>
              <a:defRPr/>
            </a:pPr>
            <a:endParaRPr kumimoji="0" lang="en-US" sz="1632"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p:txBody>
      </p:sp>
      <p:sp>
        <p:nvSpPr>
          <p:cNvPr id="6" name="Rectangle 5">
            <a:extLst>
              <a:ext uri="{FF2B5EF4-FFF2-40B4-BE49-F238E27FC236}">
                <a16:creationId xmlns:a16="http://schemas.microsoft.com/office/drawing/2014/main" id="{96746737-8FA9-4EF5-9A43-4309402E0B93}"/>
              </a:ext>
            </a:extLst>
          </p:cNvPr>
          <p:cNvSpPr/>
          <p:nvPr/>
        </p:nvSpPr>
        <p:spPr bwMode="auto">
          <a:xfrm>
            <a:off x="467183" y="1235073"/>
            <a:ext cx="6342253" cy="2636164"/>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l" defTabSz="848879"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CSP Direct model (1-Tier)</a:t>
            </a:r>
          </a:p>
          <a:p>
            <a:pPr marL="347663" marR="0" lvl="0" indent="-233363" algn="l" defTabSz="932418" rtl="0" eaLnBrk="1" fontAlgn="auto" latinLnBrk="0" hangingPunct="1">
              <a:lnSpc>
                <a:spcPct val="100000"/>
              </a:lnSpc>
              <a:spcBef>
                <a:spcPts val="300"/>
              </a:spcBef>
              <a:spcAft>
                <a:spcPts val="40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chemeClr val="bg1"/>
                </a:solidFill>
                <a:effectLst/>
                <a:uLnTx/>
                <a:uFillTx/>
                <a:latin typeface="Segoe UI"/>
                <a:ea typeface="+mn-ea"/>
                <a:cs typeface="Segoe UI" panose="020B0502040204020203" pitchFamily="34" charset="0"/>
              </a:rPr>
              <a:t>Partner works with Microsoft directly </a:t>
            </a:r>
          </a:p>
          <a:p>
            <a:pPr marL="347663" marR="0" lvl="0" indent="-233363" algn="l" defTabSz="932418" rtl="0" eaLnBrk="1" fontAlgn="auto" latinLnBrk="0" hangingPunct="1">
              <a:lnSpc>
                <a:spcPct val="100000"/>
              </a:lnSpc>
              <a:spcBef>
                <a:spcPts val="300"/>
              </a:spcBef>
              <a:spcAft>
                <a:spcPts val="40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chemeClr val="bg1"/>
                </a:solidFill>
                <a:effectLst/>
                <a:uLnTx/>
                <a:uFillTx/>
                <a:latin typeface="Segoe UI"/>
                <a:ea typeface="+mn-ea"/>
                <a:cs typeface="Segoe UI" panose="020B0502040204020203" pitchFamily="34" charset="0"/>
              </a:rPr>
              <a:t>Fixed discount for Azure</a:t>
            </a:r>
          </a:p>
          <a:p>
            <a:pPr marL="347663" marR="0" lvl="0" indent="-233363" algn="l" defTabSz="932418" rtl="0" eaLnBrk="1" fontAlgn="auto" latinLnBrk="0" hangingPunct="1">
              <a:lnSpc>
                <a:spcPct val="100000"/>
              </a:lnSpc>
              <a:spcBef>
                <a:spcPts val="300"/>
              </a:spcBef>
              <a:spcAft>
                <a:spcPts val="40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chemeClr val="bg1"/>
                </a:solidFill>
                <a:effectLst/>
                <a:uLnTx/>
                <a:uFillTx/>
                <a:latin typeface="Segoe UI"/>
                <a:ea typeface="+mn-ea"/>
                <a:cs typeface="Segoe UI" panose="020B0502040204020203" pitchFamily="34" charset="0"/>
              </a:rPr>
              <a:t>Partner needs to provide billing tools and build support practice</a:t>
            </a:r>
          </a:p>
          <a:p>
            <a:pPr marL="347663" marR="0" lvl="0" indent="-233363" algn="l" defTabSz="932418" rtl="0" eaLnBrk="1" fontAlgn="auto" latinLnBrk="0" hangingPunct="1">
              <a:lnSpc>
                <a:spcPct val="100000"/>
              </a:lnSpc>
              <a:spcBef>
                <a:spcPts val="300"/>
              </a:spcBef>
              <a:spcAft>
                <a:spcPts val="40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chemeClr val="bg1"/>
                </a:solidFill>
                <a:effectLst/>
                <a:uLnTx/>
                <a:uFillTx/>
                <a:latin typeface="Segoe UI"/>
                <a:ea typeface="+mn-ea"/>
                <a:cs typeface="Segoe UI" panose="020B0502040204020203" pitchFamily="34" charset="0"/>
              </a:rPr>
              <a:t>Credit check during the onboarding process</a:t>
            </a:r>
            <a:endParaRPr kumimoji="0" lang="en-US" sz="1800" b="0" i="0" u="none" strike="noStrike" kern="0" cap="none" spc="0" normalizeH="0" baseline="0" noProof="0" dirty="0">
              <a:ln>
                <a:noFill/>
              </a:ln>
              <a:solidFill>
                <a:schemeClr val="bg1"/>
              </a:solidFill>
              <a:effectLst/>
              <a:uLnTx/>
              <a:uFillTx/>
              <a:latin typeface="Segoe UI"/>
              <a:ea typeface="+mn-ea"/>
              <a:cs typeface="Segoe UI" panose="020B0502040204020203" pitchFamily="34" charset="0"/>
            </a:endParaRPr>
          </a:p>
        </p:txBody>
      </p:sp>
      <p:sp>
        <p:nvSpPr>
          <p:cNvPr id="7" name="Rectangle 6">
            <a:extLst>
              <a:ext uri="{FF2B5EF4-FFF2-40B4-BE49-F238E27FC236}">
                <a16:creationId xmlns:a16="http://schemas.microsoft.com/office/drawing/2014/main" id="{67832A4A-83CE-4F42-95A2-59F993347426}"/>
              </a:ext>
            </a:extLst>
          </p:cNvPr>
          <p:cNvSpPr/>
          <p:nvPr/>
        </p:nvSpPr>
        <p:spPr bwMode="auto">
          <a:xfrm>
            <a:off x="467182" y="4009101"/>
            <a:ext cx="6342253" cy="2636172"/>
          </a:xfrm>
          <a:prstGeom prst="rect">
            <a:avLst/>
          </a:prstGeom>
          <a:solidFill>
            <a:schemeClr val="accent2"/>
          </a:solid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l" defTabSz="848879"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CSP Indirect model (2-Tier)</a:t>
            </a:r>
          </a:p>
          <a:p>
            <a:pPr marL="347663" marR="0" lvl="0" indent="-233363" algn="l" defTabSz="932418"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chemeClr val="bg1"/>
                </a:solidFill>
                <a:effectLst/>
                <a:uLnTx/>
                <a:uFillTx/>
                <a:latin typeface="Segoe UI"/>
                <a:ea typeface="+mn-ea"/>
                <a:cs typeface="Segoe UI" panose="020B0502040204020203" pitchFamily="34" charset="0"/>
              </a:rPr>
              <a:t>2 partner tiers:</a:t>
            </a:r>
          </a:p>
          <a:p>
            <a:pPr marL="741363" marR="0" lvl="1" indent="-285750" algn="l" defTabSz="932418" rtl="0" eaLnBrk="1" fontAlgn="auto" latinLnBrk="0" hangingPunct="1">
              <a:lnSpc>
                <a:spcPct val="100000"/>
              </a:lnSpc>
              <a:spcBef>
                <a:spcPts val="300"/>
              </a:spcBef>
              <a:spcAft>
                <a:spcPts val="400"/>
              </a:spcAft>
              <a:buClrTx/>
              <a:buSzTx/>
              <a:buFont typeface="Engravers MT" panose="02090707080505020304" pitchFamily="18" charset="0"/>
              <a:buChar char="–"/>
              <a:tabLst/>
              <a:defRPr/>
            </a:pPr>
            <a:r>
              <a:rPr kumimoji="0" lang="en-US" sz="1800" b="0" i="0" u="none" strike="noStrike" kern="0" cap="none" spc="0" normalizeH="0" baseline="0" noProof="0" dirty="0">
                <a:ln>
                  <a:noFill/>
                </a:ln>
                <a:solidFill>
                  <a:schemeClr val="bg1"/>
                </a:solidFill>
                <a:effectLst/>
                <a:uLnTx/>
                <a:uFillTx/>
                <a:latin typeface="Segoe UI"/>
                <a:ea typeface="+mn-ea"/>
                <a:cs typeface="Segoe UI" panose="020B0502040204020203" pitchFamily="34" charset="0"/>
              </a:rPr>
              <a:t>CSP Indirect Provider (aka Distributor) – transacts to Microsoft, provides billing tools and technical support</a:t>
            </a:r>
          </a:p>
          <a:p>
            <a:pPr marL="741363" marR="0" lvl="1" indent="-285750" algn="l" defTabSz="932418" rtl="0" eaLnBrk="1" fontAlgn="auto" latinLnBrk="0" hangingPunct="1">
              <a:lnSpc>
                <a:spcPct val="100000"/>
              </a:lnSpc>
              <a:spcBef>
                <a:spcPts val="300"/>
              </a:spcBef>
              <a:spcAft>
                <a:spcPts val="400"/>
              </a:spcAft>
              <a:buClrTx/>
              <a:buSzTx/>
              <a:buFont typeface="Engravers MT" panose="02090707080505020304" pitchFamily="18" charset="0"/>
              <a:buChar char="–"/>
              <a:tabLst/>
              <a:defRPr/>
            </a:pPr>
            <a:r>
              <a:rPr kumimoji="0" lang="en-US" sz="1800" b="0" i="0" u="none" strike="noStrike" kern="0" cap="none" spc="0" normalizeH="0" baseline="0" noProof="0" dirty="0">
                <a:ln>
                  <a:noFill/>
                </a:ln>
                <a:solidFill>
                  <a:schemeClr val="bg1"/>
                </a:solidFill>
                <a:effectLst/>
                <a:uLnTx/>
                <a:uFillTx/>
                <a:latin typeface="Segoe UI"/>
                <a:ea typeface="+mn-ea"/>
                <a:cs typeface="Segoe UI" panose="020B0502040204020203" pitchFamily="34" charset="0"/>
              </a:rPr>
              <a:t>CSP Indirect Reseller – sells Azure to customers through CSP Indirect Provider</a:t>
            </a:r>
          </a:p>
        </p:txBody>
      </p:sp>
      <p:sp>
        <p:nvSpPr>
          <p:cNvPr id="10" name="TextBox 8">
            <a:extLst>
              <a:ext uri="{FF2B5EF4-FFF2-40B4-BE49-F238E27FC236}">
                <a16:creationId xmlns:a16="http://schemas.microsoft.com/office/drawing/2014/main" id="{E067595D-721B-4694-8194-FE008237F586}"/>
              </a:ext>
            </a:extLst>
          </p:cNvPr>
          <p:cNvSpPr txBox="1"/>
          <p:nvPr/>
        </p:nvSpPr>
        <p:spPr>
          <a:xfrm>
            <a:off x="7519992" y="1419149"/>
            <a:ext cx="1382301" cy="338554"/>
          </a:xfrm>
          <a:prstGeom prst="rect">
            <a:avLst/>
          </a:prstGeom>
          <a:noFill/>
        </p:spPr>
        <p:txBody>
          <a:bodyPr wrap="none" lIns="0" tIns="0" rIns="0" bIns="0" rtlCol="0" anchor="ctr">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pt-BR" sz="2200" b="1" i="0" u="none" strike="noStrike" kern="1200" cap="none" spc="0" normalizeH="0" baseline="0" noProof="0" dirty="0">
                <a:ln>
                  <a:noFill/>
                </a:ln>
                <a:solidFill>
                  <a:srgbClr val="002050"/>
                </a:solidFill>
                <a:effectLst/>
                <a:uLnTx/>
                <a:uFillTx/>
                <a:latin typeface="Segoe UI"/>
                <a:ea typeface="+mn-ea"/>
                <a:cs typeface="Segoe UI Semibold" panose="020B0702040204020203" pitchFamily="34" charset="0"/>
              </a:rPr>
              <a:t>CSP Direct</a:t>
            </a:r>
            <a:endParaRPr kumimoji="0" lang="en-US" sz="2200" b="1" i="0" u="none" strike="noStrike" kern="1200" cap="none" spc="0" normalizeH="0" baseline="0" noProof="0" dirty="0">
              <a:ln>
                <a:noFill/>
              </a:ln>
              <a:solidFill>
                <a:srgbClr val="002050"/>
              </a:solidFill>
              <a:effectLst/>
              <a:uLnTx/>
              <a:uFillTx/>
              <a:latin typeface="Segoe UI"/>
              <a:ea typeface="+mn-ea"/>
              <a:cs typeface="Segoe UI Semibold" panose="020B0702040204020203" pitchFamily="34" charset="0"/>
            </a:endParaRPr>
          </a:p>
        </p:txBody>
      </p:sp>
      <p:sp>
        <p:nvSpPr>
          <p:cNvPr id="11" name="TextBox 9">
            <a:extLst>
              <a:ext uri="{FF2B5EF4-FFF2-40B4-BE49-F238E27FC236}">
                <a16:creationId xmlns:a16="http://schemas.microsoft.com/office/drawing/2014/main" id="{AC370CDE-809C-4EA2-A51C-6A95B28E63E4}"/>
              </a:ext>
            </a:extLst>
          </p:cNvPr>
          <p:cNvSpPr txBox="1"/>
          <p:nvPr/>
        </p:nvSpPr>
        <p:spPr>
          <a:xfrm>
            <a:off x="9884669" y="1419149"/>
            <a:ext cx="1608325" cy="338554"/>
          </a:xfrm>
          <a:prstGeom prst="rect">
            <a:avLst/>
          </a:prstGeom>
          <a:noFill/>
        </p:spPr>
        <p:txBody>
          <a:bodyPr wrap="none" lIns="0" tIns="0" rIns="0" bIns="0" rtlCol="0" anchor="ctr">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pt-BR" sz="22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CSP Indirect</a:t>
            </a:r>
            <a:endParaRPr kumimoji="0" lang="en-US" sz="22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endParaRPr>
          </a:p>
        </p:txBody>
      </p:sp>
      <p:cxnSp>
        <p:nvCxnSpPr>
          <p:cNvPr id="12" name="Straight Arrow Connector 76">
            <a:extLst>
              <a:ext uri="{FF2B5EF4-FFF2-40B4-BE49-F238E27FC236}">
                <a16:creationId xmlns:a16="http://schemas.microsoft.com/office/drawing/2014/main" id="{DFB8FD6A-9189-4008-9E0C-74458FDDCEE1}"/>
              </a:ext>
            </a:extLst>
          </p:cNvPr>
          <p:cNvCxnSpPr>
            <a:cxnSpLocks/>
            <a:endCxn id="14" idx="0"/>
          </p:cNvCxnSpPr>
          <p:nvPr/>
        </p:nvCxnSpPr>
        <p:spPr>
          <a:xfrm>
            <a:off x="8243007" y="2590742"/>
            <a:ext cx="0" cy="2961253"/>
          </a:xfrm>
          <a:prstGeom prst="straightConnector1">
            <a:avLst/>
          </a:prstGeom>
          <a:ln w="19050">
            <a:solidFill>
              <a:schemeClr val="bg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13" name="TextBox 73">
            <a:extLst>
              <a:ext uri="{FF2B5EF4-FFF2-40B4-BE49-F238E27FC236}">
                <a16:creationId xmlns:a16="http://schemas.microsoft.com/office/drawing/2014/main" id="{5EA97ECD-C8B9-4BBF-8F99-CEB37BF11745}"/>
              </a:ext>
            </a:extLst>
          </p:cNvPr>
          <p:cNvSpPr txBox="1"/>
          <p:nvPr/>
        </p:nvSpPr>
        <p:spPr>
          <a:xfrm>
            <a:off x="7128239" y="1878080"/>
            <a:ext cx="2229536" cy="712662"/>
          </a:xfrm>
          <a:prstGeom prst="roundRect">
            <a:avLst>
              <a:gd name="adj" fmla="val 50000"/>
            </a:avLst>
          </a:prstGeom>
          <a:solidFill>
            <a:schemeClr val="accent1"/>
          </a:solidFill>
          <a:ln>
            <a:noFill/>
          </a:ln>
        </p:spPr>
        <p:txBody>
          <a:bodyPr wrap="square" rtlCol="0"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Microsoft</a:t>
            </a:r>
          </a:p>
        </p:txBody>
      </p:sp>
      <p:sp>
        <p:nvSpPr>
          <p:cNvPr id="14" name="TextBox 75">
            <a:extLst>
              <a:ext uri="{FF2B5EF4-FFF2-40B4-BE49-F238E27FC236}">
                <a16:creationId xmlns:a16="http://schemas.microsoft.com/office/drawing/2014/main" id="{02CD4E34-9612-433B-B663-ADE43B0FD992}"/>
              </a:ext>
            </a:extLst>
          </p:cNvPr>
          <p:cNvSpPr txBox="1"/>
          <p:nvPr/>
        </p:nvSpPr>
        <p:spPr>
          <a:xfrm>
            <a:off x="7128239" y="5551995"/>
            <a:ext cx="2229536" cy="925687"/>
          </a:xfrm>
          <a:prstGeom prst="rect">
            <a:avLst/>
          </a:prstGeom>
          <a:solidFill>
            <a:schemeClr val="bg1">
              <a:lumMod val="95000"/>
            </a:schemeClr>
          </a:solidFill>
          <a:ln>
            <a:noFill/>
          </a:ln>
        </p:spPr>
        <p:txBody>
          <a:bodyPr wrap="square" rtlCol="0"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2"/>
                </a:solidFill>
                <a:effectLst/>
                <a:uLnTx/>
                <a:uFillTx/>
                <a:latin typeface="Segoe UI"/>
                <a:ea typeface="+mn-ea"/>
                <a:cs typeface="Segoe UI" panose="020B0502040204020203" pitchFamily="34" charset="0"/>
              </a:rPr>
              <a:t>Customer</a:t>
            </a:r>
          </a:p>
        </p:txBody>
      </p:sp>
      <p:sp>
        <p:nvSpPr>
          <p:cNvPr id="15" name="TextBox 74">
            <a:extLst>
              <a:ext uri="{FF2B5EF4-FFF2-40B4-BE49-F238E27FC236}">
                <a16:creationId xmlns:a16="http://schemas.microsoft.com/office/drawing/2014/main" id="{F74AB089-6AC9-4A6A-93BE-AE29B2EC10E4}"/>
              </a:ext>
            </a:extLst>
          </p:cNvPr>
          <p:cNvSpPr txBox="1"/>
          <p:nvPr/>
        </p:nvSpPr>
        <p:spPr>
          <a:xfrm>
            <a:off x="7128239" y="3608526"/>
            <a:ext cx="2229536" cy="925687"/>
          </a:xfrm>
          <a:prstGeom prst="rect">
            <a:avLst/>
          </a:prstGeom>
          <a:solidFill>
            <a:schemeClr val="bg1">
              <a:lumMod val="95000"/>
            </a:schemeClr>
          </a:solidFill>
          <a:ln>
            <a:noFill/>
          </a:ln>
        </p:spPr>
        <p:txBody>
          <a:bodyPr wrap="square" rtlCol="0"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2"/>
                </a:solidFill>
                <a:effectLst/>
                <a:uLnTx/>
                <a:uFillTx/>
                <a:latin typeface="Segoe UI"/>
                <a:ea typeface="+mn-ea"/>
                <a:cs typeface="Segoe UI" panose="020B0502040204020203" pitchFamily="34" charset="0"/>
              </a:rPr>
              <a:t>CSP Direct Partner</a:t>
            </a:r>
          </a:p>
        </p:txBody>
      </p:sp>
      <p:cxnSp>
        <p:nvCxnSpPr>
          <p:cNvPr id="17" name="Straight Arrow Connector 76">
            <a:extLst>
              <a:ext uri="{FF2B5EF4-FFF2-40B4-BE49-F238E27FC236}">
                <a16:creationId xmlns:a16="http://schemas.microsoft.com/office/drawing/2014/main" id="{3B17F9A3-8B7D-4874-A2F1-FD2D60D81C57}"/>
              </a:ext>
            </a:extLst>
          </p:cNvPr>
          <p:cNvCxnSpPr>
            <a:cxnSpLocks/>
          </p:cNvCxnSpPr>
          <p:nvPr/>
        </p:nvCxnSpPr>
        <p:spPr>
          <a:xfrm>
            <a:off x="10673142" y="2590004"/>
            <a:ext cx="0" cy="2962730"/>
          </a:xfrm>
          <a:prstGeom prst="straightConnector1">
            <a:avLst/>
          </a:prstGeom>
          <a:ln w="19050">
            <a:solidFill>
              <a:schemeClr val="bg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18" name="TextBox 65">
            <a:extLst>
              <a:ext uri="{FF2B5EF4-FFF2-40B4-BE49-F238E27FC236}">
                <a16:creationId xmlns:a16="http://schemas.microsoft.com/office/drawing/2014/main" id="{6DE12997-77FD-48B4-9180-441F11D44B76}"/>
              </a:ext>
            </a:extLst>
          </p:cNvPr>
          <p:cNvSpPr txBox="1"/>
          <p:nvPr/>
        </p:nvSpPr>
        <p:spPr>
          <a:xfrm>
            <a:off x="9558374" y="1878080"/>
            <a:ext cx="2229536" cy="711924"/>
          </a:xfrm>
          <a:prstGeom prst="roundRect">
            <a:avLst>
              <a:gd name="adj" fmla="val 50000"/>
            </a:avLst>
          </a:prstGeom>
          <a:solidFill>
            <a:schemeClr val="accent2"/>
          </a:solidFill>
          <a:ln>
            <a:noFill/>
          </a:ln>
        </p:spPr>
        <p:txBody>
          <a:bodyPr wrap="square" rtlCol="0"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Microsoft</a:t>
            </a:r>
          </a:p>
        </p:txBody>
      </p:sp>
      <p:sp>
        <p:nvSpPr>
          <p:cNvPr id="19" name="TextBox 67">
            <a:extLst>
              <a:ext uri="{FF2B5EF4-FFF2-40B4-BE49-F238E27FC236}">
                <a16:creationId xmlns:a16="http://schemas.microsoft.com/office/drawing/2014/main" id="{42882E4E-4626-4D16-9E5E-1060B9848123}"/>
              </a:ext>
            </a:extLst>
          </p:cNvPr>
          <p:cNvSpPr txBox="1"/>
          <p:nvPr/>
        </p:nvSpPr>
        <p:spPr>
          <a:xfrm>
            <a:off x="9558374" y="5552734"/>
            <a:ext cx="2229536" cy="925687"/>
          </a:xfrm>
          <a:prstGeom prst="rect">
            <a:avLst/>
          </a:prstGeom>
          <a:solidFill>
            <a:schemeClr val="bg1">
              <a:lumMod val="95000"/>
            </a:schemeClr>
          </a:solidFill>
          <a:ln>
            <a:noFill/>
          </a:ln>
        </p:spPr>
        <p:txBody>
          <a:bodyPr wrap="square" rtlCol="0"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2"/>
                </a:solidFill>
                <a:effectLst/>
                <a:uLnTx/>
                <a:uFillTx/>
                <a:latin typeface="Segoe UI"/>
                <a:ea typeface="+mn-ea"/>
                <a:cs typeface="Segoe UI" panose="020B0502040204020203" pitchFamily="34" charset="0"/>
              </a:rPr>
              <a:t>Customer</a:t>
            </a:r>
          </a:p>
        </p:txBody>
      </p:sp>
      <p:sp>
        <p:nvSpPr>
          <p:cNvPr id="20" name="TextBox 72">
            <a:extLst>
              <a:ext uri="{FF2B5EF4-FFF2-40B4-BE49-F238E27FC236}">
                <a16:creationId xmlns:a16="http://schemas.microsoft.com/office/drawing/2014/main" id="{321632AC-EAF3-44E6-A46C-E80A05406706}"/>
              </a:ext>
            </a:extLst>
          </p:cNvPr>
          <p:cNvSpPr txBox="1"/>
          <p:nvPr/>
        </p:nvSpPr>
        <p:spPr>
          <a:xfrm>
            <a:off x="9558374" y="2960456"/>
            <a:ext cx="2229536" cy="925687"/>
          </a:xfrm>
          <a:prstGeom prst="rect">
            <a:avLst/>
          </a:prstGeom>
          <a:solidFill>
            <a:schemeClr val="bg1">
              <a:lumMod val="95000"/>
            </a:schemeClr>
          </a:solidFill>
          <a:ln>
            <a:noFill/>
          </a:ln>
        </p:spPr>
        <p:txBody>
          <a:bodyPr wrap="square" rtlCol="0"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2"/>
                </a:solidFill>
                <a:effectLst/>
                <a:uLnTx/>
                <a:uFillTx/>
                <a:latin typeface="Segoe UI"/>
                <a:ea typeface="+mn-ea"/>
                <a:cs typeface="Segoe UI" panose="020B0502040204020203" pitchFamily="34" charset="0"/>
              </a:rPr>
              <a:t>CSP Indirect Provider</a:t>
            </a:r>
          </a:p>
        </p:txBody>
      </p:sp>
      <p:sp>
        <p:nvSpPr>
          <p:cNvPr id="21" name="TextBox 66">
            <a:extLst>
              <a:ext uri="{FF2B5EF4-FFF2-40B4-BE49-F238E27FC236}">
                <a16:creationId xmlns:a16="http://schemas.microsoft.com/office/drawing/2014/main" id="{9F3E984B-430A-4BD7-8529-479F0D84F8F1}"/>
              </a:ext>
            </a:extLst>
          </p:cNvPr>
          <p:cNvSpPr txBox="1"/>
          <p:nvPr/>
        </p:nvSpPr>
        <p:spPr>
          <a:xfrm>
            <a:off x="9558374" y="4256595"/>
            <a:ext cx="2229536" cy="925687"/>
          </a:xfrm>
          <a:prstGeom prst="rect">
            <a:avLst/>
          </a:prstGeom>
          <a:solidFill>
            <a:schemeClr val="bg1">
              <a:lumMod val="95000"/>
            </a:schemeClr>
          </a:solidFill>
          <a:ln>
            <a:noFill/>
          </a:ln>
        </p:spPr>
        <p:txBody>
          <a:bodyPr wrap="square" rtlCol="0"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2"/>
                </a:solidFill>
                <a:effectLst/>
                <a:uLnTx/>
                <a:uFillTx/>
                <a:latin typeface="Segoe UI"/>
                <a:ea typeface="+mn-ea"/>
                <a:cs typeface="Segoe UI" panose="020B0502040204020203" pitchFamily="34" charset="0"/>
              </a:rPr>
              <a:t>CSP Indirect Reseller</a:t>
            </a:r>
          </a:p>
        </p:txBody>
      </p:sp>
    </p:spTree>
    <p:extLst>
      <p:ext uri="{BB962C8B-B14F-4D97-AF65-F5344CB8AC3E}">
        <p14:creationId xmlns:p14="http://schemas.microsoft.com/office/powerpoint/2010/main" val="353209338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61FC3-6729-42DC-B683-AC90C5CF5776}"/>
              </a:ext>
            </a:extLst>
          </p:cNvPr>
          <p:cNvSpPr>
            <a:spLocks noGrp="1"/>
          </p:cNvSpPr>
          <p:nvPr>
            <p:ph type="title"/>
          </p:nvPr>
        </p:nvSpPr>
        <p:spPr/>
        <p:txBody>
          <a:bodyPr/>
          <a:lstStyle/>
          <a:p>
            <a:r>
              <a:rPr lang="en-US"/>
              <a:t>Partner Center Portal</a:t>
            </a:r>
            <a:endParaRPr lang="en-IN" dirty="0"/>
          </a:p>
        </p:txBody>
      </p:sp>
      <p:sp>
        <p:nvSpPr>
          <p:cNvPr id="4" name="Text Placeholder 1">
            <a:extLst>
              <a:ext uri="{FF2B5EF4-FFF2-40B4-BE49-F238E27FC236}">
                <a16:creationId xmlns:a16="http://schemas.microsoft.com/office/drawing/2014/main" id="{D7E90EEE-7EBF-4165-BE35-586458F99D80}"/>
              </a:ext>
            </a:extLst>
          </p:cNvPr>
          <p:cNvSpPr txBox="1">
            <a:spLocks/>
          </p:cNvSpPr>
          <p:nvPr/>
        </p:nvSpPr>
        <p:spPr>
          <a:xfrm>
            <a:off x="478679" y="1092284"/>
            <a:ext cx="11502523" cy="878930"/>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chemeClr val="tx1"/>
                </a:soli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50938" rtl="0" eaLnBrk="1" fontAlgn="auto" latinLnBrk="0" hangingPunct="1">
              <a:lnSpc>
                <a:spcPct val="90000"/>
              </a:lnSpc>
              <a:spcBef>
                <a:spcPct val="20000"/>
              </a:spcBef>
              <a:spcAft>
                <a:spcPts val="0"/>
              </a:spcAft>
              <a:buClrTx/>
              <a:buSzPct val="90000"/>
              <a:buFont typeface="Arial" pitchFamily="34" charset="0"/>
              <a:buNone/>
              <a:tabLst/>
              <a:defRPr/>
            </a:pPr>
            <a:r>
              <a:rPr kumimoji="0" lang="en-US" sz="2800" b="0" i="0" u="none" strike="noStrike" kern="1200" cap="none" spc="0" normalizeH="0" baseline="0" noProof="0" dirty="0">
                <a:ln>
                  <a:noFill/>
                </a:ln>
                <a:solidFill>
                  <a:schemeClr val="tx2"/>
                </a:solidFill>
                <a:effectLst/>
                <a:uLnTx/>
                <a:uFillTx/>
                <a:latin typeface="Segoe UI Light"/>
                <a:ea typeface="+mn-ea"/>
                <a:cs typeface="+mn-cs"/>
                <a:hlinkClick r:id="rId2"/>
              </a:rPr>
              <a:t>partnercenter.microsoft.com</a:t>
            </a:r>
            <a:endParaRPr kumimoji="0" lang="en-US" sz="2800" b="0" i="0" u="none" strike="noStrike" kern="1200" cap="none" spc="0" normalizeH="0" baseline="0" noProof="0" dirty="0">
              <a:ln>
                <a:noFill/>
              </a:ln>
              <a:solidFill>
                <a:schemeClr val="tx2"/>
              </a:solidFill>
              <a:effectLst/>
              <a:uLnTx/>
              <a:uFillTx/>
              <a:latin typeface="Segoe UI Light"/>
              <a:ea typeface="+mn-ea"/>
              <a:cs typeface="+mn-cs"/>
            </a:endParaRPr>
          </a:p>
          <a:p>
            <a:pPr marL="0" marR="0" lvl="0" indent="0" algn="l" defTabSz="950938" rtl="0" eaLnBrk="1" fontAlgn="auto" latinLnBrk="0" hangingPunct="1">
              <a:lnSpc>
                <a:spcPct val="90000"/>
              </a:lnSpc>
              <a:spcBef>
                <a:spcPct val="20000"/>
              </a:spcBef>
              <a:spcAft>
                <a:spcPts val="0"/>
              </a:spcAft>
              <a:buClrTx/>
              <a:buSzPct val="90000"/>
              <a:buFont typeface="Arial" pitchFamily="34" charset="0"/>
              <a:buNone/>
              <a:tabLst/>
              <a:defRPr/>
            </a:pPr>
            <a:r>
              <a:rPr kumimoji="0" lang="en-US" sz="2800" b="0" i="0" u="none" strike="noStrike" kern="1200" cap="none" spc="0" normalizeH="0" baseline="0" noProof="0" dirty="0">
                <a:ln>
                  <a:noFill/>
                </a:ln>
                <a:solidFill>
                  <a:schemeClr val="tx2"/>
                </a:solidFill>
                <a:effectLst/>
                <a:uLnTx/>
                <a:uFillTx/>
                <a:latin typeface="Segoe UI Light"/>
                <a:ea typeface="+mn-ea"/>
                <a:cs typeface="+mn-cs"/>
              </a:rPr>
              <a:t>Core of partner’s CSP business. Manage Azure customers in one place. </a:t>
            </a:r>
          </a:p>
        </p:txBody>
      </p:sp>
      <p:sp>
        <p:nvSpPr>
          <p:cNvPr id="29" name="Rectangle 28">
            <a:extLst>
              <a:ext uri="{FF2B5EF4-FFF2-40B4-BE49-F238E27FC236}">
                <a16:creationId xmlns:a16="http://schemas.microsoft.com/office/drawing/2014/main" id="{C31BF252-4D86-421E-972D-33B08E99F4F3}"/>
              </a:ext>
            </a:extLst>
          </p:cNvPr>
          <p:cNvSpPr/>
          <p:nvPr/>
        </p:nvSpPr>
        <p:spPr bwMode="auto">
          <a:xfrm>
            <a:off x="478679" y="2743873"/>
            <a:ext cx="2808408" cy="1869175"/>
          </a:xfrm>
          <a:prstGeom prst="rect">
            <a:avLst/>
          </a:prstGeom>
          <a:solidFill>
            <a:schemeClr val="accent1"/>
          </a:solidFill>
          <a:ln w="6350" cap="flat" cmpd="sng" algn="ctr">
            <a:solidFill>
              <a:schemeClr val="accent1"/>
            </a:solid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l" defTabSz="848716" rtl="0"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Easy to Use web portal</a:t>
            </a:r>
          </a:p>
        </p:txBody>
      </p:sp>
      <p:sp>
        <p:nvSpPr>
          <p:cNvPr id="30" name="Rectangle 29">
            <a:extLst>
              <a:ext uri="{FF2B5EF4-FFF2-40B4-BE49-F238E27FC236}">
                <a16:creationId xmlns:a16="http://schemas.microsoft.com/office/drawing/2014/main" id="{8C1B2A5E-23FC-4DE7-846E-75FB38912D31}"/>
              </a:ext>
            </a:extLst>
          </p:cNvPr>
          <p:cNvSpPr/>
          <p:nvPr/>
        </p:nvSpPr>
        <p:spPr bwMode="auto">
          <a:xfrm>
            <a:off x="3372475" y="2743873"/>
            <a:ext cx="2808408" cy="1869175"/>
          </a:xfrm>
          <a:prstGeom prst="rect">
            <a:avLst/>
          </a:prstGeom>
          <a:solidFill>
            <a:schemeClr val="accent1"/>
          </a:solidFill>
          <a:ln w="6350" cap="flat" cmpd="sng" algn="ctr">
            <a:solidFill>
              <a:schemeClr val="accent1"/>
            </a:solid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l" defTabSz="848716" rtl="0"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Provision Customers &amp; Subscriptions</a:t>
            </a:r>
          </a:p>
        </p:txBody>
      </p:sp>
      <p:sp>
        <p:nvSpPr>
          <p:cNvPr id="31" name="Rectangle 30">
            <a:extLst>
              <a:ext uri="{FF2B5EF4-FFF2-40B4-BE49-F238E27FC236}">
                <a16:creationId xmlns:a16="http://schemas.microsoft.com/office/drawing/2014/main" id="{03C251EF-3FF1-4763-BF08-DD2AA2CEF18D}"/>
              </a:ext>
            </a:extLst>
          </p:cNvPr>
          <p:cNvSpPr/>
          <p:nvPr/>
        </p:nvSpPr>
        <p:spPr bwMode="auto">
          <a:xfrm>
            <a:off x="6266272" y="2743873"/>
            <a:ext cx="2808408" cy="1869175"/>
          </a:xfrm>
          <a:prstGeom prst="rect">
            <a:avLst/>
          </a:prstGeom>
          <a:solidFill>
            <a:schemeClr val="accent1"/>
          </a:solidFill>
          <a:ln w="6350" cap="flat" cmpd="sng" algn="ctr">
            <a:solidFill>
              <a:schemeClr val="accent1"/>
            </a:solid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l" defTabSz="848716" rtl="0"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Admin-on-behalf-of customers</a:t>
            </a:r>
          </a:p>
        </p:txBody>
      </p:sp>
      <p:sp>
        <p:nvSpPr>
          <p:cNvPr id="32" name="Rectangle 31">
            <a:extLst>
              <a:ext uri="{FF2B5EF4-FFF2-40B4-BE49-F238E27FC236}">
                <a16:creationId xmlns:a16="http://schemas.microsoft.com/office/drawing/2014/main" id="{0B93B7B4-6E4E-41C5-A799-690623A2A404}"/>
              </a:ext>
            </a:extLst>
          </p:cNvPr>
          <p:cNvSpPr/>
          <p:nvPr/>
        </p:nvSpPr>
        <p:spPr bwMode="auto">
          <a:xfrm>
            <a:off x="9160069" y="2743873"/>
            <a:ext cx="2808408" cy="1869175"/>
          </a:xfrm>
          <a:prstGeom prst="rect">
            <a:avLst/>
          </a:prstGeom>
          <a:solidFill>
            <a:schemeClr val="accent1"/>
          </a:solidFill>
          <a:ln w="6350" cap="flat" cmpd="sng" algn="ctr">
            <a:solidFill>
              <a:schemeClr val="accent1"/>
            </a:solid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l" defTabSz="848716" rtl="0"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Office 365, EMS, Dynamics 365, Azure</a:t>
            </a:r>
          </a:p>
        </p:txBody>
      </p:sp>
      <p:sp>
        <p:nvSpPr>
          <p:cNvPr id="33" name="Rectangle 32">
            <a:extLst>
              <a:ext uri="{FF2B5EF4-FFF2-40B4-BE49-F238E27FC236}">
                <a16:creationId xmlns:a16="http://schemas.microsoft.com/office/drawing/2014/main" id="{348C16BA-2BFC-4815-A828-0F535E9C3E29}"/>
              </a:ext>
            </a:extLst>
          </p:cNvPr>
          <p:cNvSpPr/>
          <p:nvPr/>
        </p:nvSpPr>
        <p:spPr bwMode="auto">
          <a:xfrm>
            <a:off x="478679" y="4688764"/>
            <a:ext cx="2808408" cy="1869175"/>
          </a:xfrm>
          <a:prstGeom prst="rect">
            <a:avLst/>
          </a:prstGeom>
          <a:solidFill>
            <a:schemeClr val="accent1"/>
          </a:solidFill>
          <a:ln w="6350" cap="flat" cmpd="sng" algn="ctr">
            <a:solidFill>
              <a:schemeClr val="accent1"/>
            </a:solid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l" defTabSz="848716" rtl="0"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Multi-channel &amp; </a:t>
            </a:r>
            <a:b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br>
            <a: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Multi-partner capabilities</a:t>
            </a:r>
          </a:p>
        </p:txBody>
      </p:sp>
      <p:sp>
        <p:nvSpPr>
          <p:cNvPr id="34" name="Rectangle 33">
            <a:extLst>
              <a:ext uri="{FF2B5EF4-FFF2-40B4-BE49-F238E27FC236}">
                <a16:creationId xmlns:a16="http://schemas.microsoft.com/office/drawing/2014/main" id="{3F5E8AA3-E10D-4D6A-825F-35BDC46E8E37}"/>
              </a:ext>
            </a:extLst>
          </p:cNvPr>
          <p:cNvSpPr/>
          <p:nvPr/>
        </p:nvSpPr>
        <p:spPr bwMode="auto">
          <a:xfrm>
            <a:off x="3372475" y="4688764"/>
            <a:ext cx="2808408" cy="1869175"/>
          </a:xfrm>
          <a:prstGeom prst="rect">
            <a:avLst/>
          </a:prstGeom>
          <a:solidFill>
            <a:schemeClr val="accent1"/>
          </a:solidFill>
          <a:ln w="6350" cap="flat" cmpd="sng" algn="ctr">
            <a:solidFill>
              <a:schemeClr val="accent1"/>
            </a:solid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l" defTabSz="848716" rtl="0"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Automated invoicing</a:t>
            </a:r>
          </a:p>
        </p:txBody>
      </p:sp>
      <p:sp>
        <p:nvSpPr>
          <p:cNvPr id="35" name="Rectangle 34">
            <a:extLst>
              <a:ext uri="{FF2B5EF4-FFF2-40B4-BE49-F238E27FC236}">
                <a16:creationId xmlns:a16="http://schemas.microsoft.com/office/drawing/2014/main" id="{8E992BF8-A00D-4EEA-8CB0-A7E567A3DC86}"/>
              </a:ext>
            </a:extLst>
          </p:cNvPr>
          <p:cNvSpPr/>
          <p:nvPr/>
        </p:nvSpPr>
        <p:spPr bwMode="auto">
          <a:xfrm>
            <a:off x="6266272" y="4688764"/>
            <a:ext cx="2808408" cy="1869175"/>
          </a:xfrm>
          <a:prstGeom prst="rect">
            <a:avLst/>
          </a:prstGeom>
          <a:solidFill>
            <a:schemeClr val="accent1"/>
          </a:solidFill>
          <a:ln w="6350" cap="flat" cmpd="sng" algn="ctr">
            <a:solidFill>
              <a:schemeClr val="accent1"/>
            </a:solid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l" defTabSz="848716" rtl="0"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Rich set of APIs for integration</a:t>
            </a:r>
          </a:p>
        </p:txBody>
      </p:sp>
      <p:sp>
        <p:nvSpPr>
          <p:cNvPr id="36" name="Rectangle 35">
            <a:extLst>
              <a:ext uri="{FF2B5EF4-FFF2-40B4-BE49-F238E27FC236}">
                <a16:creationId xmlns:a16="http://schemas.microsoft.com/office/drawing/2014/main" id="{6854D61F-70AE-427D-8880-A6F09EA88DE4}"/>
              </a:ext>
            </a:extLst>
          </p:cNvPr>
          <p:cNvSpPr/>
          <p:nvPr/>
        </p:nvSpPr>
        <p:spPr bwMode="auto">
          <a:xfrm>
            <a:off x="9160069" y="4688764"/>
            <a:ext cx="2808408" cy="1869175"/>
          </a:xfrm>
          <a:prstGeom prst="rect">
            <a:avLst/>
          </a:prstGeom>
          <a:solidFill>
            <a:schemeClr val="accent1"/>
          </a:solidFill>
          <a:ln w="6350" cap="flat" cmpd="sng" algn="ctr">
            <a:solidFill>
              <a:schemeClr val="accent1"/>
            </a:solid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l" defTabSz="848716" rtl="0"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CSP Content &amp; Resources</a:t>
            </a:r>
          </a:p>
        </p:txBody>
      </p:sp>
      <p:sp>
        <p:nvSpPr>
          <p:cNvPr id="37" name="Freeform 14">
            <a:extLst>
              <a:ext uri="{FF2B5EF4-FFF2-40B4-BE49-F238E27FC236}">
                <a16:creationId xmlns:a16="http://schemas.microsoft.com/office/drawing/2014/main" id="{D0DFE656-980E-4D88-8565-83B1B1CF76FD}"/>
              </a:ext>
            </a:extLst>
          </p:cNvPr>
          <p:cNvSpPr>
            <a:spLocks noEditPoints="1"/>
          </p:cNvSpPr>
          <p:nvPr/>
        </p:nvSpPr>
        <p:spPr bwMode="black">
          <a:xfrm flipH="1">
            <a:off x="2692427" y="4039660"/>
            <a:ext cx="466387" cy="493574"/>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w="10795" cap="flat" cmpd="sng" algn="ctr">
            <a:noFill/>
            <a:prstDash val="solid"/>
            <a:headEnd type="none" w="med" len="med"/>
            <a:tailEnd type="none" w="med" len="med"/>
          </a:ln>
          <a:effectLst/>
        </p:spPr>
        <p:txBody>
          <a:bodyPr vert="horz" wrap="square" lIns="83916" tIns="41958" rIns="83916" bIns="41958" numCol="1" rtlCol="0" anchor="ctr" anchorCtr="0" compatLnSpc="1">
            <a:prstTxWarp prst="textNoShape">
              <a:avLst/>
            </a:prstTxWarp>
          </a:bodyPr>
          <a:lstStyle/>
          <a:p>
            <a:pPr marL="0" marR="0" lvl="0" indent="0" algn="l" defTabSz="75519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124" normalizeH="0" baseline="0" noProof="0" dirty="0">
              <a:ln>
                <a:noFill/>
              </a:ln>
              <a:solidFill>
                <a:sysClr val="windowText" lastClr="000000"/>
              </a:solidFill>
              <a:effectLst/>
              <a:uLnTx/>
              <a:uFillTx/>
              <a:latin typeface="Segoe Light" pitchFamily="34" charset="0"/>
              <a:ea typeface="+mn-ea"/>
              <a:cs typeface="+mn-cs"/>
            </a:endParaRPr>
          </a:p>
        </p:txBody>
      </p:sp>
      <p:sp>
        <p:nvSpPr>
          <p:cNvPr id="38" name="Freeform 52">
            <a:extLst>
              <a:ext uri="{FF2B5EF4-FFF2-40B4-BE49-F238E27FC236}">
                <a16:creationId xmlns:a16="http://schemas.microsoft.com/office/drawing/2014/main" id="{FE7577BD-570A-431D-AF2C-8D85F52D4509}"/>
              </a:ext>
            </a:extLst>
          </p:cNvPr>
          <p:cNvSpPr/>
          <p:nvPr/>
        </p:nvSpPr>
        <p:spPr bwMode="auto">
          <a:xfrm>
            <a:off x="5683219" y="6001656"/>
            <a:ext cx="399622" cy="453341"/>
          </a:xfrm>
          <a:custGeom>
            <a:avLst/>
            <a:gdLst/>
            <a:ahLst/>
            <a:cxnLst/>
            <a:rect l="l" t="t" r="r" b="b"/>
            <a:pathLst>
              <a:path w="3911447" h="4437244">
                <a:moveTo>
                  <a:pt x="2118517" y="1334584"/>
                </a:moveTo>
                <a:lnTo>
                  <a:pt x="2351646" y="1334584"/>
                </a:lnTo>
                <a:lnTo>
                  <a:pt x="2351646" y="1523144"/>
                </a:lnTo>
                <a:cubicBezTo>
                  <a:pt x="2460211" y="1526001"/>
                  <a:pt x="2541349" y="1540857"/>
                  <a:pt x="2636200" y="1567713"/>
                </a:cubicBezTo>
                <a:lnTo>
                  <a:pt x="2636200" y="1920834"/>
                </a:lnTo>
                <a:cubicBezTo>
                  <a:pt x="2474496" y="1835125"/>
                  <a:pt x="2273365" y="1795698"/>
                  <a:pt x="2207654" y="1838553"/>
                </a:cubicBezTo>
                <a:cubicBezTo>
                  <a:pt x="2143087" y="1864266"/>
                  <a:pt x="2148801" y="1951689"/>
                  <a:pt x="2193941" y="1982544"/>
                </a:cubicBezTo>
                <a:cubicBezTo>
                  <a:pt x="2250509" y="2061968"/>
                  <a:pt x="2742480" y="2139677"/>
                  <a:pt x="2697911" y="2513940"/>
                </a:cubicBezTo>
                <a:cubicBezTo>
                  <a:pt x="2676198" y="2774496"/>
                  <a:pt x="2445355" y="2858490"/>
                  <a:pt x="2355074" y="2884203"/>
                </a:cubicBezTo>
                <a:lnTo>
                  <a:pt x="2355074" y="3103618"/>
                </a:lnTo>
                <a:lnTo>
                  <a:pt x="2121945" y="3103618"/>
                </a:lnTo>
                <a:lnTo>
                  <a:pt x="2121945" y="2911630"/>
                </a:lnTo>
                <a:cubicBezTo>
                  <a:pt x="1984239" y="2908202"/>
                  <a:pt x="1817392" y="2870490"/>
                  <a:pt x="1755110" y="2829349"/>
                </a:cubicBezTo>
                <a:lnTo>
                  <a:pt x="1755110" y="2462515"/>
                </a:lnTo>
                <a:cubicBezTo>
                  <a:pt x="1882531" y="2572222"/>
                  <a:pt x="2069949" y="2616791"/>
                  <a:pt x="2173371" y="2606506"/>
                </a:cubicBezTo>
                <a:cubicBezTo>
                  <a:pt x="2273936" y="2595650"/>
                  <a:pt x="2276793" y="2487085"/>
                  <a:pt x="2228225" y="2445373"/>
                </a:cubicBezTo>
                <a:cubicBezTo>
                  <a:pt x="2160800" y="2349950"/>
                  <a:pt x="1657972" y="2316238"/>
                  <a:pt x="1748253" y="1855695"/>
                </a:cubicBezTo>
                <a:cubicBezTo>
                  <a:pt x="1788822" y="1620852"/>
                  <a:pt x="2024808" y="1545428"/>
                  <a:pt x="2121945" y="1536857"/>
                </a:cubicBezTo>
                <a:close/>
                <a:moveTo>
                  <a:pt x="2218622" y="0"/>
                </a:moveTo>
                <a:cubicBezTo>
                  <a:pt x="2627497" y="0"/>
                  <a:pt x="3010537" y="110605"/>
                  <a:pt x="3338276" y="305539"/>
                </a:cubicBezTo>
                <a:lnTo>
                  <a:pt x="3497555" y="101671"/>
                </a:lnTo>
                <a:lnTo>
                  <a:pt x="3773280" y="994290"/>
                </a:lnTo>
                <a:lnTo>
                  <a:pt x="2844521" y="937517"/>
                </a:lnTo>
                <a:lnTo>
                  <a:pt x="3030164" y="699905"/>
                </a:lnTo>
                <a:lnTo>
                  <a:pt x="3013735" y="720897"/>
                </a:lnTo>
                <a:cubicBezTo>
                  <a:pt x="2776817" y="594118"/>
                  <a:pt x="2506071" y="522608"/>
                  <a:pt x="2218622" y="522608"/>
                </a:cubicBezTo>
                <a:cubicBezTo>
                  <a:pt x="1281939" y="522608"/>
                  <a:pt x="522608" y="1281939"/>
                  <a:pt x="522608" y="2218622"/>
                </a:cubicBezTo>
                <a:cubicBezTo>
                  <a:pt x="522608" y="3155305"/>
                  <a:pt x="1281939" y="3914636"/>
                  <a:pt x="2218622" y="3914636"/>
                </a:cubicBezTo>
                <a:cubicBezTo>
                  <a:pt x="2743841" y="3914636"/>
                  <a:pt x="3213298" y="3675896"/>
                  <a:pt x="3524229" y="3300878"/>
                </a:cubicBezTo>
                <a:lnTo>
                  <a:pt x="3911447" y="3650966"/>
                </a:lnTo>
                <a:cubicBezTo>
                  <a:pt x="3505378" y="4132223"/>
                  <a:pt x="2897621" y="4437244"/>
                  <a:pt x="2218622" y="4437244"/>
                </a:cubicBezTo>
                <a:cubicBezTo>
                  <a:pt x="993311" y="4437244"/>
                  <a:pt x="0" y="3443933"/>
                  <a:pt x="0" y="2218622"/>
                </a:cubicBezTo>
                <a:cubicBezTo>
                  <a:pt x="0" y="993311"/>
                  <a:pt x="993311" y="0"/>
                  <a:pt x="2218622" y="0"/>
                </a:cubicBezTo>
                <a:close/>
              </a:path>
            </a:pathLst>
          </a:custGeom>
          <a:solidFill>
            <a:srgbClr val="FFFFFF"/>
          </a:solidFill>
          <a:ln w="10795" cap="flat" cmpd="sng" algn="ctr">
            <a:noFill/>
            <a:prstDash val="solid"/>
          </a:ln>
          <a:effectLst/>
        </p:spPr>
        <p:txBody>
          <a:bodyPr rot="0" spcFirstLastPara="0" vert="horz" wrap="square" lIns="95089" tIns="95089" rIns="95089" bIns="95089"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187" rtl="0" eaLnBrk="1" fontAlgn="auto" latinLnBrk="0" hangingPunct="1">
              <a:lnSpc>
                <a:spcPct val="100000"/>
              </a:lnSpc>
              <a:spcBef>
                <a:spcPts val="0"/>
              </a:spcBef>
              <a:spcAft>
                <a:spcPts val="0"/>
              </a:spcAft>
              <a:buClrTx/>
              <a:buSzTx/>
              <a:buFontTx/>
              <a:buNone/>
              <a:tabLst/>
              <a:defRPr/>
            </a:pPr>
            <a:endParaRPr kumimoji="0" lang="en-US" sz="1246" b="0" i="0" u="none" strike="noStrike" kern="1200" cap="none" spc="0" normalizeH="0" baseline="0" noProof="0" dirty="0">
              <a:ln>
                <a:noFill/>
              </a:ln>
              <a:solidFill>
                <a:srgbClr val="FFFFFF"/>
              </a:solidFill>
              <a:effectLst/>
              <a:uLnTx/>
              <a:uFillTx/>
              <a:latin typeface="Segoe UI"/>
              <a:ea typeface="+mn-ea"/>
              <a:cs typeface="+mn-cs"/>
            </a:endParaRPr>
          </a:p>
        </p:txBody>
      </p:sp>
      <p:sp>
        <p:nvSpPr>
          <p:cNvPr id="39" name="Freeform 53">
            <a:extLst>
              <a:ext uri="{FF2B5EF4-FFF2-40B4-BE49-F238E27FC236}">
                <a16:creationId xmlns:a16="http://schemas.microsoft.com/office/drawing/2014/main" id="{47ADD2EA-F6FF-4679-8BAF-10B56C5100B9}"/>
              </a:ext>
            </a:extLst>
          </p:cNvPr>
          <p:cNvSpPr>
            <a:spLocks/>
          </p:cNvSpPr>
          <p:nvPr/>
        </p:nvSpPr>
        <p:spPr bwMode="auto">
          <a:xfrm>
            <a:off x="2564957" y="6093454"/>
            <a:ext cx="593857" cy="361542"/>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rgbClr val="FFFFFF"/>
          </a:solidFill>
          <a:ln w="10795" cap="flat" cmpd="sng" algn="ctr">
            <a:noFill/>
            <a:prstDash val="solid"/>
          </a:ln>
          <a:effectLst/>
        </p:spPr>
        <p:txBody>
          <a:bodyPr vert="horz" wrap="square" lIns="93234" tIns="46616" rIns="93234" bIns="46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solidFill>
                  <a:srgbClr val="00188F">
                    <a:alpha val="0"/>
                  </a:srgbClr>
                </a:solidFill>
              </a:ln>
              <a:solidFill>
                <a:srgbClr val="FFFFFF"/>
              </a:solidFill>
              <a:effectLst/>
              <a:uLnTx/>
              <a:uFillTx/>
              <a:latin typeface="Segoe UI"/>
              <a:ea typeface="+mn-ea"/>
              <a:cs typeface="+mn-cs"/>
            </a:endParaRPr>
          </a:p>
        </p:txBody>
      </p:sp>
      <p:sp>
        <p:nvSpPr>
          <p:cNvPr id="43" name="Freeform 57">
            <a:extLst>
              <a:ext uri="{FF2B5EF4-FFF2-40B4-BE49-F238E27FC236}">
                <a16:creationId xmlns:a16="http://schemas.microsoft.com/office/drawing/2014/main" id="{12214BD6-11D5-4D29-84D5-7B78C4BA936C}"/>
              </a:ext>
            </a:extLst>
          </p:cNvPr>
          <p:cNvSpPr>
            <a:spLocks noEditPoints="1"/>
          </p:cNvSpPr>
          <p:nvPr/>
        </p:nvSpPr>
        <p:spPr bwMode="auto">
          <a:xfrm>
            <a:off x="8519533" y="6013389"/>
            <a:ext cx="442348" cy="444244"/>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FFFFFF"/>
          </a:solidFill>
          <a:ln w="9525">
            <a:noFill/>
            <a:round/>
            <a:headEnd/>
            <a:tailEnd/>
          </a:ln>
          <a:extLst/>
        </p:spPr>
        <p:txBody>
          <a:bodyPr vert="horz" wrap="square" lIns="93209" tIns="46606" rIns="93209" bIns="4660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1959"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44" name="Group 43">
            <a:extLst>
              <a:ext uri="{FF2B5EF4-FFF2-40B4-BE49-F238E27FC236}">
                <a16:creationId xmlns:a16="http://schemas.microsoft.com/office/drawing/2014/main" id="{EC04564E-E8CE-4783-859D-08183A004339}"/>
              </a:ext>
            </a:extLst>
          </p:cNvPr>
          <p:cNvGrpSpPr/>
          <p:nvPr/>
        </p:nvGrpSpPr>
        <p:grpSpPr>
          <a:xfrm>
            <a:off x="5820503" y="4057201"/>
            <a:ext cx="287432" cy="454236"/>
            <a:chOff x="5462846" y="3510375"/>
            <a:chExt cx="281862" cy="445434"/>
          </a:xfrm>
          <a:solidFill>
            <a:srgbClr val="FFFFFF"/>
          </a:solidFill>
        </p:grpSpPr>
        <p:sp>
          <p:nvSpPr>
            <p:cNvPr id="45" name="Freeform 60">
              <a:extLst>
                <a:ext uri="{FF2B5EF4-FFF2-40B4-BE49-F238E27FC236}">
                  <a16:creationId xmlns:a16="http://schemas.microsoft.com/office/drawing/2014/main" id="{548FAA0C-C0F3-4565-BC3D-0C01EA52CD0D}"/>
                </a:ext>
              </a:extLst>
            </p:cNvPr>
            <p:cNvSpPr>
              <a:spLocks/>
            </p:cNvSpPr>
            <p:nvPr/>
          </p:nvSpPr>
          <p:spPr bwMode="auto">
            <a:xfrm>
              <a:off x="5586234" y="3510375"/>
              <a:ext cx="158474" cy="443325"/>
            </a:xfrm>
            <a:custGeom>
              <a:avLst/>
              <a:gdLst>
                <a:gd name="T0" fmla="*/ 315 w 317"/>
                <a:gd name="T1" fmla="*/ 139 h 886"/>
                <a:gd name="T2" fmla="*/ 310 w 317"/>
                <a:gd name="T3" fmla="*/ 113 h 886"/>
                <a:gd name="T4" fmla="*/ 302 w 317"/>
                <a:gd name="T5" fmla="*/ 88 h 886"/>
                <a:gd name="T6" fmla="*/ 290 w 317"/>
                <a:gd name="T7" fmla="*/ 66 h 886"/>
                <a:gd name="T8" fmla="*/ 274 w 317"/>
                <a:gd name="T9" fmla="*/ 45 h 886"/>
                <a:gd name="T10" fmla="*/ 256 w 317"/>
                <a:gd name="T11" fmla="*/ 28 h 886"/>
                <a:gd name="T12" fmla="*/ 235 w 317"/>
                <a:gd name="T13" fmla="*/ 14 h 886"/>
                <a:gd name="T14" fmla="*/ 212 w 317"/>
                <a:gd name="T15" fmla="*/ 3 h 886"/>
                <a:gd name="T16" fmla="*/ 200 w 317"/>
                <a:gd name="T17" fmla="*/ 141 h 886"/>
                <a:gd name="T18" fmla="*/ 140 w 317"/>
                <a:gd name="T19" fmla="*/ 164 h 886"/>
                <a:gd name="T20" fmla="*/ 117 w 317"/>
                <a:gd name="T21" fmla="*/ 0 h 886"/>
                <a:gd name="T22" fmla="*/ 92 w 317"/>
                <a:gd name="T23" fmla="*/ 10 h 886"/>
                <a:gd name="T24" fmla="*/ 70 w 317"/>
                <a:gd name="T25" fmla="*/ 20 h 886"/>
                <a:gd name="T26" fmla="*/ 50 w 317"/>
                <a:gd name="T27" fmla="*/ 38 h 886"/>
                <a:gd name="T28" fmla="*/ 33 w 317"/>
                <a:gd name="T29" fmla="*/ 55 h 886"/>
                <a:gd name="T30" fmla="*/ 19 w 317"/>
                <a:gd name="T31" fmla="*/ 77 h 886"/>
                <a:gd name="T32" fmla="*/ 9 w 317"/>
                <a:gd name="T33" fmla="*/ 100 h 886"/>
                <a:gd name="T34" fmla="*/ 1 w 317"/>
                <a:gd name="T35" fmla="*/ 125 h 886"/>
                <a:gd name="T36" fmla="*/ 0 w 317"/>
                <a:gd name="T37" fmla="*/ 153 h 886"/>
                <a:gd name="T38" fmla="*/ 0 w 317"/>
                <a:gd name="T39" fmla="*/ 155 h 886"/>
                <a:gd name="T40" fmla="*/ 0 w 317"/>
                <a:gd name="T41" fmla="*/ 169 h 886"/>
                <a:gd name="T42" fmla="*/ 4 w 317"/>
                <a:gd name="T43" fmla="*/ 191 h 886"/>
                <a:gd name="T44" fmla="*/ 11 w 317"/>
                <a:gd name="T45" fmla="*/ 213 h 886"/>
                <a:gd name="T46" fmla="*/ 20 w 317"/>
                <a:gd name="T47" fmla="*/ 233 h 886"/>
                <a:gd name="T48" fmla="*/ 33 w 317"/>
                <a:gd name="T49" fmla="*/ 250 h 886"/>
                <a:gd name="T50" fmla="*/ 48 w 317"/>
                <a:gd name="T51" fmla="*/ 267 h 886"/>
                <a:gd name="T52" fmla="*/ 64 w 317"/>
                <a:gd name="T53" fmla="*/ 281 h 886"/>
                <a:gd name="T54" fmla="*/ 84 w 317"/>
                <a:gd name="T55" fmla="*/ 292 h 886"/>
                <a:gd name="T56" fmla="*/ 93 w 317"/>
                <a:gd name="T57" fmla="*/ 825 h 886"/>
                <a:gd name="T58" fmla="*/ 95 w 317"/>
                <a:gd name="T59" fmla="*/ 837 h 886"/>
                <a:gd name="T60" fmla="*/ 98 w 317"/>
                <a:gd name="T61" fmla="*/ 848 h 886"/>
                <a:gd name="T62" fmla="*/ 104 w 317"/>
                <a:gd name="T63" fmla="*/ 859 h 886"/>
                <a:gd name="T64" fmla="*/ 114 w 317"/>
                <a:gd name="T65" fmla="*/ 868 h 886"/>
                <a:gd name="T66" fmla="*/ 123 w 317"/>
                <a:gd name="T67" fmla="*/ 875 h 886"/>
                <a:gd name="T68" fmla="*/ 134 w 317"/>
                <a:gd name="T69" fmla="*/ 881 h 886"/>
                <a:gd name="T70" fmla="*/ 145 w 317"/>
                <a:gd name="T71" fmla="*/ 884 h 886"/>
                <a:gd name="T72" fmla="*/ 159 w 317"/>
                <a:gd name="T73" fmla="*/ 886 h 886"/>
                <a:gd name="T74" fmla="*/ 170 w 317"/>
                <a:gd name="T75" fmla="*/ 884 h 886"/>
                <a:gd name="T76" fmla="*/ 182 w 317"/>
                <a:gd name="T77" fmla="*/ 881 h 886"/>
                <a:gd name="T78" fmla="*/ 193 w 317"/>
                <a:gd name="T79" fmla="*/ 875 h 886"/>
                <a:gd name="T80" fmla="*/ 203 w 317"/>
                <a:gd name="T81" fmla="*/ 868 h 886"/>
                <a:gd name="T82" fmla="*/ 210 w 317"/>
                <a:gd name="T83" fmla="*/ 859 h 886"/>
                <a:gd name="T84" fmla="*/ 217 w 317"/>
                <a:gd name="T85" fmla="*/ 848 h 886"/>
                <a:gd name="T86" fmla="*/ 221 w 317"/>
                <a:gd name="T87" fmla="*/ 837 h 886"/>
                <a:gd name="T88" fmla="*/ 223 w 317"/>
                <a:gd name="T89" fmla="*/ 825 h 886"/>
                <a:gd name="T90" fmla="*/ 232 w 317"/>
                <a:gd name="T91" fmla="*/ 292 h 886"/>
                <a:gd name="T92" fmla="*/ 251 w 317"/>
                <a:gd name="T93" fmla="*/ 281 h 886"/>
                <a:gd name="T94" fmla="*/ 268 w 317"/>
                <a:gd name="T95" fmla="*/ 267 h 886"/>
                <a:gd name="T96" fmla="*/ 282 w 317"/>
                <a:gd name="T97" fmla="*/ 250 h 886"/>
                <a:gd name="T98" fmla="*/ 295 w 317"/>
                <a:gd name="T99" fmla="*/ 233 h 886"/>
                <a:gd name="T100" fmla="*/ 306 w 317"/>
                <a:gd name="T101" fmla="*/ 213 h 886"/>
                <a:gd name="T102" fmla="*/ 312 w 317"/>
                <a:gd name="T103" fmla="*/ 191 h 886"/>
                <a:gd name="T104" fmla="*/ 315 w 317"/>
                <a:gd name="T105" fmla="*/ 169 h 886"/>
                <a:gd name="T106" fmla="*/ 317 w 317"/>
                <a:gd name="T107" fmla="*/ 155 h 886"/>
                <a:gd name="T108" fmla="*/ 317 w 317"/>
                <a:gd name="T109" fmla="*/ 15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7" h="886">
                  <a:moveTo>
                    <a:pt x="317" y="153"/>
                  </a:moveTo>
                  <a:lnTo>
                    <a:pt x="315" y="139"/>
                  </a:lnTo>
                  <a:lnTo>
                    <a:pt x="313" y="125"/>
                  </a:lnTo>
                  <a:lnTo>
                    <a:pt x="310" y="113"/>
                  </a:lnTo>
                  <a:lnTo>
                    <a:pt x="307" y="100"/>
                  </a:lnTo>
                  <a:lnTo>
                    <a:pt x="302" y="88"/>
                  </a:lnTo>
                  <a:lnTo>
                    <a:pt x="296" y="77"/>
                  </a:lnTo>
                  <a:lnTo>
                    <a:pt x="290" y="66"/>
                  </a:lnTo>
                  <a:lnTo>
                    <a:pt x="282" y="55"/>
                  </a:lnTo>
                  <a:lnTo>
                    <a:pt x="274" y="45"/>
                  </a:lnTo>
                  <a:lnTo>
                    <a:pt x="265" y="38"/>
                  </a:lnTo>
                  <a:lnTo>
                    <a:pt x="256" y="28"/>
                  </a:lnTo>
                  <a:lnTo>
                    <a:pt x="246" y="20"/>
                  </a:lnTo>
                  <a:lnTo>
                    <a:pt x="235" y="14"/>
                  </a:lnTo>
                  <a:lnTo>
                    <a:pt x="223" y="10"/>
                  </a:lnTo>
                  <a:lnTo>
                    <a:pt x="212" y="3"/>
                  </a:lnTo>
                  <a:lnTo>
                    <a:pt x="200" y="0"/>
                  </a:lnTo>
                  <a:lnTo>
                    <a:pt x="200" y="141"/>
                  </a:lnTo>
                  <a:lnTo>
                    <a:pt x="176" y="164"/>
                  </a:lnTo>
                  <a:lnTo>
                    <a:pt x="140" y="164"/>
                  </a:lnTo>
                  <a:lnTo>
                    <a:pt x="117" y="141"/>
                  </a:lnTo>
                  <a:lnTo>
                    <a:pt x="117" y="0"/>
                  </a:lnTo>
                  <a:lnTo>
                    <a:pt x="104" y="3"/>
                  </a:lnTo>
                  <a:lnTo>
                    <a:pt x="92" y="10"/>
                  </a:lnTo>
                  <a:lnTo>
                    <a:pt x="81" y="14"/>
                  </a:lnTo>
                  <a:lnTo>
                    <a:pt x="70" y="20"/>
                  </a:lnTo>
                  <a:lnTo>
                    <a:pt x="61" y="28"/>
                  </a:lnTo>
                  <a:lnTo>
                    <a:pt x="50" y="38"/>
                  </a:lnTo>
                  <a:lnTo>
                    <a:pt x="42" y="45"/>
                  </a:lnTo>
                  <a:lnTo>
                    <a:pt x="33" y="55"/>
                  </a:lnTo>
                  <a:lnTo>
                    <a:pt x="26" y="66"/>
                  </a:lnTo>
                  <a:lnTo>
                    <a:pt x="19" y="77"/>
                  </a:lnTo>
                  <a:lnTo>
                    <a:pt x="14" y="88"/>
                  </a:lnTo>
                  <a:lnTo>
                    <a:pt x="9" y="100"/>
                  </a:lnTo>
                  <a:lnTo>
                    <a:pt x="4" y="113"/>
                  </a:lnTo>
                  <a:lnTo>
                    <a:pt x="1" y="125"/>
                  </a:lnTo>
                  <a:lnTo>
                    <a:pt x="0" y="139"/>
                  </a:lnTo>
                  <a:lnTo>
                    <a:pt x="0" y="153"/>
                  </a:lnTo>
                  <a:lnTo>
                    <a:pt x="0" y="153"/>
                  </a:lnTo>
                  <a:lnTo>
                    <a:pt x="0" y="155"/>
                  </a:lnTo>
                  <a:lnTo>
                    <a:pt x="0" y="156"/>
                  </a:lnTo>
                  <a:lnTo>
                    <a:pt x="0" y="169"/>
                  </a:lnTo>
                  <a:lnTo>
                    <a:pt x="1" y="180"/>
                  </a:lnTo>
                  <a:lnTo>
                    <a:pt x="4" y="191"/>
                  </a:lnTo>
                  <a:lnTo>
                    <a:pt x="6" y="202"/>
                  </a:lnTo>
                  <a:lnTo>
                    <a:pt x="11" y="213"/>
                  </a:lnTo>
                  <a:lnTo>
                    <a:pt x="15" y="222"/>
                  </a:lnTo>
                  <a:lnTo>
                    <a:pt x="20" y="233"/>
                  </a:lnTo>
                  <a:lnTo>
                    <a:pt x="26" y="242"/>
                  </a:lnTo>
                  <a:lnTo>
                    <a:pt x="33" y="250"/>
                  </a:lnTo>
                  <a:lnTo>
                    <a:pt x="40" y="259"/>
                  </a:lnTo>
                  <a:lnTo>
                    <a:pt x="48" y="267"/>
                  </a:lnTo>
                  <a:lnTo>
                    <a:pt x="56" y="275"/>
                  </a:lnTo>
                  <a:lnTo>
                    <a:pt x="64" y="281"/>
                  </a:lnTo>
                  <a:lnTo>
                    <a:pt x="73" y="288"/>
                  </a:lnTo>
                  <a:lnTo>
                    <a:pt x="84" y="292"/>
                  </a:lnTo>
                  <a:lnTo>
                    <a:pt x="93" y="298"/>
                  </a:lnTo>
                  <a:lnTo>
                    <a:pt x="93" y="825"/>
                  </a:lnTo>
                  <a:lnTo>
                    <a:pt x="93" y="831"/>
                  </a:lnTo>
                  <a:lnTo>
                    <a:pt x="95" y="837"/>
                  </a:lnTo>
                  <a:lnTo>
                    <a:pt x="97" y="842"/>
                  </a:lnTo>
                  <a:lnTo>
                    <a:pt x="98" y="848"/>
                  </a:lnTo>
                  <a:lnTo>
                    <a:pt x="101" y="853"/>
                  </a:lnTo>
                  <a:lnTo>
                    <a:pt x="104" y="859"/>
                  </a:lnTo>
                  <a:lnTo>
                    <a:pt x="109" y="864"/>
                  </a:lnTo>
                  <a:lnTo>
                    <a:pt x="114" y="868"/>
                  </a:lnTo>
                  <a:lnTo>
                    <a:pt x="118" y="872"/>
                  </a:lnTo>
                  <a:lnTo>
                    <a:pt x="123" y="875"/>
                  </a:lnTo>
                  <a:lnTo>
                    <a:pt x="128" y="878"/>
                  </a:lnTo>
                  <a:lnTo>
                    <a:pt x="134" y="881"/>
                  </a:lnTo>
                  <a:lnTo>
                    <a:pt x="140" y="882"/>
                  </a:lnTo>
                  <a:lnTo>
                    <a:pt x="145" y="884"/>
                  </a:lnTo>
                  <a:lnTo>
                    <a:pt x="151" y="886"/>
                  </a:lnTo>
                  <a:lnTo>
                    <a:pt x="159" y="886"/>
                  </a:lnTo>
                  <a:lnTo>
                    <a:pt x="165" y="886"/>
                  </a:lnTo>
                  <a:lnTo>
                    <a:pt x="170" y="884"/>
                  </a:lnTo>
                  <a:lnTo>
                    <a:pt x="176" y="882"/>
                  </a:lnTo>
                  <a:lnTo>
                    <a:pt x="182" y="881"/>
                  </a:lnTo>
                  <a:lnTo>
                    <a:pt x="189" y="878"/>
                  </a:lnTo>
                  <a:lnTo>
                    <a:pt x="193" y="875"/>
                  </a:lnTo>
                  <a:lnTo>
                    <a:pt x="198" y="872"/>
                  </a:lnTo>
                  <a:lnTo>
                    <a:pt x="203" y="868"/>
                  </a:lnTo>
                  <a:lnTo>
                    <a:pt x="207" y="864"/>
                  </a:lnTo>
                  <a:lnTo>
                    <a:pt x="210" y="859"/>
                  </a:lnTo>
                  <a:lnTo>
                    <a:pt x="214" y="853"/>
                  </a:lnTo>
                  <a:lnTo>
                    <a:pt x="217" y="848"/>
                  </a:lnTo>
                  <a:lnTo>
                    <a:pt x="220" y="842"/>
                  </a:lnTo>
                  <a:lnTo>
                    <a:pt x="221" y="837"/>
                  </a:lnTo>
                  <a:lnTo>
                    <a:pt x="221" y="831"/>
                  </a:lnTo>
                  <a:lnTo>
                    <a:pt x="223" y="825"/>
                  </a:lnTo>
                  <a:lnTo>
                    <a:pt x="223" y="298"/>
                  </a:lnTo>
                  <a:lnTo>
                    <a:pt x="232" y="292"/>
                  </a:lnTo>
                  <a:lnTo>
                    <a:pt x="242" y="288"/>
                  </a:lnTo>
                  <a:lnTo>
                    <a:pt x="251" y="281"/>
                  </a:lnTo>
                  <a:lnTo>
                    <a:pt x="260" y="275"/>
                  </a:lnTo>
                  <a:lnTo>
                    <a:pt x="268" y="267"/>
                  </a:lnTo>
                  <a:lnTo>
                    <a:pt x="276" y="259"/>
                  </a:lnTo>
                  <a:lnTo>
                    <a:pt x="282" y="250"/>
                  </a:lnTo>
                  <a:lnTo>
                    <a:pt x="290" y="242"/>
                  </a:lnTo>
                  <a:lnTo>
                    <a:pt x="295" y="233"/>
                  </a:lnTo>
                  <a:lnTo>
                    <a:pt x="301" y="222"/>
                  </a:lnTo>
                  <a:lnTo>
                    <a:pt x="306" y="213"/>
                  </a:lnTo>
                  <a:lnTo>
                    <a:pt x="309" y="202"/>
                  </a:lnTo>
                  <a:lnTo>
                    <a:pt x="312" y="191"/>
                  </a:lnTo>
                  <a:lnTo>
                    <a:pt x="313" y="180"/>
                  </a:lnTo>
                  <a:lnTo>
                    <a:pt x="315" y="169"/>
                  </a:lnTo>
                  <a:lnTo>
                    <a:pt x="317" y="156"/>
                  </a:lnTo>
                  <a:lnTo>
                    <a:pt x="317" y="155"/>
                  </a:lnTo>
                  <a:lnTo>
                    <a:pt x="317" y="153"/>
                  </a:lnTo>
                  <a:lnTo>
                    <a:pt x="317" y="153"/>
                  </a:lnTo>
                  <a:lnTo>
                    <a:pt x="317" y="153"/>
                  </a:lnTo>
                  <a:close/>
                </a:path>
              </a:pathLst>
            </a:custGeom>
            <a:grpFill/>
            <a:ln w="9525">
              <a:noFill/>
              <a:round/>
              <a:headEnd/>
              <a:tailEnd/>
            </a:ln>
            <a:extLst/>
          </p:spPr>
          <p:txBody>
            <a:bodyPr vert="horz" wrap="square" lIns="93209" tIns="46606" rIns="93209" bIns="4660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1959"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dirty="0">
                <a:ln>
                  <a:noFill/>
                </a:ln>
                <a:solidFill>
                  <a:srgbClr val="FFFFFF"/>
                </a:solidFill>
                <a:effectLst/>
                <a:uLnTx/>
                <a:uFillTx/>
                <a:latin typeface="Segoe UI"/>
                <a:ea typeface="+mn-ea"/>
                <a:cs typeface="+mn-cs"/>
              </a:endParaRPr>
            </a:p>
          </p:txBody>
        </p:sp>
        <p:sp>
          <p:nvSpPr>
            <p:cNvPr id="46" name="Freeform 61">
              <a:extLst>
                <a:ext uri="{FF2B5EF4-FFF2-40B4-BE49-F238E27FC236}">
                  <a16:creationId xmlns:a16="http://schemas.microsoft.com/office/drawing/2014/main" id="{2B6DB190-72D5-48EA-831C-4D0154E56DB7}"/>
                </a:ext>
              </a:extLst>
            </p:cNvPr>
            <p:cNvSpPr>
              <a:spLocks/>
            </p:cNvSpPr>
            <p:nvPr/>
          </p:nvSpPr>
          <p:spPr bwMode="auto">
            <a:xfrm>
              <a:off x="5462846" y="3780280"/>
              <a:ext cx="99297" cy="111335"/>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grpFill/>
            <a:ln w="9525">
              <a:noFill/>
              <a:round/>
              <a:headEnd/>
              <a:tailEnd/>
            </a:ln>
            <a:extLst/>
          </p:spPr>
          <p:txBody>
            <a:bodyPr vert="horz" wrap="square" lIns="93209" tIns="46606" rIns="93209" bIns="4660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1959"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dirty="0">
                <a:ln>
                  <a:noFill/>
                </a:ln>
                <a:solidFill>
                  <a:srgbClr val="FFFFFF"/>
                </a:solidFill>
                <a:effectLst/>
                <a:uLnTx/>
                <a:uFillTx/>
                <a:latin typeface="Segoe UI"/>
                <a:ea typeface="+mn-ea"/>
                <a:cs typeface="+mn-cs"/>
              </a:endParaRPr>
            </a:p>
          </p:txBody>
        </p:sp>
        <p:sp>
          <p:nvSpPr>
            <p:cNvPr id="47" name="Freeform 62">
              <a:extLst>
                <a:ext uri="{FF2B5EF4-FFF2-40B4-BE49-F238E27FC236}">
                  <a16:creationId xmlns:a16="http://schemas.microsoft.com/office/drawing/2014/main" id="{7DE9F45F-4050-41F9-86DB-3ACBDD0EB863}"/>
                </a:ext>
              </a:extLst>
            </p:cNvPr>
            <p:cNvSpPr>
              <a:spLocks/>
            </p:cNvSpPr>
            <p:nvPr/>
          </p:nvSpPr>
          <p:spPr bwMode="auto">
            <a:xfrm>
              <a:off x="5462846" y="3904655"/>
              <a:ext cx="99297" cy="51154"/>
            </a:xfrm>
            <a:custGeom>
              <a:avLst/>
              <a:gdLst>
                <a:gd name="T0" fmla="*/ 0 w 198"/>
                <a:gd name="T1" fmla="*/ 10 h 102"/>
                <a:gd name="T2" fmla="*/ 0 w 198"/>
                <a:gd name="T3" fmla="*/ 28 h 102"/>
                <a:gd name="T4" fmla="*/ 0 w 198"/>
                <a:gd name="T5" fmla="*/ 38 h 102"/>
                <a:gd name="T6" fmla="*/ 1 w 198"/>
                <a:gd name="T7" fmla="*/ 46 h 102"/>
                <a:gd name="T8" fmla="*/ 3 w 198"/>
                <a:gd name="T9" fmla="*/ 53 h 102"/>
                <a:gd name="T10" fmla="*/ 4 w 198"/>
                <a:gd name="T11" fmla="*/ 61 h 102"/>
                <a:gd name="T12" fmla="*/ 8 w 198"/>
                <a:gd name="T13" fmla="*/ 69 h 102"/>
                <a:gd name="T14" fmla="*/ 12 w 198"/>
                <a:gd name="T15" fmla="*/ 75 h 102"/>
                <a:gd name="T16" fmla="*/ 17 w 198"/>
                <a:gd name="T17" fmla="*/ 81 h 102"/>
                <a:gd name="T18" fmla="*/ 23 w 198"/>
                <a:gd name="T19" fmla="*/ 86 h 102"/>
                <a:gd name="T20" fmla="*/ 31 w 198"/>
                <a:gd name="T21" fmla="*/ 91 h 102"/>
                <a:gd name="T22" fmla="*/ 36 w 198"/>
                <a:gd name="T23" fmla="*/ 92 h 102"/>
                <a:gd name="T24" fmla="*/ 42 w 198"/>
                <a:gd name="T25" fmla="*/ 94 h 102"/>
                <a:gd name="T26" fmla="*/ 47 w 198"/>
                <a:gd name="T27" fmla="*/ 95 h 102"/>
                <a:gd name="T28" fmla="*/ 53 w 198"/>
                <a:gd name="T29" fmla="*/ 97 h 102"/>
                <a:gd name="T30" fmla="*/ 59 w 198"/>
                <a:gd name="T31" fmla="*/ 99 h 102"/>
                <a:gd name="T32" fmla="*/ 65 w 198"/>
                <a:gd name="T33" fmla="*/ 100 h 102"/>
                <a:gd name="T34" fmla="*/ 73 w 198"/>
                <a:gd name="T35" fmla="*/ 100 h 102"/>
                <a:gd name="T36" fmla="*/ 81 w 198"/>
                <a:gd name="T37" fmla="*/ 102 h 102"/>
                <a:gd name="T38" fmla="*/ 89 w 198"/>
                <a:gd name="T39" fmla="*/ 102 h 102"/>
                <a:gd name="T40" fmla="*/ 98 w 198"/>
                <a:gd name="T41" fmla="*/ 102 h 102"/>
                <a:gd name="T42" fmla="*/ 106 w 198"/>
                <a:gd name="T43" fmla="*/ 102 h 102"/>
                <a:gd name="T44" fmla="*/ 115 w 198"/>
                <a:gd name="T45" fmla="*/ 102 h 102"/>
                <a:gd name="T46" fmla="*/ 123 w 198"/>
                <a:gd name="T47" fmla="*/ 100 h 102"/>
                <a:gd name="T48" fmla="*/ 131 w 198"/>
                <a:gd name="T49" fmla="*/ 100 h 102"/>
                <a:gd name="T50" fmla="*/ 137 w 198"/>
                <a:gd name="T51" fmla="*/ 99 h 102"/>
                <a:gd name="T52" fmla="*/ 143 w 198"/>
                <a:gd name="T53" fmla="*/ 97 h 102"/>
                <a:gd name="T54" fmla="*/ 150 w 198"/>
                <a:gd name="T55" fmla="*/ 95 h 102"/>
                <a:gd name="T56" fmla="*/ 156 w 198"/>
                <a:gd name="T57" fmla="*/ 94 h 102"/>
                <a:gd name="T58" fmla="*/ 161 w 198"/>
                <a:gd name="T59" fmla="*/ 92 h 102"/>
                <a:gd name="T60" fmla="*/ 165 w 198"/>
                <a:gd name="T61" fmla="*/ 91 h 102"/>
                <a:gd name="T62" fmla="*/ 170 w 198"/>
                <a:gd name="T63" fmla="*/ 89 h 102"/>
                <a:gd name="T64" fmla="*/ 173 w 198"/>
                <a:gd name="T65" fmla="*/ 86 h 102"/>
                <a:gd name="T66" fmla="*/ 181 w 198"/>
                <a:gd name="T67" fmla="*/ 81 h 102"/>
                <a:gd name="T68" fmla="*/ 185 w 198"/>
                <a:gd name="T69" fmla="*/ 75 h 102"/>
                <a:gd name="T70" fmla="*/ 190 w 198"/>
                <a:gd name="T71" fmla="*/ 69 h 102"/>
                <a:gd name="T72" fmla="*/ 193 w 198"/>
                <a:gd name="T73" fmla="*/ 61 h 102"/>
                <a:gd name="T74" fmla="*/ 195 w 198"/>
                <a:gd name="T75" fmla="*/ 53 h 102"/>
                <a:gd name="T76" fmla="*/ 196 w 198"/>
                <a:gd name="T77" fmla="*/ 46 h 102"/>
                <a:gd name="T78" fmla="*/ 198 w 198"/>
                <a:gd name="T79" fmla="*/ 38 h 102"/>
                <a:gd name="T80" fmla="*/ 198 w 198"/>
                <a:gd name="T81" fmla="*/ 28 h 102"/>
                <a:gd name="T82" fmla="*/ 198 w 198"/>
                <a:gd name="T83" fmla="*/ 10 h 102"/>
                <a:gd name="T84" fmla="*/ 198 w 198"/>
                <a:gd name="T85" fmla="*/ 10 h 102"/>
                <a:gd name="T86" fmla="*/ 198 w 198"/>
                <a:gd name="T87" fmla="*/ 0 h 102"/>
                <a:gd name="T88" fmla="*/ 0 w 198"/>
                <a:gd name="T89" fmla="*/ 0 h 102"/>
                <a:gd name="T90" fmla="*/ 0 w 198"/>
                <a:gd name="T91" fmla="*/ 10 h 102"/>
                <a:gd name="T92" fmla="*/ 0 w 198"/>
                <a:gd name="T93" fmla="*/ 1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02">
                  <a:moveTo>
                    <a:pt x="0" y="10"/>
                  </a:moveTo>
                  <a:lnTo>
                    <a:pt x="0" y="28"/>
                  </a:lnTo>
                  <a:lnTo>
                    <a:pt x="0" y="38"/>
                  </a:lnTo>
                  <a:lnTo>
                    <a:pt x="1" y="46"/>
                  </a:lnTo>
                  <a:lnTo>
                    <a:pt x="3" y="53"/>
                  </a:lnTo>
                  <a:lnTo>
                    <a:pt x="4" y="61"/>
                  </a:lnTo>
                  <a:lnTo>
                    <a:pt x="8" y="69"/>
                  </a:lnTo>
                  <a:lnTo>
                    <a:pt x="12" y="75"/>
                  </a:lnTo>
                  <a:lnTo>
                    <a:pt x="17" y="81"/>
                  </a:lnTo>
                  <a:lnTo>
                    <a:pt x="23" y="86"/>
                  </a:lnTo>
                  <a:lnTo>
                    <a:pt x="31" y="91"/>
                  </a:lnTo>
                  <a:lnTo>
                    <a:pt x="36" y="92"/>
                  </a:lnTo>
                  <a:lnTo>
                    <a:pt x="42" y="94"/>
                  </a:lnTo>
                  <a:lnTo>
                    <a:pt x="47" y="95"/>
                  </a:lnTo>
                  <a:lnTo>
                    <a:pt x="53" y="97"/>
                  </a:lnTo>
                  <a:lnTo>
                    <a:pt x="59" y="99"/>
                  </a:lnTo>
                  <a:lnTo>
                    <a:pt x="65" y="100"/>
                  </a:lnTo>
                  <a:lnTo>
                    <a:pt x="73" y="100"/>
                  </a:lnTo>
                  <a:lnTo>
                    <a:pt x="81" y="102"/>
                  </a:lnTo>
                  <a:lnTo>
                    <a:pt x="89" y="102"/>
                  </a:lnTo>
                  <a:lnTo>
                    <a:pt x="98" y="102"/>
                  </a:lnTo>
                  <a:lnTo>
                    <a:pt x="106" y="102"/>
                  </a:lnTo>
                  <a:lnTo>
                    <a:pt x="115" y="102"/>
                  </a:lnTo>
                  <a:lnTo>
                    <a:pt x="123" y="100"/>
                  </a:lnTo>
                  <a:lnTo>
                    <a:pt x="131" y="100"/>
                  </a:lnTo>
                  <a:lnTo>
                    <a:pt x="137" y="99"/>
                  </a:lnTo>
                  <a:lnTo>
                    <a:pt x="143" y="97"/>
                  </a:lnTo>
                  <a:lnTo>
                    <a:pt x="150" y="95"/>
                  </a:lnTo>
                  <a:lnTo>
                    <a:pt x="156" y="94"/>
                  </a:lnTo>
                  <a:lnTo>
                    <a:pt x="161" y="92"/>
                  </a:lnTo>
                  <a:lnTo>
                    <a:pt x="165" y="91"/>
                  </a:lnTo>
                  <a:lnTo>
                    <a:pt x="170" y="89"/>
                  </a:lnTo>
                  <a:lnTo>
                    <a:pt x="173" y="86"/>
                  </a:lnTo>
                  <a:lnTo>
                    <a:pt x="181" y="81"/>
                  </a:lnTo>
                  <a:lnTo>
                    <a:pt x="185" y="75"/>
                  </a:lnTo>
                  <a:lnTo>
                    <a:pt x="190" y="69"/>
                  </a:lnTo>
                  <a:lnTo>
                    <a:pt x="193" y="61"/>
                  </a:lnTo>
                  <a:lnTo>
                    <a:pt x="195" y="53"/>
                  </a:lnTo>
                  <a:lnTo>
                    <a:pt x="196" y="46"/>
                  </a:lnTo>
                  <a:lnTo>
                    <a:pt x="198" y="38"/>
                  </a:lnTo>
                  <a:lnTo>
                    <a:pt x="198" y="28"/>
                  </a:lnTo>
                  <a:lnTo>
                    <a:pt x="198" y="10"/>
                  </a:lnTo>
                  <a:lnTo>
                    <a:pt x="198" y="10"/>
                  </a:lnTo>
                  <a:lnTo>
                    <a:pt x="198" y="0"/>
                  </a:lnTo>
                  <a:lnTo>
                    <a:pt x="0" y="0"/>
                  </a:lnTo>
                  <a:lnTo>
                    <a:pt x="0" y="10"/>
                  </a:lnTo>
                  <a:lnTo>
                    <a:pt x="0" y="10"/>
                  </a:lnTo>
                  <a:close/>
                </a:path>
              </a:pathLst>
            </a:custGeom>
            <a:grpFill/>
            <a:ln w="9525">
              <a:noFill/>
              <a:round/>
              <a:headEnd/>
              <a:tailEnd/>
            </a:ln>
            <a:extLst/>
          </p:spPr>
          <p:txBody>
            <a:bodyPr vert="horz" wrap="square" lIns="93209" tIns="46606" rIns="93209" bIns="4660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1959"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dirty="0">
                <a:ln>
                  <a:noFill/>
                </a:ln>
                <a:solidFill>
                  <a:srgbClr val="FFFFFF"/>
                </a:solidFill>
                <a:effectLst/>
                <a:uLnTx/>
                <a:uFillTx/>
                <a:latin typeface="Segoe UI"/>
                <a:ea typeface="+mn-ea"/>
                <a:cs typeface="+mn-cs"/>
              </a:endParaRPr>
            </a:p>
          </p:txBody>
        </p:sp>
        <p:sp>
          <p:nvSpPr>
            <p:cNvPr id="48" name="Freeform 63">
              <a:extLst>
                <a:ext uri="{FF2B5EF4-FFF2-40B4-BE49-F238E27FC236}">
                  <a16:creationId xmlns:a16="http://schemas.microsoft.com/office/drawing/2014/main" id="{6CB3FA6B-D025-47FF-8ACE-E3B933C8BAE6}"/>
                </a:ext>
              </a:extLst>
            </p:cNvPr>
            <p:cNvSpPr>
              <a:spLocks/>
            </p:cNvSpPr>
            <p:nvPr/>
          </p:nvSpPr>
          <p:spPr bwMode="auto">
            <a:xfrm>
              <a:off x="5462846" y="3521503"/>
              <a:ext cx="99297" cy="246741"/>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grpFill/>
            <a:ln w="9525">
              <a:noFill/>
              <a:round/>
              <a:headEnd/>
              <a:tailEnd/>
            </a:ln>
            <a:extLst/>
          </p:spPr>
          <p:txBody>
            <a:bodyPr vert="horz" wrap="square" lIns="93209" tIns="46606" rIns="93209" bIns="4660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1959"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9" name="Freeform 22">
            <a:extLst>
              <a:ext uri="{FF2B5EF4-FFF2-40B4-BE49-F238E27FC236}">
                <a16:creationId xmlns:a16="http://schemas.microsoft.com/office/drawing/2014/main" id="{E90E4F4B-748B-43D9-987C-423A4DBCF91F}"/>
              </a:ext>
            </a:extLst>
          </p:cNvPr>
          <p:cNvSpPr>
            <a:spLocks noChangeAspect="1" noEditPoints="1"/>
          </p:cNvSpPr>
          <p:nvPr/>
        </p:nvSpPr>
        <p:spPr bwMode="black">
          <a:xfrm>
            <a:off x="11188281" y="4077965"/>
            <a:ext cx="668300" cy="416968"/>
          </a:xfrm>
          <a:custGeom>
            <a:avLst/>
            <a:gdLst>
              <a:gd name="T0" fmla="*/ 398 w 439"/>
              <a:gd name="T1" fmla="*/ 177 h 273"/>
              <a:gd name="T2" fmla="*/ 439 w 439"/>
              <a:gd name="T3" fmla="*/ 226 h 273"/>
              <a:gd name="T4" fmla="*/ 398 w 439"/>
              <a:gd name="T5" fmla="*/ 273 h 273"/>
              <a:gd name="T6" fmla="*/ 162 w 439"/>
              <a:gd name="T7" fmla="*/ 273 h 273"/>
              <a:gd name="T8" fmla="*/ 101 w 439"/>
              <a:gd name="T9" fmla="*/ 211 h 273"/>
              <a:gd name="T10" fmla="*/ 160 w 439"/>
              <a:gd name="T11" fmla="*/ 155 h 273"/>
              <a:gd name="T12" fmla="*/ 217 w 439"/>
              <a:gd name="T13" fmla="*/ 85 h 273"/>
              <a:gd name="T14" fmla="*/ 302 w 439"/>
              <a:gd name="T15" fmla="*/ 118 h 273"/>
              <a:gd name="T16" fmla="*/ 362 w 439"/>
              <a:gd name="T17" fmla="*/ 116 h 273"/>
              <a:gd name="T18" fmla="*/ 398 w 439"/>
              <a:gd name="T19" fmla="*/ 177 h 273"/>
              <a:gd name="T20" fmla="*/ 86 w 439"/>
              <a:gd name="T21" fmla="*/ 213 h 273"/>
              <a:gd name="T22" fmla="*/ 149 w 439"/>
              <a:gd name="T23" fmla="*/ 144 h 273"/>
              <a:gd name="T24" fmla="*/ 213 w 439"/>
              <a:gd name="T25" fmla="*/ 73 h 273"/>
              <a:gd name="T26" fmla="*/ 305 w 439"/>
              <a:gd name="T27" fmla="*/ 103 h 273"/>
              <a:gd name="T28" fmla="*/ 336 w 439"/>
              <a:gd name="T29" fmla="*/ 97 h 273"/>
              <a:gd name="T30" fmla="*/ 276 w 439"/>
              <a:gd name="T31" fmla="*/ 19 h 273"/>
              <a:gd name="T32" fmla="*/ 161 w 439"/>
              <a:gd name="T33" fmla="*/ 61 h 273"/>
              <a:gd name="T34" fmla="*/ 92 w 439"/>
              <a:gd name="T35" fmla="*/ 60 h 273"/>
              <a:gd name="T36" fmla="*/ 53 w 439"/>
              <a:gd name="T37" fmla="*/ 135 h 273"/>
              <a:gd name="T38" fmla="*/ 0 w 439"/>
              <a:gd name="T39" fmla="*/ 196 h 273"/>
              <a:gd name="T40" fmla="*/ 59 w 439"/>
              <a:gd name="T41" fmla="*/ 255 h 273"/>
              <a:gd name="T42" fmla="*/ 98 w 439"/>
              <a:gd name="T43" fmla="*/ 255 h 273"/>
              <a:gd name="T44" fmla="*/ 86 w 439"/>
              <a:gd name="T45" fmla="*/ 21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73">
                <a:moveTo>
                  <a:pt x="398" y="177"/>
                </a:moveTo>
                <a:cubicBezTo>
                  <a:pt x="398" y="177"/>
                  <a:pt x="439" y="181"/>
                  <a:pt x="439" y="226"/>
                </a:cubicBezTo>
                <a:cubicBezTo>
                  <a:pt x="439" y="248"/>
                  <a:pt x="427" y="273"/>
                  <a:pt x="398" y="273"/>
                </a:cubicBezTo>
                <a:cubicBezTo>
                  <a:pt x="398" y="273"/>
                  <a:pt x="177" y="273"/>
                  <a:pt x="162" y="273"/>
                </a:cubicBezTo>
                <a:cubicBezTo>
                  <a:pt x="117" y="273"/>
                  <a:pt x="101" y="242"/>
                  <a:pt x="101" y="211"/>
                </a:cubicBezTo>
                <a:cubicBezTo>
                  <a:pt x="101" y="157"/>
                  <a:pt x="160" y="155"/>
                  <a:pt x="160" y="155"/>
                </a:cubicBezTo>
                <a:cubicBezTo>
                  <a:pt x="160" y="155"/>
                  <a:pt x="165" y="97"/>
                  <a:pt x="217" y="85"/>
                </a:cubicBezTo>
                <a:cubicBezTo>
                  <a:pt x="263" y="75"/>
                  <a:pt x="289" y="99"/>
                  <a:pt x="302" y="118"/>
                </a:cubicBezTo>
                <a:cubicBezTo>
                  <a:pt x="302" y="118"/>
                  <a:pt x="330" y="102"/>
                  <a:pt x="362" y="116"/>
                </a:cubicBezTo>
                <a:cubicBezTo>
                  <a:pt x="381" y="124"/>
                  <a:pt x="399" y="144"/>
                  <a:pt x="398" y="177"/>
                </a:cubicBezTo>
                <a:close/>
                <a:moveTo>
                  <a:pt x="86" y="213"/>
                </a:moveTo>
                <a:cubicBezTo>
                  <a:pt x="86" y="153"/>
                  <a:pt x="149" y="144"/>
                  <a:pt x="149" y="144"/>
                </a:cubicBezTo>
                <a:cubicBezTo>
                  <a:pt x="149" y="144"/>
                  <a:pt x="157" y="87"/>
                  <a:pt x="213" y="73"/>
                </a:cubicBezTo>
                <a:cubicBezTo>
                  <a:pt x="258" y="62"/>
                  <a:pt x="291" y="81"/>
                  <a:pt x="305" y="103"/>
                </a:cubicBezTo>
                <a:cubicBezTo>
                  <a:pt x="305" y="103"/>
                  <a:pt x="315" y="97"/>
                  <a:pt x="336" y="97"/>
                </a:cubicBezTo>
                <a:cubicBezTo>
                  <a:pt x="334" y="78"/>
                  <a:pt x="320" y="37"/>
                  <a:pt x="276" y="19"/>
                </a:cubicBezTo>
                <a:cubicBezTo>
                  <a:pt x="225" y="0"/>
                  <a:pt x="181" y="24"/>
                  <a:pt x="161" y="61"/>
                </a:cubicBezTo>
                <a:cubicBezTo>
                  <a:pt x="161" y="61"/>
                  <a:pt x="129" y="41"/>
                  <a:pt x="92" y="60"/>
                </a:cubicBezTo>
                <a:cubicBezTo>
                  <a:pt x="66" y="74"/>
                  <a:pt x="50" y="105"/>
                  <a:pt x="53" y="135"/>
                </a:cubicBezTo>
                <a:cubicBezTo>
                  <a:pt x="53" y="135"/>
                  <a:pt x="0" y="139"/>
                  <a:pt x="0" y="196"/>
                </a:cubicBezTo>
                <a:cubicBezTo>
                  <a:pt x="0" y="227"/>
                  <a:pt x="28" y="255"/>
                  <a:pt x="59" y="255"/>
                </a:cubicBezTo>
                <a:cubicBezTo>
                  <a:pt x="98" y="255"/>
                  <a:pt x="98" y="255"/>
                  <a:pt x="98" y="255"/>
                </a:cubicBezTo>
                <a:cubicBezTo>
                  <a:pt x="88" y="240"/>
                  <a:pt x="86" y="225"/>
                  <a:pt x="86" y="213"/>
                </a:cubicBezTo>
                <a:close/>
              </a:path>
            </a:pathLst>
          </a:custGeom>
          <a:solidFill>
            <a:srgbClr val="FFFFFF"/>
          </a:solidFill>
          <a:ln>
            <a:noFill/>
          </a:ln>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0" name="Freeform 128">
            <a:extLst>
              <a:ext uri="{FF2B5EF4-FFF2-40B4-BE49-F238E27FC236}">
                <a16:creationId xmlns:a16="http://schemas.microsoft.com/office/drawing/2014/main" id="{578D2DA5-EB40-4913-8267-F190D3496093}"/>
              </a:ext>
            </a:extLst>
          </p:cNvPr>
          <p:cNvSpPr>
            <a:spLocks noChangeAspect="1" noEditPoints="1"/>
          </p:cNvSpPr>
          <p:nvPr/>
        </p:nvSpPr>
        <p:spPr bwMode="black">
          <a:xfrm>
            <a:off x="11301182" y="6036897"/>
            <a:ext cx="524458" cy="420736"/>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68560" tIns="34280" rIns="68560" bIns="34280" numCol="1" anchor="t" anchorCtr="0" compatLnSpc="1">
            <a:prstTxWarp prst="textNoShape">
              <a:avLst/>
            </a:prstTxWarp>
          </a:bodyPr>
          <a:lstStyle/>
          <a:p>
            <a:pPr marL="0" marR="0" lvl="0" indent="0" algn="l" defTabSz="931779" rtl="0" eaLnBrk="1" fontAlgn="auto" latinLnBrk="0" hangingPunct="1">
              <a:lnSpc>
                <a:spcPct val="100000"/>
              </a:lnSpc>
              <a:spcBef>
                <a:spcPts val="0"/>
              </a:spcBef>
              <a:spcAft>
                <a:spcPts val="0"/>
              </a:spcAft>
              <a:buClrTx/>
              <a:buSzTx/>
              <a:buFontTx/>
              <a:buNone/>
              <a:tabLst/>
              <a:defRPr/>
            </a:pPr>
            <a:endParaRPr kumimoji="0" lang="en-US" sz="1197"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1" name="Rectangle 5">
            <a:extLst>
              <a:ext uri="{FF2B5EF4-FFF2-40B4-BE49-F238E27FC236}">
                <a16:creationId xmlns:a16="http://schemas.microsoft.com/office/drawing/2014/main" id="{347E579F-76C1-4FF7-8160-55072331460B}"/>
              </a:ext>
            </a:extLst>
          </p:cNvPr>
          <p:cNvSpPr/>
          <p:nvPr/>
        </p:nvSpPr>
        <p:spPr bwMode="auto">
          <a:xfrm>
            <a:off x="478678" y="2345424"/>
            <a:ext cx="11489799" cy="319673"/>
          </a:xfrm>
          <a:custGeom>
            <a:avLst/>
            <a:gdLst>
              <a:gd name="connsiteX0" fmla="*/ 0 w 8961438"/>
              <a:gd name="connsiteY0" fmla="*/ 0 h 159957"/>
              <a:gd name="connsiteX1" fmla="*/ 8961438 w 8961438"/>
              <a:gd name="connsiteY1" fmla="*/ 0 h 159957"/>
              <a:gd name="connsiteX2" fmla="*/ 8961438 w 8961438"/>
              <a:gd name="connsiteY2" fmla="*/ 159957 h 159957"/>
              <a:gd name="connsiteX3" fmla="*/ 0 w 8961438"/>
              <a:gd name="connsiteY3" fmla="*/ 159957 h 159957"/>
              <a:gd name="connsiteX4" fmla="*/ 0 w 8961438"/>
              <a:gd name="connsiteY4" fmla="*/ 0 h 159957"/>
              <a:gd name="connsiteX0" fmla="*/ 0 w 8961438"/>
              <a:gd name="connsiteY0" fmla="*/ 0 h 159957"/>
              <a:gd name="connsiteX1" fmla="*/ 8961438 w 8961438"/>
              <a:gd name="connsiteY1" fmla="*/ 0 h 159957"/>
              <a:gd name="connsiteX2" fmla="*/ 8961438 w 8961438"/>
              <a:gd name="connsiteY2" fmla="*/ 159957 h 159957"/>
              <a:gd name="connsiteX3" fmla="*/ 4457700 w 8961438"/>
              <a:gd name="connsiteY3" fmla="*/ 159957 h 159957"/>
              <a:gd name="connsiteX4" fmla="*/ 0 w 8961438"/>
              <a:gd name="connsiteY4" fmla="*/ 159957 h 159957"/>
              <a:gd name="connsiteX5" fmla="*/ 0 w 8961438"/>
              <a:gd name="connsiteY5" fmla="*/ 0 h 159957"/>
              <a:gd name="connsiteX0" fmla="*/ 4457700 w 8961438"/>
              <a:gd name="connsiteY0" fmla="*/ 159957 h 251397"/>
              <a:gd name="connsiteX1" fmla="*/ 0 w 8961438"/>
              <a:gd name="connsiteY1" fmla="*/ 159957 h 251397"/>
              <a:gd name="connsiteX2" fmla="*/ 0 w 8961438"/>
              <a:gd name="connsiteY2" fmla="*/ 0 h 251397"/>
              <a:gd name="connsiteX3" fmla="*/ 8961438 w 8961438"/>
              <a:gd name="connsiteY3" fmla="*/ 0 h 251397"/>
              <a:gd name="connsiteX4" fmla="*/ 8961438 w 8961438"/>
              <a:gd name="connsiteY4" fmla="*/ 159957 h 251397"/>
              <a:gd name="connsiteX5" fmla="*/ 4549140 w 8961438"/>
              <a:gd name="connsiteY5" fmla="*/ 251397 h 251397"/>
              <a:gd name="connsiteX0" fmla="*/ 4457700 w 8961438"/>
              <a:gd name="connsiteY0" fmla="*/ 159957 h 159957"/>
              <a:gd name="connsiteX1" fmla="*/ 0 w 8961438"/>
              <a:gd name="connsiteY1" fmla="*/ 159957 h 159957"/>
              <a:gd name="connsiteX2" fmla="*/ 0 w 8961438"/>
              <a:gd name="connsiteY2" fmla="*/ 0 h 159957"/>
              <a:gd name="connsiteX3" fmla="*/ 8961438 w 8961438"/>
              <a:gd name="connsiteY3" fmla="*/ 0 h 159957"/>
              <a:gd name="connsiteX4" fmla="*/ 8961438 w 8961438"/>
              <a:gd name="connsiteY4" fmla="*/ 159957 h 159957"/>
              <a:gd name="connsiteX0" fmla="*/ 0 w 8961438"/>
              <a:gd name="connsiteY0" fmla="*/ 159957 h 159957"/>
              <a:gd name="connsiteX1" fmla="*/ 0 w 8961438"/>
              <a:gd name="connsiteY1" fmla="*/ 0 h 159957"/>
              <a:gd name="connsiteX2" fmla="*/ 8961438 w 8961438"/>
              <a:gd name="connsiteY2" fmla="*/ 0 h 159957"/>
              <a:gd name="connsiteX3" fmla="*/ 8961438 w 8961438"/>
              <a:gd name="connsiteY3" fmla="*/ 159957 h 159957"/>
            </a:gdLst>
            <a:ahLst/>
            <a:cxnLst>
              <a:cxn ang="0">
                <a:pos x="connsiteX0" y="connsiteY0"/>
              </a:cxn>
              <a:cxn ang="0">
                <a:pos x="connsiteX1" y="connsiteY1"/>
              </a:cxn>
              <a:cxn ang="0">
                <a:pos x="connsiteX2" y="connsiteY2"/>
              </a:cxn>
              <a:cxn ang="0">
                <a:pos x="connsiteX3" y="connsiteY3"/>
              </a:cxn>
            </a:cxnLst>
            <a:rect l="l" t="t" r="r" b="b"/>
            <a:pathLst>
              <a:path w="8961438" h="159957">
                <a:moveTo>
                  <a:pt x="0" y="159957"/>
                </a:moveTo>
                <a:lnTo>
                  <a:pt x="0" y="0"/>
                </a:lnTo>
                <a:lnTo>
                  <a:pt x="8961438" y="0"/>
                </a:lnTo>
                <a:lnTo>
                  <a:pt x="8961438" y="159957"/>
                </a:lnTo>
              </a:path>
            </a:pathLst>
          </a:custGeom>
          <a:noFill/>
          <a:ln w="635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6419" tIns="149136" rIns="186419" bIns="149136" numCol="1" spcCol="0" rtlCol="0" fromWordArt="0" anchor="b" anchorCtr="0" forceAA="0" compatLnSpc="1">
            <a:prstTxWarp prst="textNoShape">
              <a:avLst/>
            </a:prstTxWarp>
            <a:noAutofit/>
          </a:bodyPr>
          <a:lstStyle/>
          <a:p>
            <a:pPr marL="0" marR="0" lvl="0" indent="0" algn="ctr" defTabSz="848716" rtl="0" eaLnBrk="1" fontAlgn="base" latinLnBrk="0" hangingPunct="1">
              <a:lnSpc>
                <a:spcPct val="100000"/>
              </a:lnSpc>
              <a:spcBef>
                <a:spcPct val="0"/>
              </a:spcBef>
              <a:spcAft>
                <a:spcPct val="0"/>
              </a:spcAft>
              <a:buClrTx/>
              <a:buSzTx/>
              <a:buFontTx/>
              <a:buNone/>
              <a:tabLst/>
              <a:defRPr/>
            </a:pPr>
            <a:endParaRPr kumimoji="0" lang="en-US" sz="1427" b="0" i="0" u="none" strike="noStrike" kern="0" cap="none" spc="-47"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2" name="Double Brace 51">
            <a:extLst>
              <a:ext uri="{FF2B5EF4-FFF2-40B4-BE49-F238E27FC236}">
                <a16:creationId xmlns:a16="http://schemas.microsoft.com/office/drawing/2014/main" id="{6C2A7B68-A915-4B0E-9121-29EAD868CE8D}"/>
              </a:ext>
            </a:extLst>
          </p:cNvPr>
          <p:cNvSpPr/>
          <p:nvPr/>
        </p:nvSpPr>
        <p:spPr>
          <a:xfrm>
            <a:off x="3629960" y="2062103"/>
            <a:ext cx="5187234" cy="496158"/>
          </a:xfrm>
          <a:prstGeom prst="bracePair">
            <a:avLst>
              <a:gd name="adj" fmla="val 0"/>
            </a:avLst>
          </a:prstGeom>
          <a:solidFill>
            <a:schemeClr val="bg1"/>
          </a:solidFill>
          <a:ln w="635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37141" tIns="46623" rIns="137141" bIns="46623" numCol="1" spcCol="0" rtlCol="0" fromWordArt="0" anchor="t" anchorCtr="0" forceAA="0" compatLnSpc="1">
            <a:prstTxWarp prst="textNoShape">
              <a:avLst/>
            </a:prstTxWarp>
            <a:noAutofit/>
          </a:bodyPr>
          <a:lstStyle/>
          <a:p>
            <a:pPr marL="0" marR="0" lvl="0" indent="0" algn="ctr" defTabSz="848716" rtl="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effectLst/>
                <a:uLnTx/>
                <a:uFillTx/>
                <a:latin typeface="Segoe UI Light"/>
                <a:ea typeface="Segoe UI" pitchFamily="34" charset="0"/>
                <a:cs typeface="Segoe UI" pitchFamily="34" charset="0"/>
              </a:rPr>
              <a:t>Partner Center Key Capabilities</a:t>
            </a:r>
          </a:p>
        </p:txBody>
      </p:sp>
      <p:sp>
        <p:nvSpPr>
          <p:cNvPr id="59" name="Freeform: Shape 58">
            <a:extLst>
              <a:ext uri="{FF2B5EF4-FFF2-40B4-BE49-F238E27FC236}">
                <a16:creationId xmlns:a16="http://schemas.microsoft.com/office/drawing/2014/main" id="{18E0CE94-B5DD-41CF-AC18-63B7B2C32214}"/>
              </a:ext>
            </a:extLst>
          </p:cNvPr>
          <p:cNvSpPr>
            <a:spLocks/>
          </p:cNvSpPr>
          <p:nvPr/>
        </p:nvSpPr>
        <p:spPr bwMode="auto">
          <a:xfrm>
            <a:off x="8437944" y="4003076"/>
            <a:ext cx="506730" cy="502773"/>
          </a:xfrm>
          <a:custGeom>
            <a:avLst/>
            <a:gdLst>
              <a:gd name="connsiteX0" fmla="*/ 0 w 1033047"/>
              <a:gd name="connsiteY0" fmla="*/ 621446 h 1024981"/>
              <a:gd name="connsiteX1" fmla="*/ 219438 w 1033047"/>
              <a:gd name="connsiteY1" fmla="*/ 621446 h 1024981"/>
              <a:gd name="connsiteX2" fmla="*/ 232818 w 1033047"/>
              <a:gd name="connsiteY2" fmla="*/ 658860 h 1024981"/>
              <a:gd name="connsiteX3" fmla="*/ 179297 w 1033047"/>
              <a:gd name="connsiteY3" fmla="*/ 714981 h 1024981"/>
              <a:gd name="connsiteX4" fmla="*/ 513805 w 1033047"/>
              <a:gd name="connsiteY4" fmla="*/ 902050 h 1024981"/>
              <a:gd name="connsiteX5" fmla="*/ 888455 w 1033047"/>
              <a:gd name="connsiteY5" fmla="*/ 621446 h 1024981"/>
              <a:gd name="connsiteX6" fmla="*/ 1016906 w 1033047"/>
              <a:gd name="connsiteY6" fmla="*/ 621446 h 1024981"/>
              <a:gd name="connsiteX7" fmla="*/ 513805 w 1033047"/>
              <a:gd name="connsiteY7" fmla="*/ 1024981 h 1024981"/>
              <a:gd name="connsiteX8" fmla="*/ 90987 w 1033047"/>
              <a:gd name="connsiteY8" fmla="*/ 803171 h 1024981"/>
              <a:gd name="connsiteX9" fmla="*/ 37465 w 1033047"/>
              <a:gd name="connsiteY9" fmla="*/ 856619 h 1024981"/>
              <a:gd name="connsiteX10" fmla="*/ 0 w 1033047"/>
              <a:gd name="connsiteY10" fmla="*/ 840584 h 1024981"/>
              <a:gd name="connsiteX11" fmla="*/ 368100 w 1033047"/>
              <a:gd name="connsiteY11" fmla="*/ 504420 h 1024981"/>
              <a:gd name="connsiteX12" fmla="*/ 437632 w 1033047"/>
              <a:gd name="connsiteY12" fmla="*/ 504420 h 1024981"/>
              <a:gd name="connsiteX13" fmla="*/ 515187 w 1033047"/>
              <a:gd name="connsiteY13" fmla="*/ 602537 h 1024981"/>
              <a:gd name="connsiteX14" fmla="*/ 592742 w 1033047"/>
              <a:gd name="connsiteY14" fmla="*/ 504420 h 1024981"/>
              <a:gd name="connsiteX15" fmla="*/ 664949 w 1033047"/>
              <a:gd name="connsiteY15" fmla="*/ 504420 h 1024981"/>
              <a:gd name="connsiteX16" fmla="*/ 742504 w 1033047"/>
              <a:gd name="connsiteY16" fmla="*/ 581322 h 1024981"/>
              <a:gd name="connsiteX17" fmla="*/ 742504 w 1033047"/>
              <a:gd name="connsiteY17" fmla="*/ 721869 h 1024981"/>
              <a:gd name="connsiteX18" fmla="*/ 678320 w 1033047"/>
              <a:gd name="connsiteY18" fmla="*/ 782860 h 1024981"/>
              <a:gd name="connsiteX19" fmla="*/ 352054 w 1033047"/>
              <a:gd name="connsiteY19" fmla="*/ 782860 h 1024981"/>
              <a:gd name="connsiteX20" fmla="*/ 290545 w 1033047"/>
              <a:gd name="connsiteY20" fmla="*/ 721869 h 1024981"/>
              <a:gd name="connsiteX21" fmla="*/ 290545 w 1033047"/>
              <a:gd name="connsiteY21" fmla="*/ 581322 h 1024981"/>
              <a:gd name="connsiteX22" fmla="*/ 368100 w 1033047"/>
              <a:gd name="connsiteY22" fmla="*/ 504420 h 1024981"/>
              <a:gd name="connsiteX23" fmla="*/ 515842 w 1033047"/>
              <a:gd name="connsiteY23" fmla="*/ 205804 h 1024981"/>
              <a:gd name="connsiteX24" fmla="*/ 641617 w 1033047"/>
              <a:gd name="connsiteY24" fmla="*/ 334935 h 1024981"/>
              <a:gd name="connsiteX25" fmla="*/ 515842 w 1033047"/>
              <a:gd name="connsiteY25" fmla="*/ 464066 h 1024981"/>
              <a:gd name="connsiteX26" fmla="*/ 387391 w 1033047"/>
              <a:gd name="connsiteY26" fmla="*/ 334935 h 1024981"/>
              <a:gd name="connsiteX27" fmla="*/ 515842 w 1033047"/>
              <a:gd name="connsiteY27" fmla="*/ 205804 h 1024981"/>
              <a:gd name="connsiteX28" fmla="*/ 515877 w 1033047"/>
              <a:gd name="connsiteY28" fmla="*/ 0 h 1024981"/>
              <a:gd name="connsiteX29" fmla="*/ 939260 w 1033047"/>
              <a:gd name="connsiteY29" fmla="*/ 225236 h 1024981"/>
              <a:gd name="connsiteX30" fmla="*/ 992852 w 1033047"/>
              <a:gd name="connsiteY30" fmla="*/ 171609 h 1024981"/>
              <a:gd name="connsiteX31" fmla="*/ 1033047 w 1033047"/>
              <a:gd name="connsiteY31" fmla="*/ 187697 h 1024981"/>
              <a:gd name="connsiteX32" fmla="*/ 1033047 w 1033047"/>
              <a:gd name="connsiteY32" fmla="*/ 407571 h 1024981"/>
              <a:gd name="connsiteX33" fmla="*/ 813317 w 1033047"/>
              <a:gd name="connsiteY33" fmla="*/ 407571 h 1024981"/>
              <a:gd name="connsiteX34" fmla="*/ 797239 w 1033047"/>
              <a:gd name="connsiteY34" fmla="*/ 367350 h 1024981"/>
              <a:gd name="connsiteX35" fmla="*/ 850832 w 1033047"/>
              <a:gd name="connsiteY35" fmla="*/ 313722 h 1024981"/>
              <a:gd name="connsiteX36" fmla="*/ 515877 w 1033047"/>
              <a:gd name="connsiteY36" fmla="*/ 123344 h 1024981"/>
              <a:gd name="connsiteX37" fmla="*/ 140728 w 1033047"/>
              <a:gd name="connsiteY37" fmla="*/ 407571 h 1024981"/>
              <a:gd name="connsiteX38" fmla="*/ 12105 w 1033047"/>
              <a:gd name="connsiteY38" fmla="*/ 407571 h 1024981"/>
              <a:gd name="connsiteX39" fmla="*/ 515877 w 1033047"/>
              <a:gd name="connsiteY39" fmla="*/ 0 h 1024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33047" h="1024981">
                <a:moveTo>
                  <a:pt x="0" y="621446"/>
                </a:moveTo>
                <a:lnTo>
                  <a:pt x="219438" y="621446"/>
                </a:lnTo>
                <a:cubicBezTo>
                  <a:pt x="248875" y="621446"/>
                  <a:pt x="254227" y="640153"/>
                  <a:pt x="232818" y="658860"/>
                </a:cubicBezTo>
                <a:lnTo>
                  <a:pt x="179297" y="714981"/>
                </a:lnTo>
                <a:cubicBezTo>
                  <a:pt x="248875" y="827222"/>
                  <a:pt x="371974" y="902050"/>
                  <a:pt x="513805" y="902050"/>
                </a:cubicBezTo>
                <a:cubicBezTo>
                  <a:pt x="690426" y="902050"/>
                  <a:pt x="842962" y="784464"/>
                  <a:pt x="888455" y="621446"/>
                </a:cubicBezTo>
                <a:lnTo>
                  <a:pt x="1016906" y="621446"/>
                </a:lnTo>
                <a:cubicBezTo>
                  <a:pt x="966061" y="851274"/>
                  <a:pt x="760003" y="1024981"/>
                  <a:pt x="513805" y="1024981"/>
                </a:cubicBezTo>
                <a:cubicBezTo>
                  <a:pt x="337185" y="1024981"/>
                  <a:pt x="184649" y="936791"/>
                  <a:pt x="90987" y="803171"/>
                </a:cubicBezTo>
                <a:lnTo>
                  <a:pt x="37465" y="856619"/>
                </a:lnTo>
                <a:cubicBezTo>
                  <a:pt x="16057" y="877998"/>
                  <a:pt x="0" y="869981"/>
                  <a:pt x="0" y="840584"/>
                </a:cubicBezTo>
                <a:close/>
                <a:moveTo>
                  <a:pt x="368100" y="504420"/>
                </a:moveTo>
                <a:lnTo>
                  <a:pt x="437632" y="504420"/>
                </a:lnTo>
                <a:lnTo>
                  <a:pt x="515187" y="602537"/>
                </a:lnTo>
                <a:lnTo>
                  <a:pt x="592742" y="504420"/>
                </a:lnTo>
                <a:lnTo>
                  <a:pt x="664949" y="504420"/>
                </a:lnTo>
                <a:cubicBezTo>
                  <a:pt x="707738" y="504420"/>
                  <a:pt x="742504" y="538893"/>
                  <a:pt x="742504" y="581322"/>
                </a:cubicBezTo>
                <a:lnTo>
                  <a:pt x="742504" y="721869"/>
                </a:lnTo>
                <a:cubicBezTo>
                  <a:pt x="742504" y="756342"/>
                  <a:pt x="713087" y="782860"/>
                  <a:pt x="678320" y="782860"/>
                </a:cubicBezTo>
                <a:lnTo>
                  <a:pt x="352054" y="782860"/>
                </a:lnTo>
                <a:cubicBezTo>
                  <a:pt x="317288" y="782860"/>
                  <a:pt x="290545" y="756342"/>
                  <a:pt x="290545" y="721869"/>
                </a:cubicBezTo>
                <a:lnTo>
                  <a:pt x="290545" y="581322"/>
                </a:lnTo>
                <a:cubicBezTo>
                  <a:pt x="290545" y="538893"/>
                  <a:pt x="325311" y="504420"/>
                  <a:pt x="368100" y="504420"/>
                </a:cubicBezTo>
                <a:close/>
                <a:moveTo>
                  <a:pt x="515842" y="205804"/>
                </a:moveTo>
                <a:cubicBezTo>
                  <a:pt x="585420" y="205804"/>
                  <a:pt x="641617" y="262299"/>
                  <a:pt x="641617" y="334935"/>
                </a:cubicBezTo>
                <a:cubicBezTo>
                  <a:pt x="641617" y="404881"/>
                  <a:pt x="585420" y="464066"/>
                  <a:pt x="515842" y="464066"/>
                </a:cubicBezTo>
                <a:cubicBezTo>
                  <a:pt x="443589" y="464066"/>
                  <a:pt x="387391" y="404881"/>
                  <a:pt x="387391" y="334935"/>
                </a:cubicBezTo>
                <a:cubicBezTo>
                  <a:pt x="387391" y="262299"/>
                  <a:pt x="443589" y="205804"/>
                  <a:pt x="515842" y="205804"/>
                </a:cubicBezTo>
                <a:close/>
                <a:moveTo>
                  <a:pt x="515877" y="0"/>
                </a:moveTo>
                <a:cubicBezTo>
                  <a:pt x="692733" y="0"/>
                  <a:pt x="848152" y="88486"/>
                  <a:pt x="939260" y="225236"/>
                </a:cubicBezTo>
                <a:lnTo>
                  <a:pt x="992852" y="171609"/>
                </a:lnTo>
                <a:cubicBezTo>
                  <a:pt x="1014290" y="150157"/>
                  <a:pt x="1033047" y="158202"/>
                  <a:pt x="1033047" y="187697"/>
                </a:cubicBezTo>
                <a:lnTo>
                  <a:pt x="1033047" y="407571"/>
                </a:lnTo>
                <a:lnTo>
                  <a:pt x="813317" y="407571"/>
                </a:lnTo>
                <a:cubicBezTo>
                  <a:pt x="783841" y="407571"/>
                  <a:pt x="775802" y="388801"/>
                  <a:pt x="797239" y="367350"/>
                </a:cubicBezTo>
                <a:lnTo>
                  <a:pt x="850832" y="313722"/>
                </a:lnTo>
                <a:cubicBezTo>
                  <a:pt x="781161" y="201104"/>
                  <a:pt x="657898" y="123344"/>
                  <a:pt x="515877" y="123344"/>
                </a:cubicBezTo>
                <a:cubicBezTo>
                  <a:pt x="339021" y="123344"/>
                  <a:pt x="186282" y="244006"/>
                  <a:pt x="140728" y="407571"/>
                </a:cubicBezTo>
                <a:lnTo>
                  <a:pt x="12105" y="407571"/>
                </a:lnTo>
                <a:cubicBezTo>
                  <a:pt x="63018" y="174290"/>
                  <a:pt x="269350" y="0"/>
                  <a:pt x="51587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264501037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9094970-D37E-4FA2-B60A-819076254ADA}"/>
              </a:ext>
            </a:extLst>
          </p:cNvPr>
          <p:cNvSpPr/>
          <p:nvPr/>
        </p:nvSpPr>
        <p:spPr bwMode="auto">
          <a:xfrm>
            <a:off x="2785033" y="1487211"/>
            <a:ext cx="2228251" cy="22856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Services are created in the Azure Management portal</a:t>
            </a:r>
          </a:p>
        </p:txBody>
      </p:sp>
      <p:sp>
        <p:nvSpPr>
          <p:cNvPr id="2" name="Title 1">
            <a:extLst>
              <a:ext uri="{FF2B5EF4-FFF2-40B4-BE49-F238E27FC236}">
                <a16:creationId xmlns:a16="http://schemas.microsoft.com/office/drawing/2014/main" id="{4F188571-5916-482F-B166-AC8903249550}"/>
              </a:ext>
            </a:extLst>
          </p:cNvPr>
          <p:cNvSpPr>
            <a:spLocks noGrp="1"/>
          </p:cNvSpPr>
          <p:nvPr>
            <p:ph type="title"/>
          </p:nvPr>
        </p:nvSpPr>
        <p:spPr/>
        <p:txBody>
          <a:bodyPr/>
          <a:lstStyle/>
          <a:p>
            <a:r>
              <a:rPr lang="en-US"/>
              <a:t>Selling Azure through CSP </a:t>
            </a:r>
            <a:endParaRPr lang="en-IN" dirty="0"/>
          </a:p>
        </p:txBody>
      </p:sp>
      <p:sp>
        <p:nvSpPr>
          <p:cNvPr id="4" name="Rectangle 3">
            <a:extLst>
              <a:ext uri="{FF2B5EF4-FFF2-40B4-BE49-F238E27FC236}">
                <a16:creationId xmlns:a16="http://schemas.microsoft.com/office/drawing/2014/main" id="{3D249BDE-AD44-4548-970D-BB18F89D9D52}"/>
              </a:ext>
            </a:extLst>
          </p:cNvPr>
          <p:cNvSpPr/>
          <p:nvPr/>
        </p:nvSpPr>
        <p:spPr bwMode="auto">
          <a:xfrm>
            <a:off x="465952" y="1487211"/>
            <a:ext cx="2228251" cy="22856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Partner establishes customer relationship and “sells” Azure subscription</a:t>
            </a:r>
            <a:endParaRPr kumimoji="0" lang="en-IN" sz="2000" b="0" i="0" u="none" strike="noStrike" kern="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sp>
        <p:nvSpPr>
          <p:cNvPr id="6" name="Rectangle 5">
            <a:extLst>
              <a:ext uri="{FF2B5EF4-FFF2-40B4-BE49-F238E27FC236}">
                <a16:creationId xmlns:a16="http://schemas.microsoft.com/office/drawing/2014/main" id="{6795F28B-12F3-43E9-9F0F-C7411F5E4B8D}"/>
              </a:ext>
            </a:extLst>
          </p:cNvPr>
          <p:cNvSpPr/>
          <p:nvPr/>
        </p:nvSpPr>
        <p:spPr bwMode="auto">
          <a:xfrm>
            <a:off x="5104113" y="1487211"/>
            <a:ext cx="2228251" cy="22856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Usage occurs over the month</a:t>
            </a:r>
          </a:p>
        </p:txBody>
      </p:sp>
      <p:sp>
        <p:nvSpPr>
          <p:cNvPr id="7" name="Rectangle 6">
            <a:extLst>
              <a:ext uri="{FF2B5EF4-FFF2-40B4-BE49-F238E27FC236}">
                <a16:creationId xmlns:a16="http://schemas.microsoft.com/office/drawing/2014/main" id="{64991090-0E45-4860-8CD3-3C3E13746116}"/>
              </a:ext>
            </a:extLst>
          </p:cNvPr>
          <p:cNvSpPr/>
          <p:nvPr/>
        </p:nvSpPr>
        <p:spPr bwMode="auto">
          <a:xfrm>
            <a:off x="7423192" y="1487211"/>
            <a:ext cx="2228251" cy="22856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Microsoft bills the partner for the usage</a:t>
            </a:r>
          </a:p>
        </p:txBody>
      </p:sp>
      <p:sp>
        <p:nvSpPr>
          <p:cNvPr id="8" name="Rectangle 7">
            <a:extLst>
              <a:ext uri="{FF2B5EF4-FFF2-40B4-BE49-F238E27FC236}">
                <a16:creationId xmlns:a16="http://schemas.microsoft.com/office/drawing/2014/main" id="{87FAED8B-1A8A-49C7-8609-2C570204D748}"/>
              </a:ext>
            </a:extLst>
          </p:cNvPr>
          <p:cNvSpPr/>
          <p:nvPr/>
        </p:nvSpPr>
        <p:spPr bwMode="auto">
          <a:xfrm>
            <a:off x="9742271" y="1487211"/>
            <a:ext cx="2228251" cy="22856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Partner bills the customer for the usage</a:t>
            </a:r>
          </a:p>
        </p:txBody>
      </p:sp>
      <p:pic>
        <p:nvPicPr>
          <p:cNvPr id="17" name="Picture 16">
            <a:extLst>
              <a:ext uri="{FF2B5EF4-FFF2-40B4-BE49-F238E27FC236}">
                <a16:creationId xmlns:a16="http://schemas.microsoft.com/office/drawing/2014/main" id="{181FEA61-72F0-441B-B99C-CD513271B387}"/>
              </a:ext>
            </a:extLst>
          </p:cNvPr>
          <p:cNvPicPr>
            <a:picLocks noChangeAspect="1"/>
          </p:cNvPicPr>
          <p:nvPr/>
        </p:nvPicPr>
        <p:blipFill rotWithShape="1">
          <a:blip r:embed="rId3"/>
          <a:srcRect l="2709" r="6036" b="24246"/>
          <a:stretch/>
        </p:blipFill>
        <p:spPr>
          <a:xfrm>
            <a:off x="7892058" y="3943131"/>
            <a:ext cx="4078464" cy="2377440"/>
          </a:xfrm>
          <a:prstGeom prst="rect">
            <a:avLst/>
          </a:prstGeom>
          <a:effectLst/>
        </p:spPr>
      </p:pic>
      <p:sp>
        <p:nvSpPr>
          <p:cNvPr id="19" name="Isosceles Triangle 18">
            <a:extLst>
              <a:ext uri="{FF2B5EF4-FFF2-40B4-BE49-F238E27FC236}">
                <a16:creationId xmlns:a16="http://schemas.microsoft.com/office/drawing/2014/main" id="{8CEFD069-C78C-4B65-A876-E3F089A57FC9}"/>
              </a:ext>
            </a:extLst>
          </p:cNvPr>
          <p:cNvSpPr/>
          <p:nvPr/>
        </p:nvSpPr>
        <p:spPr bwMode="auto">
          <a:xfrm rot="5400000">
            <a:off x="7297477" y="5006151"/>
            <a:ext cx="731872" cy="251400"/>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200" b="1"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B3273FFA-5698-40BD-8828-F98388325B1A}"/>
              </a:ext>
            </a:extLst>
          </p:cNvPr>
          <p:cNvGrpSpPr/>
          <p:nvPr/>
        </p:nvGrpSpPr>
        <p:grpSpPr>
          <a:xfrm>
            <a:off x="2694203" y="3170158"/>
            <a:ext cx="267641" cy="459848"/>
            <a:chOff x="2693703" y="3461252"/>
            <a:chExt cx="267679" cy="459913"/>
          </a:xfrm>
        </p:grpSpPr>
        <p:sp>
          <p:nvSpPr>
            <p:cNvPr id="21" name="Isosceles Triangle 20">
              <a:extLst>
                <a:ext uri="{FF2B5EF4-FFF2-40B4-BE49-F238E27FC236}">
                  <a16:creationId xmlns:a16="http://schemas.microsoft.com/office/drawing/2014/main" id="{E06AA531-DD7C-4E4C-99E9-C79264702FA7}"/>
                </a:ext>
              </a:extLst>
            </p:cNvPr>
            <p:cNvSpPr/>
            <p:nvPr/>
          </p:nvSpPr>
          <p:spPr bwMode="auto">
            <a:xfrm rot="5400000">
              <a:off x="2620296" y="3580079"/>
              <a:ext cx="459913" cy="222259"/>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200" b="1"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0" name="Isosceles Triangle 19">
              <a:extLst>
                <a:ext uri="{FF2B5EF4-FFF2-40B4-BE49-F238E27FC236}">
                  <a16:creationId xmlns:a16="http://schemas.microsoft.com/office/drawing/2014/main" id="{C1DB0665-BB9A-4712-8140-DD6F9BA24140}"/>
                </a:ext>
              </a:extLst>
            </p:cNvPr>
            <p:cNvSpPr/>
            <p:nvPr/>
          </p:nvSpPr>
          <p:spPr bwMode="auto">
            <a:xfrm rot="5400000">
              <a:off x="2574876" y="3580079"/>
              <a:ext cx="459913" cy="22225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200" b="1" i="0" u="none" strike="noStrike" kern="0" cap="none" spc="0" normalizeH="0" baseline="0" noProof="0" dirty="0">
                <a:ln>
                  <a:noFill/>
                </a:ln>
                <a:solidFill>
                  <a:srgbClr val="505050"/>
                </a:solidFill>
                <a:effectLst/>
                <a:uLnTx/>
                <a:uFillTx/>
                <a:latin typeface="Segoe UI"/>
                <a:ea typeface="+mn-ea"/>
                <a:cs typeface="Segoe UI" pitchFamily="34" charset="0"/>
              </a:endParaRPr>
            </a:p>
          </p:txBody>
        </p:sp>
      </p:grpSp>
      <p:grpSp>
        <p:nvGrpSpPr>
          <p:cNvPr id="23" name="Group 22">
            <a:extLst>
              <a:ext uri="{FF2B5EF4-FFF2-40B4-BE49-F238E27FC236}">
                <a16:creationId xmlns:a16="http://schemas.microsoft.com/office/drawing/2014/main" id="{67B3A04F-D0FE-4A2D-90D5-123A8FC789AB}"/>
              </a:ext>
            </a:extLst>
          </p:cNvPr>
          <p:cNvGrpSpPr/>
          <p:nvPr/>
        </p:nvGrpSpPr>
        <p:grpSpPr>
          <a:xfrm>
            <a:off x="5013284" y="3170158"/>
            <a:ext cx="267641" cy="459848"/>
            <a:chOff x="2693703" y="3461252"/>
            <a:chExt cx="267679" cy="459913"/>
          </a:xfrm>
        </p:grpSpPr>
        <p:sp>
          <p:nvSpPr>
            <p:cNvPr id="24" name="Isosceles Triangle 23">
              <a:extLst>
                <a:ext uri="{FF2B5EF4-FFF2-40B4-BE49-F238E27FC236}">
                  <a16:creationId xmlns:a16="http://schemas.microsoft.com/office/drawing/2014/main" id="{3469BF78-774F-4FFE-A556-AA901BA0E85A}"/>
                </a:ext>
              </a:extLst>
            </p:cNvPr>
            <p:cNvSpPr/>
            <p:nvPr/>
          </p:nvSpPr>
          <p:spPr bwMode="auto">
            <a:xfrm rot="5400000">
              <a:off x="2620296" y="3580079"/>
              <a:ext cx="459913" cy="222259"/>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200" b="1"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 name="Isosceles Triangle 24">
              <a:extLst>
                <a:ext uri="{FF2B5EF4-FFF2-40B4-BE49-F238E27FC236}">
                  <a16:creationId xmlns:a16="http://schemas.microsoft.com/office/drawing/2014/main" id="{93CF3329-99EF-4F93-90B6-01BC2C108857}"/>
                </a:ext>
              </a:extLst>
            </p:cNvPr>
            <p:cNvSpPr/>
            <p:nvPr/>
          </p:nvSpPr>
          <p:spPr bwMode="auto">
            <a:xfrm rot="5400000">
              <a:off x="2574876" y="3580079"/>
              <a:ext cx="459913" cy="22225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200" b="1" i="0" u="none" strike="noStrike" kern="0" cap="none" spc="0" normalizeH="0" baseline="0" noProof="0" dirty="0">
                <a:ln>
                  <a:noFill/>
                </a:ln>
                <a:solidFill>
                  <a:srgbClr val="505050"/>
                </a:solidFill>
                <a:effectLst/>
                <a:uLnTx/>
                <a:uFillTx/>
                <a:latin typeface="Segoe UI"/>
                <a:ea typeface="+mn-ea"/>
                <a:cs typeface="Segoe UI" pitchFamily="34" charset="0"/>
              </a:endParaRPr>
            </a:p>
          </p:txBody>
        </p:sp>
      </p:grpSp>
      <p:grpSp>
        <p:nvGrpSpPr>
          <p:cNvPr id="26" name="Group 25">
            <a:extLst>
              <a:ext uri="{FF2B5EF4-FFF2-40B4-BE49-F238E27FC236}">
                <a16:creationId xmlns:a16="http://schemas.microsoft.com/office/drawing/2014/main" id="{62D4552D-D6D9-47F9-8DA8-185A5B39183A}"/>
              </a:ext>
            </a:extLst>
          </p:cNvPr>
          <p:cNvGrpSpPr/>
          <p:nvPr/>
        </p:nvGrpSpPr>
        <p:grpSpPr>
          <a:xfrm>
            <a:off x="7332364" y="3170158"/>
            <a:ext cx="267641" cy="459848"/>
            <a:chOff x="2693703" y="3461252"/>
            <a:chExt cx="267679" cy="459913"/>
          </a:xfrm>
        </p:grpSpPr>
        <p:sp>
          <p:nvSpPr>
            <p:cNvPr id="27" name="Isosceles Triangle 26">
              <a:extLst>
                <a:ext uri="{FF2B5EF4-FFF2-40B4-BE49-F238E27FC236}">
                  <a16:creationId xmlns:a16="http://schemas.microsoft.com/office/drawing/2014/main" id="{2C402B7C-E9FF-42D7-ACFC-25ABB2B366FA}"/>
                </a:ext>
              </a:extLst>
            </p:cNvPr>
            <p:cNvSpPr/>
            <p:nvPr/>
          </p:nvSpPr>
          <p:spPr bwMode="auto">
            <a:xfrm rot="5400000">
              <a:off x="2620296" y="3580079"/>
              <a:ext cx="459913" cy="222259"/>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200" b="1"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8" name="Isosceles Triangle 27">
              <a:extLst>
                <a:ext uri="{FF2B5EF4-FFF2-40B4-BE49-F238E27FC236}">
                  <a16:creationId xmlns:a16="http://schemas.microsoft.com/office/drawing/2014/main" id="{25B1DCE1-86F9-4779-B170-29F5AA84E8A5}"/>
                </a:ext>
              </a:extLst>
            </p:cNvPr>
            <p:cNvSpPr/>
            <p:nvPr/>
          </p:nvSpPr>
          <p:spPr bwMode="auto">
            <a:xfrm rot="5400000">
              <a:off x="2574876" y="3580079"/>
              <a:ext cx="459913" cy="22225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200" b="1" i="0" u="none" strike="noStrike" kern="0" cap="none" spc="0" normalizeH="0" baseline="0" noProof="0" dirty="0">
                <a:ln>
                  <a:noFill/>
                </a:ln>
                <a:solidFill>
                  <a:srgbClr val="505050"/>
                </a:solidFill>
                <a:effectLst/>
                <a:uLnTx/>
                <a:uFillTx/>
                <a:latin typeface="Segoe UI"/>
                <a:ea typeface="+mn-ea"/>
                <a:cs typeface="Segoe UI" pitchFamily="34" charset="0"/>
              </a:endParaRPr>
            </a:p>
          </p:txBody>
        </p:sp>
      </p:grpSp>
      <p:grpSp>
        <p:nvGrpSpPr>
          <p:cNvPr id="29" name="Group 28">
            <a:extLst>
              <a:ext uri="{FF2B5EF4-FFF2-40B4-BE49-F238E27FC236}">
                <a16:creationId xmlns:a16="http://schemas.microsoft.com/office/drawing/2014/main" id="{EB5661D3-BBF5-4222-B415-C1C758840369}"/>
              </a:ext>
            </a:extLst>
          </p:cNvPr>
          <p:cNvGrpSpPr/>
          <p:nvPr/>
        </p:nvGrpSpPr>
        <p:grpSpPr>
          <a:xfrm>
            <a:off x="9651444" y="3170158"/>
            <a:ext cx="267641" cy="459848"/>
            <a:chOff x="2693703" y="3461252"/>
            <a:chExt cx="267679" cy="459913"/>
          </a:xfrm>
        </p:grpSpPr>
        <p:sp>
          <p:nvSpPr>
            <p:cNvPr id="30" name="Isosceles Triangle 29">
              <a:extLst>
                <a:ext uri="{FF2B5EF4-FFF2-40B4-BE49-F238E27FC236}">
                  <a16:creationId xmlns:a16="http://schemas.microsoft.com/office/drawing/2014/main" id="{56DFA586-B4BC-447F-BEF2-47F0938FA952}"/>
                </a:ext>
              </a:extLst>
            </p:cNvPr>
            <p:cNvSpPr/>
            <p:nvPr/>
          </p:nvSpPr>
          <p:spPr bwMode="auto">
            <a:xfrm rot="5400000">
              <a:off x="2620296" y="3580079"/>
              <a:ext cx="459913" cy="222259"/>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200" b="1"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31" name="Isosceles Triangle 30">
              <a:extLst>
                <a:ext uri="{FF2B5EF4-FFF2-40B4-BE49-F238E27FC236}">
                  <a16:creationId xmlns:a16="http://schemas.microsoft.com/office/drawing/2014/main" id="{1A186521-5709-4ACA-BBBE-0B8B364317F8}"/>
                </a:ext>
              </a:extLst>
            </p:cNvPr>
            <p:cNvSpPr/>
            <p:nvPr/>
          </p:nvSpPr>
          <p:spPr bwMode="auto">
            <a:xfrm rot="5400000">
              <a:off x="2574876" y="3580079"/>
              <a:ext cx="459913" cy="22225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200" b="1"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B8C924A8-93A4-4B56-8BAD-C0B79295E8CE}"/>
              </a:ext>
            </a:extLst>
          </p:cNvPr>
          <p:cNvGrpSpPr/>
          <p:nvPr/>
        </p:nvGrpSpPr>
        <p:grpSpPr>
          <a:xfrm>
            <a:off x="477527" y="3943131"/>
            <a:ext cx="6957240" cy="2377440"/>
            <a:chOff x="465953" y="4016521"/>
            <a:chExt cx="6659048" cy="2258587"/>
          </a:xfrm>
        </p:grpSpPr>
        <p:pic>
          <p:nvPicPr>
            <p:cNvPr id="37" name="Picture 3"/>
            <p:cNvPicPr>
              <a:picLocks noChangeAspect="1"/>
            </p:cNvPicPr>
            <p:nvPr/>
          </p:nvPicPr>
          <p:blipFill rotWithShape="1">
            <a:blip r:embed="rId4"/>
            <a:srcRect t="31150"/>
            <a:stretch/>
          </p:blipFill>
          <p:spPr>
            <a:xfrm>
              <a:off x="465953" y="4016521"/>
              <a:ext cx="6659048" cy="2258587"/>
            </a:xfrm>
            <a:prstGeom prst="rect">
              <a:avLst/>
            </a:prstGeom>
            <a:ln w="6350">
              <a:solidFill>
                <a:schemeClr val="bg1">
                  <a:lumMod val="75000"/>
                </a:schemeClr>
              </a:solidFill>
            </a:ln>
            <a:effectLst/>
          </p:spPr>
        </p:pic>
        <p:sp>
          <p:nvSpPr>
            <p:cNvPr id="38" name="Rectangle 4"/>
            <p:cNvSpPr/>
            <p:nvPr/>
          </p:nvSpPr>
          <p:spPr bwMode="auto">
            <a:xfrm>
              <a:off x="752782" y="5796534"/>
              <a:ext cx="1950972" cy="256837"/>
            </a:xfrm>
            <a:prstGeom prst="rect">
              <a:avLst/>
            </a:prstGeom>
            <a:solidFill>
              <a:srgbClr val="99C9EF"/>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l" defTabSz="931935"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5417">
                        <a:srgbClr val="32145A"/>
                      </a:gs>
                      <a:gs pos="100000">
                        <a:srgbClr val="32145A"/>
                      </a:gs>
                    </a:gsLst>
                    <a:lin ang="5400000" scaled="0"/>
                  </a:gradFill>
                  <a:effectLst/>
                  <a:uLnTx/>
                  <a:uFillTx/>
                  <a:latin typeface="Segoe UI"/>
                  <a:ea typeface="+mn-ea"/>
                  <a:cs typeface="+mn-cs"/>
                </a:rPr>
                <a:t> Microsoft Azure</a:t>
              </a:r>
            </a:p>
          </p:txBody>
        </p:sp>
      </p:grpSp>
    </p:spTree>
    <p:extLst>
      <p:ext uri="{BB962C8B-B14F-4D97-AF65-F5344CB8AC3E}">
        <p14:creationId xmlns:p14="http://schemas.microsoft.com/office/powerpoint/2010/main" val="113549096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DD4FF-9025-4AE9-A688-E2FA5AB6D027}"/>
              </a:ext>
            </a:extLst>
          </p:cNvPr>
          <p:cNvSpPr>
            <a:spLocks noGrp="1"/>
          </p:cNvSpPr>
          <p:nvPr>
            <p:ph type="title"/>
          </p:nvPr>
        </p:nvSpPr>
        <p:spPr/>
        <p:txBody>
          <a:bodyPr/>
          <a:lstStyle/>
          <a:p>
            <a:r>
              <a:rPr lang="en-US"/>
              <a:t>Demo: Partner Center</a:t>
            </a:r>
            <a:endParaRPr lang="en-US" dirty="0"/>
          </a:p>
        </p:txBody>
      </p:sp>
    </p:spTree>
    <p:extLst>
      <p:ext uri="{BB962C8B-B14F-4D97-AF65-F5344CB8AC3E}">
        <p14:creationId xmlns:p14="http://schemas.microsoft.com/office/powerpoint/2010/main" val="81998371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CSP Practices</a:t>
            </a:r>
            <a:endParaRPr lang="en-US" dirty="0"/>
          </a:p>
        </p:txBody>
      </p:sp>
      <p:sp>
        <p:nvSpPr>
          <p:cNvPr id="11" name="Rectangle 10">
            <a:extLst>
              <a:ext uri="{FF2B5EF4-FFF2-40B4-BE49-F238E27FC236}">
                <a16:creationId xmlns:a16="http://schemas.microsoft.com/office/drawing/2014/main" id="{66C139D5-B9EA-467D-A1BB-2EB91CF83279}"/>
              </a:ext>
            </a:extLst>
          </p:cNvPr>
          <p:cNvSpPr/>
          <p:nvPr/>
        </p:nvSpPr>
        <p:spPr>
          <a:xfrm>
            <a:off x="467245" y="2253448"/>
            <a:ext cx="2763234" cy="2260679"/>
          </a:xfrm>
          <a:prstGeom prst="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457200" rIns="0" bIns="91440" numCol="1" spcCol="1270" anchor="t" anchorCtr="0">
            <a:noAutofit/>
          </a:bodyPr>
          <a:lstStyle/>
          <a:p>
            <a:pPr marL="0" marR="0" lvl="0" indent="0" algn="ctr" defTabSz="1022350" rtl="0" eaLnBrk="1" fontAlgn="auto" latinLnBrk="0" hangingPunct="1">
              <a:spcBef>
                <a:spcPct val="0"/>
              </a:spcBef>
              <a:spcAft>
                <a:spcPct val="3500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a:ea typeface="+mn-ea"/>
                <a:cs typeface="+mn-cs"/>
              </a:rPr>
              <a:t>Technical support practice</a:t>
            </a:r>
            <a:endParaRPr kumimoji="0" lang="en-IN" sz="32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12" name="Rectangle 11">
            <a:extLst>
              <a:ext uri="{FF2B5EF4-FFF2-40B4-BE49-F238E27FC236}">
                <a16:creationId xmlns:a16="http://schemas.microsoft.com/office/drawing/2014/main" id="{1FFFC6F9-43C1-4180-8551-5754140D5A53}"/>
              </a:ext>
            </a:extLst>
          </p:cNvPr>
          <p:cNvSpPr/>
          <p:nvPr/>
        </p:nvSpPr>
        <p:spPr>
          <a:xfrm>
            <a:off x="3387543" y="2253448"/>
            <a:ext cx="2763234" cy="2260679"/>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457200" rIns="0" bIns="91440" numCol="1" spcCol="1270" anchor="t" anchorCtr="0">
            <a:noAutofit/>
          </a:bodyPr>
          <a:lstStyle/>
          <a:p>
            <a:pPr marL="0" marR="0" lvl="0" indent="0" algn="ctr" defTabSz="1022350" rtl="0" eaLnBrk="1" fontAlgn="auto" latinLnBrk="0" hangingPunct="1">
              <a:spcBef>
                <a:spcPct val="0"/>
              </a:spcBef>
              <a:spcAft>
                <a:spcPct val="3500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a:ea typeface="+mn-ea"/>
                <a:cs typeface="+mn-cs"/>
              </a:rPr>
              <a:t>Billing</a:t>
            </a:r>
            <a:br>
              <a:rPr kumimoji="0" lang="en-US" sz="3200" b="0" i="0" u="none" strike="noStrike" kern="1200" cap="none" spc="0" normalizeH="0" baseline="0" noProof="0" dirty="0">
                <a:ln>
                  <a:noFill/>
                </a:ln>
                <a:solidFill>
                  <a:srgbClr val="FFFFFF"/>
                </a:solidFill>
                <a:effectLst/>
                <a:uLnTx/>
                <a:uFillTx/>
                <a:latin typeface="Segoe UI Light"/>
                <a:ea typeface="+mn-ea"/>
                <a:cs typeface="+mn-cs"/>
              </a:rPr>
            </a:br>
            <a:r>
              <a:rPr kumimoji="0" lang="en-US" sz="3200" b="0" i="0" u="none" strike="noStrike" kern="1200" cap="none" spc="0" normalizeH="0" baseline="0" noProof="0" dirty="0">
                <a:ln>
                  <a:noFill/>
                </a:ln>
                <a:solidFill>
                  <a:srgbClr val="FFFFFF"/>
                </a:solidFill>
                <a:effectLst/>
                <a:uLnTx/>
                <a:uFillTx/>
                <a:latin typeface="Segoe UI Light"/>
                <a:ea typeface="+mn-ea"/>
                <a:cs typeface="+mn-cs"/>
              </a:rPr>
              <a:t>practice</a:t>
            </a:r>
            <a:endParaRPr kumimoji="0" lang="en-IN" sz="32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13" name="Rectangle 12">
            <a:extLst>
              <a:ext uri="{FF2B5EF4-FFF2-40B4-BE49-F238E27FC236}">
                <a16:creationId xmlns:a16="http://schemas.microsoft.com/office/drawing/2014/main" id="{6E22D770-2D53-46B7-8E0C-EA203340150A}"/>
              </a:ext>
            </a:extLst>
          </p:cNvPr>
          <p:cNvSpPr/>
          <p:nvPr/>
        </p:nvSpPr>
        <p:spPr>
          <a:xfrm>
            <a:off x="6307841" y="2253448"/>
            <a:ext cx="2763234" cy="2260679"/>
          </a:xfrm>
          <a:prstGeom prst="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457200" rIns="0" bIns="91440" numCol="1" spcCol="1270" anchor="t" anchorCtr="0">
            <a:noAutofit/>
          </a:bodyPr>
          <a:lstStyle/>
          <a:p>
            <a:pPr marL="0" marR="0" lvl="0" indent="0" algn="ctr" defTabSz="1022350" rtl="0" eaLnBrk="1" fontAlgn="auto" latinLnBrk="0" hangingPunct="1">
              <a:spcBef>
                <a:spcPct val="0"/>
              </a:spcBef>
              <a:spcAft>
                <a:spcPct val="3500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Segoe UI Light"/>
                <a:ea typeface="+mn-ea"/>
                <a:cs typeface="+mn-cs"/>
              </a:rPr>
              <a:t>Deployment services practice</a:t>
            </a:r>
            <a:endParaRPr kumimoji="0" lang="en-IN" sz="3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4" name="Rectangle 13">
            <a:extLst>
              <a:ext uri="{FF2B5EF4-FFF2-40B4-BE49-F238E27FC236}">
                <a16:creationId xmlns:a16="http://schemas.microsoft.com/office/drawing/2014/main" id="{F8CCD06A-6EC5-49FD-B39E-4C784A7515A7}"/>
              </a:ext>
            </a:extLst>
          </p:cNvPr>
          <p:cNvSpPr/>
          <p:nvPr/>
        </p:nvSpPr>
        <p:spPr>
          <a:xfrm>
            <a:off x="9228138" y="2253448"/>
            <a:ext cx="2763234" cy="2260679"/>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457200" rIns="0" bIns="91440" numCol="1" spcCol="1270" anchor="t" anchorCtr="0">
            <a:noAutofit/>
          </a:bodyPr>
          <a:lstStyle/>
          <a:p>
            <a:pPr marL="0" marR="0" lvl="0" indent="0" algn="ctr" defTabSz="1022350" rtl="0" eaLnBrk="1" fontAlgn="auto" latinLnBrk="0" hangingPunct="1">
              <a:spcBef>
                <a:spcPct val="0"/>
              </a:spcBef>
              <a:spcAft>
                <a:spcPct val="3500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a:ea typeface="+mn-ea"/>
                <a:cs typeface="+mn-cs"/>
              </a:rPr>
              <a:t>Cloud sales practice</a:t>
            </a:r>
            <a:endParaRPr kumimoji="0" lang="en-IN" sz="32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6" name="Text Placeholder 2">
            <a:extLst>
              <a:ext uri="{FF2B5EF4-FFF2-40B4-BE49-F238E27FC236}">
                <a16:creationId xmlns:a16="http://schemas.microsoft.com/office/drawing/2014/main" id="{681C8432-EE46-44B6-B952-62491B778CDF}"/>
              </a:ext>
            </a:extLst>
          </p:cNvPr>
          <p:cNvSpPr txBox="1">
            <a:spLocks/>
          </p:cNvSpPr>
          <p:nvPr/>
        </p:nvSpPr>
        <p:spPr>
          <a:xfrm>
            <a:off x="467245" y="1174087"/>
            <a:ext cx="11244553" cy="553998"/>
          </a:xfrm>
          <a:prstGeom prst="rect">
            <a:avLst/>
          </a:prstGeom>
        </p:spPr>
        <p:txBody>
          <a:bodyPr vert="horz" wrap="none" lIns="0" tIns="0" rIns="0" bIns="0" rtlCol="0" anchor="ctr">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384" rtl="0" eaLnBrk="1" fontAlgn="auto" latinLnBrk="0" hangingPunct="1">
              <a:lnSpc>
                <a:spcPct val="100000"/>
              </a:lnSpc>
              <a:spcBef>
                <a:spcPct val="20000"/>
              </a:spcBef>
              <a:spcAft>
                <a:spcPts val="0"/>
              </a:spcAft>
              <a:buClrTx/>
              <a:buSzPct val="90000"/>
              <a:buFont typeface="Arial" pitchFamily="34" charset="0"/>
              <a:buNone/>
              <a:tabLst/>
              <a:defRPr/>
            </a:pPr>
            <a:r>
              <a:rPr kumimoji="0" lang="en-US" sz="3600" b="0" i="0" u="none" strike="noStrike" kern="1200" cap="none" spc="0" normalizeH="0" baseline="0" noProof="0" dirty="0">
                <a:ln>
                  <a:noFill/>
                </a:ln>
                <a:solidFill>
                  <a:srgbClr val="505050"/>
                </a:solidFill>
                <a:effectLst/>
                <a:uLnTx/>
                <a:uFillTx/>
                <a:latin typeface="Segoe UI Light"/>
                <a:ea typeface="+mn-ea"/>
                <a:cs typeface="+mn-cs"/>
              </a:rPr>
              <a:t>What partners need to build to be successful in Azure CSP</a:t>
            </a:r>
          </a:p>
        </p:txBody>
      </p:sp>
      <p:sp>
        <p:nvSpPr>
          <p:cNvPr id="7" name="Text Placeholder 2">
            <a:extLst>
              <a:ext uri="{FF2B5EF4-FFF2-40B4-BE49-F238E27FC236}">
                <a16:creationId xmlns:a16="http://schemas.microsoft.com/office/drawing/2014/main" id="{3AC7FA0B-43C8-4C21-AC94-BE781D957D18}"/>
              </a:ext>
            </a:extLst>
          </p:cNvPr>
          <p:cNvSpPr txBox="1">
            <a:spLocks/>
          </p:cNvSpPr>
          <p:nvPr/>
        </p:nvSpPr>
        <p:spPr>
          <a:xfrm>
            <a:off x="0" y="4872845"/>
            <a:ext cx="12436475" cy="1539530"/>
          </a:xfrm>
          <a:prstGeom prst="rect">
            <a:avLst/>
          </a:prstGeom>
          <a:solidFill>
            <a:schemeClr val="bg1">
              <a:lumMod val="95000"/>
            </a:schemeClr>
          </a:solidFill>
          <a:ln w="6350">
            <a:noFill/>
          </a:ln>
        </p:spPr>
        <p:txBody>
          <a:bodyPr vert="horz" wrap="square" lIns="457200" tIns="91440" rIns="457200" bIns="91440" rtlCol="0" anchor="ctr">
            <a:no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384" rtl="0" eaLnBrk="1" fontAlgn="auto" latinLnBrk="0" hangingPunct="1">
              <a:lnSpc>
                <a:spcPct val="100000"/>
              </a:lnSpc>
              <a:spcBef>
                <a:spcPts val="1200"/>
              </a:spcBef>
              <a:spcAft>
                <a:spcPts val="0"/>
              </a:spcAft>
              <a:buClrTx/>
              <a:buSzPct val="90000"/>
              <a:buFont typeface="Arial" pitchFamily="34" charset="0"/>
              <a:buNone/>
              <a:tabLst/>
              <a:defRPr/>
            </a:pPr>
            <a:r>
              <a:rPr kumimoji="0" lang="en-US" sz="2800" b="0" i="0" u="none" strike="noStrike" kern="1200" cap="none" spc="0" normalizeH="0" baseline="0" noProof="0" dirty="0">
                <a:ln>
                  <a:noFill/>
                </a:ln>
                <a:solidFill>
                  <a:schemeClr val="tx2"/>
                </a:solidFill>
                <a:effectLst/>
                <a:uLnTx/>
                <a:uFillTx/>
                <a:latin typeface="Segoe UI Light"/>
                <a:ea typeface="+mn-ea"/>
                <a:cs typeface="+mn-cs"/>
              </a:rPr>
              <a:t>CSP Direct partners get discount for Azure to implement it</a:t>
            </a:r>
          </a:p>
          <a:p>
            <a:pPr marL="0" marR="0" lvl="0" indent="0" algn="l" defTabSz="932384" rtl="0" eaLnBrk="1" fontAlgn="auto" latinLnBrk="0" hangingPunct="1">
              <a:lnSpc>
                <a:spcPct val="100000"/>
              </a:lnSpc>
              <a:spcBef>
                <a:spcPts val="1200"/>
              </a:spcBef>
              <a:spcAft>
                <a:spcPts val="0"/>
              </a:spcAft>
              <a:buClrTx/>
              <a:buSzPct val="90000"/>
              <a:buFont typeface="Arial" pitchFamily="34" charset="0"/>
              <a:buNone/>
              <a:tabLst/>
              <a:defRPr/>
            </a:pPr>
            <a:r>
              <a:rPr kumimoji="0" lang="en-US" sz="2800" b="0" i="0" u="none" strike="noStrike" kern="1200" cap="none" spc="0" normalizeH="0" baseline="0" noProof="0" dirty="0">
                <a:ln>
                  <a:noFill/>
                </a:ln>
                <a:solidFill>
                  <a:schemeClr val="tx2"/>
                </a:solidFill>
                <a:effectLst/>
                <a:uLnTx/>
                <a:uFillTx/>
                <a:latin typeface="Segoe UI Light"/>
                <a:ea typeface="+mn-ea"/>
                <a:cs typeface="+mn-cs"/>
              </a:rPr>
              <a:t>CSP Indirect Reseller receives it from CSP Indirect Provider (Distributor)</a:t>
            </a:r>
          </a:p>
        </p:txBody>
      </p:sp>
      <p:sp>
        <p:nvSpPr>
          <p:cNvPr id="5" name="Oval 4">
            <a:extLst>
              <a:ext uri="{FF2B5EF4-FFF2-40B4-BE49-F238E27FC236}">
                <a16:creationId xmlns:a16="http://schemas.microsoft.com/office/drawing/2014/main" id="{A1D33868-B622-44B1-A9EC-3F91BDC7CFEA}"/>
              </a:ext>
            </a:extLst>
          </p:cNvPr>
          <p:cNvSpPr/>
          <p:nvPr/>
        </p:nvSpPr>
        <p:spPr bwMode="auto">
          <a:xfrm>
            <a:off x="1588822" y="1993408"/>
            <a:ext cx="520080" cy="520080"/>
          </a:xfrm>
          <a:prstGeom prst="ellipse">
            <a:avLst/>
          </a:prstGeom>
          <a:solidFill>
            <a:schemeClr val="bg1"/>
          </a:solidFill>
          <a:ln>
            <a:noFill/>
            <a:headEnd type="none" w="med" len="med"/>
            <a:tailEnd type="none" w="med" len="med"/>
          </a:ln>
          <a:effectLst>
            <a:innerShdw dist="50800" dir="16200000">
              <a:schemeClr val="accent1"/>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tx2"/>
                </a:solidFill>
                <a:ea typeface="Segoe UI" pitchFamily="34" charset="0"/>
                <a:cs typeface="Segoe UI" pitchFamily="34" charset="0"/>
              </a:rPr>
              <a:t>1</a:t>
            </a:r>
            <a:endParaRPr lang="en-IN" sz="2400" b="1" dirty="0" err="1">
              <a:solidFill>
                <a:schemeClr val="tx2"/>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59BFE2C-2301-4B63-B5FE-AE301A9889B3}"/>
              </a:ext>
            </a:extLst>
          </p:cNvPr>
          <p:cNvSpPr/>
          <p:nvPr/>
        </p:nvSpPr>
        <p:spPr bwMode="auto">
          <a:xfrm>
            <a:off x="4509120" y="1993408"/>
            <a:ext cx="520080" cy="520080"/>
          </a:xfrm>
          <a:prstGeom prst="ellipse">
            <a:avLst/>
          </a:prstGeom>
          <a:solidFill>
            <a:schemeClr val="bg1"/>
          </a:solidFill>
          <a:ln>
            <a:noFill/>
            <a:headEnd type="none" w="med" len="med"/>
            <a:tailEnd type="none" w="med" len="med"/>
          </a:ln>
          <a:effectLst>
            <a:innerShdw dist="50800" dir="16200000">
              <a:schemeClr val="accent2"/>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tx2"/>
                </a:solidFill>
                <a:ea typeface="Segoe UI" pitchFamily="34" charset="0"/>
                <a:cs typeface="Segoe UI" pitchFamily="34" charset="0"/>
              </a:rPr>
              <a:t>2</a:t>
            </a:r>
            <a:endParaRPr lang="en-IN" sz="2400" b="1" dirty="0" err="1">
              <a:solidFill>
                <a:schemeClr val="tx2"/>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5C7EE974-17C2-45AF-A739-7A84FB715E99}"/>
              </a:ext>
            </a:extLst>
          </p:cNvPr>
          <p:cNvSpPr/>
          <p:nvPr/>
        </p:nvSpPr>
        <p:spPr bwMode="auto">
          <a:xfrm>
            <a:off x="7429418" y="1993408"/>
            <a:ext cx="520080" cy="520080"/>
          </a:xfrm>
          <a:prstGeom prst="ellipse">
            <a:avLst/>
          </a:prstGeom>
          <a:solidFill>
            <a:schemeClr val="bg1"/>
          </a:solidFill>
          <a:ln>
            <a:noFill/>
            <a:headEnd type="none" w="med" len="med"/>
            <a:tailEnd type="none" w="med" len="med"/>
          </a:ln>
          <a:effectLst>
            <a:innerShdw dist="50800" dir="16200000">
              <a:schemeClr val="accent3"/>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tx2"/>
                </a:solidFill>
                <a:ea typeface="Segoe UI" pitchFamily="34" charset="0"/>
                <a:cs typeface="Segoe UI" pitchFamily="34" charset="0"/>
              </a:rPr>
              <a:t>3</a:t>
            </a:r>
            <a:endParaRPr lang="en-IN" sz="2400" b="1" dirty="0" err="1">
              <a:solidFill>
                <a:schemeClr val="tx2"/>
              </a:solidFill>
              <a:ea typeface="Segoe UI" pitchFamily="34" charset="0"/>
              <a:cs typeface="Segoe UI" pitchFamily="34" charset="0"/>
            </a:endParaRPr>
          </a:p>
        </p:txBody>
      </p:sp>
      <p:sp>
        <p:nvSpPr>
          <p:cNvPr id="17" name="Oval 16">
            <a:extLst>
              <a:ext uri="{FF2B5EF4-FFF2-40B4-BE49-F238E27FC236}">
                <a16:creationId xmlns:a16="http://schemas.microsoft.com/office/drawing/2014/main" id="{9C9B9523-6035-45D7-8FFB-EB1B8C1A2A13}"/>
              </a:ext>
            </a:extLst>
          </p:cNvPr>
          <p:cNvSpPr/>
          <p:nvPr/>
        </p:nvSpPr>
        <p:spPr bwMode="auto">
          <a:xfrm>
            <a:off x="10349715" y="1993408"/>
            <a:ext cx="520080" cy="520080"/>
          </a:xfrm>
          <a:prstGeom prst="ellipse">
            <a:avLst/>
          </a:prstGeom>
          <a:solidFill>
            <a:schemeClr val="bg1"/>
          </a:solidFill>
          <a:ln>
            <a:noFill/>
            <a:headEnd type="none" w="med" len="med"/>
            <a:tailEnd type="none" w="med" len="med"/>
          </a:ln>
          <a:effectLst>
            <a:innerShdw dist="50800" dir="16200000">
              <a:schemeClr val="accent4"/>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tx2"/>
                </a:solidFill>
                <a:ea typeface="Segoe UI" pitchFamily="34" charset="0"/>
                <a:cs typeface="Segoe UI" pitchFamily="34" charset="0"/>
              </a:rPr>
              <a:t>4</a:t>
            </a:r>
            <a:endParaRPr lang="en-IN" sz="2400" b="1" dirty="0" err="1">
              <a:solidFill>
                <a:schemeClr val="tx2"/>
              </a:solidFill>
              <a:ea typeface="Segoe UI" pitchFamily="34" charset="0"/>
              <a:cs typeface="Segoe UI" pitchFamily="34" charset="0"/>
            </a:endParaRPr>
          </a:p>
        </p:txBody>
      </p:sp>
    </p:spTree>
    <p:extLst>
      <p:ext uri="{BB962C8B-B14F-4D97-AF65-F5344CB8AC3E}">
        <p14:creationId xmlns:p14="http://schemas.microsoft.com/office/powerpoint/2010/main" val="224500518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doesn’t provide any support to CSP Customers</a:t>
            </a:r>
          </a:p>
        </p:txBody>
      </p:sp>
      <p:sp>
        <p:nvSpPr>
          <p:cNvPr id="10" name="Text Placeholder 2">
            <a:extLst>
              <a:ext uri="{FF2B5EF4-FFF2-40B4-BE49-F238E27FC236}">
                <a16:creationId xmlns:a16="http://schemas.microsoft.com/office/drawing/2014/main" id="{D52660AE-0B21-4722-A88E-DF3E8BF4DE93}"/>
              </a:ext>
            </a:extLst>
          </p:cNvPr>
          <p:cNvSpPr txBox="1">
            <a:spLocks/>
          </p:cNvSpPr>
          <p:nvPr/>
        </p:nvSpPr>
        <p:spPr>
          <a:xfrm>
            <a:off x="1741623" y="1918562"/>
            <a:ext cx="2141998" cy="332399"/>
          </a:xfrm>
          <a:prstGeom prst="rect">
            <a:avLst/>
          </a:prstGeom>
          <a:noFill/>
        </p:spPr>
        <p:txBody>
          <a:bodyPr wrap="none" lIns="0" tIns="0" rIns="0" bIns="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384"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1"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Customer view</a:t>
            </a:r>
          </a:p>
        </p:txBody>
      </p:sp>
      <p:sp>
        <p:nvSpPr>
          <p:cNvPr id="11" name="Text Placeholder 12">
            <a:extLst>
              <a:ext uri="{FF2B5EF4-FFF2-40B4-BE49-F238E27FC236}">
                <a16:creationId xmlns:a16="http://schemas.microsoft.com/office/drawing/2014/main" id="{35FAD5D2-3AA5-4025-9A43-E0E020A816D3}"/>
              </a:ext>
            </a:extLst>
          </p:cNvPr>
          <p:cNvSpPr txBox="1">
            <a:spLocks/>
          </p:cNvSpPr>
          <p:nvPr/>
        </p:nvSpPr>
        <p:spPr>
          <a:xfrm>
            <a:off x="7408444" y="1918562"/>
            <a:ext cx="2463368" cy="332399"/>
          </a:xfrm>
          <a:prstGeom prst="rect">
            <a:avLst/>
          </a:prstGeom>
          <a:noFill/>
        </p:spPr>
        <p:txBody>
          <a:bodyPr wrap="none" lIns="0" tIns="0" rIns="0" bIns="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384"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1"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CSP Partner view</a:t>
            </a:r>
          </a:p>
        </p:txBody>
      </p:sp>
      <p:pic>
        <p:nvPicPr>
          <p:cNvPr id="13" name="Picture 12">
            <a:extLst>
              <a:ext uri="{FF2B5EF4-FFF2-40B4-BE49-F238E27FC236}">
                <a16:creationId xmlns:a16="http://schemas.microsoft.com/office/drawing/2014/main" id="{4F5D938D-6E7F-4AA4-9C1F-443A3059D078}"/>
              </a:ext>
            </a:extLst>
          </p:cNvPr>
          <p:cNvPicPr>
            <a:picLocks noChangeAspect="1"/>
          </p:cNvPicPr>
          <p:nvPr/>
        </p:nvPicPr>
        <p:blipFill>
          <a:blip r:embed="rId2"/>
          <a:stretch>
            <a:fillRect/>
          </a:stretch>
        </p:blipFill>
        <p:spPr>
          <a:xfrm>
            <a:off x="465137" y="2357498"/>
            <a:ext cx="4694970" cy="4010778"/>
          </a:xfrm>
          <a:prstGeom prst="rect">
            <a:avLst/>
          </a:prstGeom>
          <a:ln>
            <a:noFill/>
          </a:ln>
        </p:spPr>
      </p:pic>
      <p:pic>
        <p:nvPicPr>
          <p:cNvPr id="14" name="Picture 13">
            <a:extLst>
              <a:ext uri="{FF2B5EF4-FFF2-40B4-BE49-F238E27FC236}">
                <a16:creationId xmlns:a16="http://schemas.microsoft.com/office/drawing/2014/main" id="{DB973C26-13EC-415A-93C2-A0E0A88CEF5E}"/>
              </a:ext>
            </a:extLst>
          </p:cNvPr>
          <p:cNvPicPr>
            <a:picLocks noChangeAspect="1"/>
          </p:cNvPicPr>
          <p:nvPr/>
        </p:nvPicPr>
        <p:blipFill>
          <a:blip r:embed="rId3"/>
          <a:stretch>
            <a:fillRect/>
          </a:stretch>
        </p:blipFill>
        <p:spPr>
          <a:xfrm>
            <a:off x="5300461" y="2356339"/>
            <a:ext cx="6679335" cy="4010778"/>
          </a:xfrm>
          <a:prstGeom prst="rect">
            <a:avLst/>
          </a:prstGeom>
          <a:ln>
            <a:noFill/>
          </a:ln>
        </p:spPr>
      </p:pic>
    </p:spTree>
    <p:extLst>
      <p:ext uri="{BB962C8B-B14F-4D97-AF65-F5344CB8AC3E}">
        <p14:creationId xmlns:p14="http://schemas.microsoft.com/office/powerpoint/2010/main" val="266855398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2F6DE-343D-4EE8-952A-E8C1F67BBB63}"/>
              </a:ext>
            </a:extLst>
          </p:cNvPr>
          <p:cNvSpPr>
            <a:spLocks noGrp="1"/>
          </p:cNvSpPr>
          <p:nvPr>
            <p:ph type="title"/>
          </p:nvPr>
        </p:nvSpPr>
        <p:spPr/>
        <p:txBody>
          <a:bodyPr/>
          <a:lstStyle/>
          <a:p>
            <a:r>
              <a:rPr lang="en-US" dirty="0"/>
              <a:t>Workshop Agenda</a:t>
            </a:r>
            <a:endParaRPr lang="en-IN" dirty="0"/>
          </a:p>
        </p:txBody>
      </p:sp>
      <p:sp>
        <p:nvSpPr>
          <p:cNvPr id="4" name="Oval 3">
            <a:extLst>
              <a:ext uri="{FF2B5EF4-FFF2-40B4-BE49-F238E27FC236}">
                <a16:creationId xmlns:a16="http://schemas.microsoft.com/office/drawing/2014/main" id="{BDE85177-7BC9-4FA4-83A5-1FD826869107}"/>
              </a:ext>
            </a:extLst>
          </p:cNvPr>
          <p:cNvSpPr/>
          <p:nvPr/>
        </p:nvSpPr>
        <p:spPr bwMode="auto">
          <a:xfrm>
            <a:off x="465138" y="1115368"/>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1</a:t>
            </a:r>
            <a:endParaRPr lang="en-IN" sz="2400" b="1" dirty="0" err="1">
              <a:solidFill>
                <a:schemeClr val="bg1"/>
              </a:solidFill>
              <a:ea typeface="Segoe UI" pitchFamily="34" charset="0"/>
              <a:cs typeface="Segoe UI" pitchFamily="34" charset="0"/>
            </a:endParaRPr>
          </a:p>
        </p:txBody>
      </p:sp>
      <p:sp>
        <p:nvSpPr>
          <p:cNvPr id="5" name="Oval 4">
            <a:extLst>
              <a:ext uri="{FF2B5EF4-FFF2-40B4-BE49-F238E27FC236}">
                <a16:creationId xmlns:a16="http://schemas.microsoft.com/office/drawing/2014/main" id="{7E5E2C74-F2C9-4932-95AB-C33CDE68E3E1}"/>
              </a:ext>
            </a:extLst>
          </p:cNvPr>
          <p:cNvSpPr/>
          <p:nvPr/>
        </p:nvSpPr>
        <p:spPr bwMode="auto">
          <a:xfrm>
            <a:off x="465138" y="3241232"/>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2</a:t>
            </a:r>
            <a:endParaRPr lang="en-IN" sz="2400" b="1" dirty="0" err="1">
              <a:solidFill>
                <a:schemeClr val="bg1"/>
              </a:solidFill>
              <a:ea typeface="Segoe UI" pitchFamily="34" charset="0"/>
              <a:cs typeface="Segoe UI" pitchFamily="34" charset="0"/>
            </a:endParaRPr>
          </a:p>
        </p:txBody>
      </p:sp>
      <p:sp>
        <p:nvSpPr>
          <p:cNvPr id="6" name="Oval 5">
            <a:extLst>
              <a:ext uri="{FF2B5EF4-FFF2-40B4-BE49-F238E27FC236}">
                <a16:creationId xmlns:a16="http://schemas.microsoft.com/office/drawing/2014/main" id="{869A47B4-F414-47B4-8841-0C61D3F679B5}"/>
              </a:ext>
            </a:extLst>
          </p:cNvPr>
          <p:cNvSpPr/>
          <p:nvPr/>
        </p:nvSpPr>
        <p:spPr bwMode="auto">
          <a:xfrm>
            <a:off x="465138" y="4997765"/>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3</a:t>
            </a:r>
            <a:endParaRPr lang="en-IN" sz="2400" b="1" dirty="0" err="1">
              <a:solidFill>
                <a:schemeClr val="bg1"/>
              </a:solidFill>
              <a:ea typeface="Segoe UI" pitchFamily="34" charset="0"/>
              <a:cs typeface="Segoe UI" pitchFamily="34" charset="0"/>
            </a:endParaRPr>
          </a:p>
        </p:txBody>
      </p:sp>
      <p:sp>
        <p:nvSpPr>
          <p:cNvPr id="7" name="Oval 6">
            <a:extLst>
              <a:ext uri="{FF2B5EF4-FFF2-40B4-BE49-F238E27FC236}">
                <a16:creationId xmlns:a16="http://schemas.microsoft.com/office/drawing/2014/main" id="{CD87E101-BF3F-4FC5-80C5-6905858E3CA0}"/>
              </a:ext>
            </a:extLst>
          </p:cNvPr>
          <p:cNvSpPr/>
          <p:nvPr/>
        </p:nvSpPr>
        <p:spPr bwMode="auto">
          <a:xfrm>
            <a:off x="6393943" y="1115368"/>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4</a:t>
            </a:r>
            <a:endParaRPr lang="en-IN" sz="2400" b="1" dirty="0" err="1">
              <a:solidFill>
                <a:schemeClr val="bg1"/>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E86BD719-E125-43C3-9ECB-0A0020EE5E5C}"/>
              </a:ext>
            </a:extLst>
          </p:cNvPr>
          <p:cNvSpPr/>
          <p:nvPr/>
        </p:nvSpPr>
        <p:spPr>
          <a:xfrm>
            <a:off x="1198880" y="1115368"/>
            <a:ext cx="4461140" cy="1885131"/>
          </a:xfrm>
          <a:prstGeom prst="rect">
            <a:avLst/>
          </a:prstGeom>
        </p:spPr>
        <p:txBody>
          <a:bodyPr wrap="square" lIns="0" tIns="0" rIns="0" bIns="0">
            <a:noAutofit/>
          </a:bodyPr>
          <a:lstStyle/>
          <a:p>
            <a:pPr fontAlgn="ctr">
              <a:spcBef>
                <a:spcPts val="0"/>
              </a:spcBef>
            </a:pPr>
            <a:r>
              <a:rPr lang="en-US" sz="1400" b="1" dirty="0">
                <a:solidFill>
                  <a:schemeClr val="accent1"/>
                </a:solidFill>
              </a:rPr>
              <a:t>Migration planning</a:t>
            </a:r>
          </a:p>
          <a:p>
            <a:pPr marL="347663" lvl="1" indent="-228600" fontAlgn="ctr">
              <a:spcAft>
                <a:spcPts val="300"/>
              </a:spcAft>
              <a:buFont typeface="+mj-lt"/>
              <a:buAutoNum type="alphaLcPeriod"/>
            </a:pPr>
            <a:r>
              <a:rPr lang="en-US" sz="1200" dirty="0">
                <a:solidFill>
                  <a:schemeClr val="tx2"/>
                </a:solidFill>
              </a:rPr>
              <a:t>Overview of </a:t>
            </a:r>
            <a:r>
              <a:rPr lang="en-US" sz="1200" dirty="0" err="1">
                <a:solidFill>
                  <a:schemeClr val="tx2"/>
                </a:solidFill>
              </a:rPr>
              <a:t>Hoster</a:t>
            </a:r>
            <a:r>
              <a:rPr lang="en-US" sz="1200" dirty="0">
                <a:solidFill>
                  <a:schemeClr val="tx2"/>
                </a:solidFill>
              </a:rPr>
              <a:t> DC Migration Program project - from start to finish</a:t>
            </a:r>
          </a:p>
          <a:p>
            <a:pPr marL="347663" lvl="1" indent="-228600" fontAlgn="ctr">
              <a:spcAft>
                <a:spcPts val="300"/>
              </a:spcAft>
              <a:buFont typeface="+mj-lt"/>
              <a:buAutoNum type="alphaLcPeriod"/>
            </a:pPr>
            <a:r>
              <a:rPr lang="en-US" sz="1200" dirty="0">
                <a:solidFill>
                  <a:schemeClr val="tx2"/>
                </a:solidFill>
              </a:rPr>
              <a:t>Purpose of migration plan</a:t>
            </a:r>
          </a:p>
          <a:p>
            <a:pPr marL="347663" lvl="1" indent="-228600" fontAlgn="ctr">
              <a:spcAft>
                <a:spcPts val="300"/>
              </a:spcAft>
              <a:buFont typeface="+mj-lt"/>
              <a:buAutoNum type="alphaLcPeriod"/>
            </a:pPr>
            <a:r>
              <a:rPr lang="en-US" sz="1200" dirty="0">
                <a:solidFill>
                  <a:schemeClr val="tx2"/>
                </a:solidFill>
              </a:rPr>
              <a:t>Identifying right customers</a:t>
            </a:r>
          </a:p>
          <a:p>
            <a:pPr marL="347663" lvl="1" indent="-228600" fontAlgn="ctr">
              <a:spcAft>
                <a:spcPts val="300"/>
              </a:spcAft>
              <a:buFont typeface="+mj-lt"/>
              <a:buAutoNum type="alphaLcPeriod"/>
            </a:pPr>
            <a:r>
              <a:rPr lang="en-US" sz="1200" dirty="0">
                <a:solidFill>
                  <a:schemeClr val="tx2"/>
                </a:solidFill>
              </a:rPr>
              <a:t>Identifying workloads for migration</a:t>
            </a:r>
          </a:p>
          <a:p>
            <a:pPr marL="347663" lvl="1" indent="-228600" fontAlgn="ctr">
              <a:spcAft>
                <a:spcPts val="300"/>
              </a:spcAft>
              <a:buFont typeface="+mj-lt"/>
              <a:buAutoNum type="alphaLcPeriod"/>
            </a:pPr>
            <a:r>
              <a:rPr lang="en-US" sz="1200" dirty="0">
                <a:solidFill>
                  <a:schemeClr val="tx2"/>
                </a:solidFill>
              </a:rPr>
              <a:t>Optimizing cloud costs with Reserved Instances and Azure Hybrid Benefit</a:t>
            </a:r>
          </a:p>
          <a:p>
            <a:pPr marL="347663" lvl="1" indent="-228600" fontAlgn="ctr">
              <a:spcAft>
                <a:spcPts val="300"/>
              </a:spcAft>
              <a:buFont typeface="+mj-lt"/>
              <a:buAutoNum type="alphaLcPeriod" startAt="7"/>
            </a:pPr>
            <a:r>
              <a:rPr lang="en-US" sz="1200" dirty="0">
                <a:solidFill>
                  <a:schemeClr val="tx2"/>
                </a:solidFill>
              </a:rPr>
              <a:t>Building v1 of the migration plan using a template</a:t>
            </a:r>
          </a:p>
        </p:txBody>
      </p:sp>
      <p:sp>
        <p:nvSpPr>
          <p:cNvPr id="9" name="Rectangle 8">
            <a:extLst>
              <a:ext uri="{FF2B5EF4-FFF2-40B4-BE49-F238E27FC236}">
                <a16:creationId xmlns:a16="http://schemas.microsoft.com/office/drawing/2014/main" id="{A865AA24-9FC8-4A6B-8B2C-C025BFF78C49}"/>
              </a:ext>
            </a:extLst>
          </p:cNvPr>
          <p:cNvSpPr/>
          <p:nvPr/>
        </p:nvSpPr>
        <p:spPr>
          <a:xfrm>
            <a:off x="1198880" y="3241233"/>
            <a:ext cx="4461140" cy="1515800"/>
          </a:xfrm>
          <a:prstGeom prst="rect">
            <a:avLst/>
          </a:prstGeom>
        </p:spPr>
        <p:txBody>
          <a:bodyPr wrap="square" lIns="0" tIns="0" rIns="0" bIns="0">
            <a:noAutofit/>
          </a:bodyPr>
          <a:lstStyle/>
          <a:p>
            <a:pPr marL="285750" indent="-285750" fontAlgn="ctr">
              <a:spcBef>
                <a:spcPts val="0"/>
              </a:spcBef>
            </a:pPr>
            <a:r>
              <a:rPr lang="en-US" sz="1400" b="1" dirty="0">
                <a:solidFill>
                  <a:schemeClr val="accent1"/>
                </a:solidFill>
              </a:rPr>
              <a:t>CSP Onboarding</a:t>
            </a:r>
          </a:p>
          <a:p>
            <a:pPr marL="347663" lvl="1" indent="-228600" fontAlgn="ctr">
              <a:spcAft>
                <a:spcPts val="300"/>
              </a:spcAft>
              <a:buFont typeface="+mj-lt"/>
              <a:buAutoNum type="alphaLcPeriod"/>
            </a:pPr>
            <a:r>
              <a:rPr lang="en-US" sz="1200" dirty="0">
                <a:solidFill>
                  <a:schemeClr val="tx2"/>
                </a:solidFill>
              </a:rPr>
              <a:t>CSP model and Partner Center overview</a:t>
            </a:r>
          </a:p>
          <a:p>
            <a:pPr marL="347663" lvl="1" indent="-228600" fontAlgn="ctr">
              <a:spcAft>
                <a:spcPts val="300"/>
              </a:spcAft>
              <a:buFont typeface="+mj-lt"/>
              <a:buAutoNum type="alphaLcPeriod"/>
            </a:pPr>
            <a:r>
              <a:rPr lang="en-US" sz="1200" dirty="0">
                <a:solidFill>
                  <a:schemeClr val="tx2"/>
                </a:solidFill>
              </a:rPr>
              <a:t>CSP discounts and rebates</a:t>
            </a:r>
          </a:p>
          <a:p>
            <a:pPr marL="347663" lvl="1" indent="-228600" fontAlgn="ctr">
              <a:spcAft>
                <a:spcPts val="300"/>
              </a:spcAft>
              <a:buFont typeface="+mj-lt"/>
              <a:buAutoNum type="alphaLcPeriod"/>
            </a:pPr>
            <a:r>
              <a:rPr lang="en-US" sz="1200" dirty="0">
                <a:solidFill>
                  <a:schemeClr val="tx2"/>
                </a:solidFill>
              </a:rPr>
              <a:t>Identity management in Partner Center</a:t>
            </a:r>
          </a:p>
          <a:p>
            <a:pPr marL="347663" lvl="1" indent="-228600" fontAlgn="ctr">
              <a:spcAft>
                <a:spcPts val="300"/>
              </a:spcAft>
              <a:buFont typeface="+mj-lt"/>
              <a:buAutoNum type="alphaLcPeriod"/>
            </a:pPr>
            <a:r>
              <a:rPr lang="en-US" sz="1200" dirty="0">
                <a:solidFill>
                  <a:schemeClr val="tx2"/>
                </a:solidFill>
              </a:rPr>
              <a:t>Customer support overview</a:t>
            </a:r>
          </a:p>
          <a:p>
            <a:pPr marL="347663" lvl="1" indent="-228600" fontAlgn="ctr">
              <a:spcAft>
                <a:spcPts val="300"/>
              </a:spcAft>
              <a:buFont typeface="+mj-lt"/>
              <a:buAutoNum type="alphaLcPeriod"/>
            </a:pPr>
            <a:r>
              <a:rPr lang="en-US" sz="1200" dirty="0">
                <a:solidFill>
                  <a:schemeClr val="tx2"/>
                </a:solidFill>
              </a:rPr>
              <a:t>CSP billing overview</a:t>
            </a:r>
          </a:p>
          <a:p>
            <a:pPr marL="347663" lvl="1" indent="-228600" fontAlgn="ctr">
              <a:spcAft>
                <a:spcPts val="300"/>
              </a:spcAft>
              <a:buFont typeface="+mj-lt"/>
              <a:buAutoNum type="alphaLcPeriod"/>
            </a:pPr>
            <a:r>
              <a:rPr lang="en-US" sz="1200" dirty="0">
                <a:solidFill>
                  <a:schemeClr val="tx2"/>
                </a:solidFill>
              </a:rPr>
              <a:t>Partner Center API integration</a:t>
            </a:r>
          </a:p>
        </p:txBody>
      </p:sp>
      <p:sp>
        <p:nvSpPr>
          <p:cNvPr id="10" name="Rectangle 9">
            <a:extLst>
              <a:ext uri="{FF2B5EF4-FFF2-40B4-BE49-F238E27FC236}">
                <a16:creationId xmlns:a16="http://schemas.microsoft.com/office/drawing/2014/main" id="{F02518CA-CAF5-48EB-9431-7F4A850F4035}"/>
              </a:ext>
            </a:extLst>
          </p:cNvPr>
          <p:cNvSpPr/>
          <p:nvPr/>
        </p:nvSpPr>
        <p:spPr>
          <a:xfrm>
            <a:off x="1198880" y="4997765"/>
            <a:ext cx="4461140" cy="1801920"/>
          </a:xfrm>
          <a:prstGeom prst="rect">
            <a:avLst/>
          </a:prstGeom>
        </p:spPr>
        <p:txBody>
          <a:bodyPr wrap="square" lIns="0" tIns="0" rIns="0" bIns="0">
            <a:noAutofit/>
          </a:bodyPr>
          <a:lstStyle/>
          <a:p>
            <a:pPr marL="285750" indent="-285750" fontAlgn="ctr">
              <a:spcBef>
                <a:spcPts val="0"/>
              </a:spcBef>
            </a:pPr>
            <a:r>
              <a:rPr lang="en-US" sz="1400" b="1" dirty="0">
                <a:solidFill>
                  <a:schemeClr val="accent1"/>
                </a:solidFill>
              </a:rPr>
              <a:t>Azure IaaS</a:t>
            </a:r>
          </a:p>
          <a:p>
            <a:pPr marL="347663" lvl="1" indent="-228600" fontAlgn="ctr">
              <a:spcAft>
                <a:spcPts val="300"/>
              </a:spcAft>
              <a:buFont typeface="+mj-lt"/>
              <a:buAutoNum type="alphaLcPeriod"/>
            </a:pPr>
            <a:r>
              <a:rPr lang="en-US" sz="1200" dirty="0">
                <a:solidFill>
                  <a:schemeClr val="tx2"/>
                </a:solidFill>
              </a:rPr>
              <a:t>Azure Compute overview – VM families, regions, comparison with on-prem virtualization</a:t>
            </a:r>
          </a:p>
          <a:p>
            <a:pPr marL="347663" lvl="1" indent="-228600" fontAlgn="ctr">
              <a:spcAft>
                <a:spcPts val="300"/>
              </a:spcAft>
              <a:buFont typeface="+mj-lt"/>
              <a:buAutoNum type="alphaLcPeriod"/>
            </a:pPr>
            <a:r>
              <a:rPr lang="en-US" sz="1200" dirty="0">
                <a:solidFill>
                  <a:schemeClr val="tx2"/>
                </a:solidFill>
              </a:rPr>
              <a:t>Azure Storage overview – Managed disks and storage accounts, planning storage performance</a:t>
            </a:r>
          </a:p>
          <a:p>
            <a:pPr marL="347663" lvl="1" indent="-228600" fontAlgn="ctr">
              <a:spcAft>
                <a:spcPts val="300"/>
              </a:spcAft>
              <a:buFont typeface="+mj-lt"/>
              <a:buAutoNum type="alphaLcPeriod"/>
            </a:pPr>
            <a:r>
              <a:rPr lang="en-US" sz="1200" dirty="0">
                <a:solidFill>
                  <a:schemeClr val="tx2"/>
                </a:solidFill>
              </a:rPr>
              <a:t>Azure Networking overview – Basic and advanced network topologies in Azure, various connectivity options</a:t>
            </a:r>
          </a:p>
          <a:p>
            <a:pPr marL="347663" lvl="1" indent="-228600" fontAlgn="ctr">
              <a:spcAft>
                <a:spcPts val="300"/>
              </a:spcAft>
              <a:buFont typeface="+mj-lt"/>
              <a:buAutoNum type="alphaLcPeriod"/>
            </a:pPr>
            <a:r>
              <a:rPr lang="en-US" sz="1200" dirty="0">
                <a:solidFill>
                  <a:schemeClr val="tx2"/>
                </a:solidFill>
              </a:rPr>
              <a:t>Cost optimizations – Working with Azure Reserved Instances and Azure Hybrid Benefit</a:t>
            </a:r>
          </a:p>
        </p:txBody>
      </p:sp>
      <p:sp>
        <p:nvSpPr>
          <p:cNvPr id="12" name="Rectangle 11">
            <a:extLst>
              <a:ext uri="{FF2B5EF4-FFF2-40B4-BE49-F238E27FC236}">
                <a16:creationId xmlns:a16="http://schemas.microsoft.com/office/drawing/2014/main" id="{919671EC-4CB4-4167-8FFB-A682B29D3631}"/>
              </a:ext>
            </a:extLst>
          </p:cNvPr>
          <p:cNvSpPr/>
          <p:nvPr/>
        </p:nvSpPr>
        <p:spPr>
          <a:xfrm>
            <a:off x="7101841" y="1115368"/>
            <a:ext cx="4898476" cy="774058"/>
          </a:xfrm>
          <a:prstGeom prst="rect">
            <a:avLst/>
          </a:prstGeom>
        </p:spPr>
        <p:txBody>
          <a:bodyPr wrap="square" lIns="0" tIns="0" rIns="0" bIns="0">
            <a:spAutoFit/>
          </a:bodyPr>
          <a:lstStyle/>
          <a:p>
            <a:pPr marL="285750" lvl="0" indent="-285750" defTabSz="932384" fontAlgn="ctr">
              <a:lnSpc>
                <a:spcPct val="90000"/>
              </a:lnSpc>
              <a:buSzPct val="90000"/>
            </a:pPr>
            <a:r>
              <a:rPr lang="en-US" sz="1400" b="1" dirty="0">
                <a:solidFill>
                  <a:schemeClr val="accent1"/>
                </a:solidFill>
              </a:rPr>
              <a:t>Azure Database services</a:t>
            </a:r>
          </a:p>
          <a:p>
            <a:pPr marL="347663" lvl="1" indent="-228600" defTabSz="932384" fontAlgn="ctr">
              <a:lnSpc>
                <a:spcPct val="90000"/>
              </a:lnSpc>
              <a:spcAft>
                <a:spcPts val="300"/>
              </a:spcAft>
              <a:buSzPct val="90000"/>
              <a:buFont typeface="+mj-lt"/>
              <a:buAutoNum type="alphaLcPeriod"/>
            </a:pPr>
            <a:r>
              <a:rPr lang="en-US" sz="1200" dirty="0">
                <a:solidFill>
                  <a:schemeClr val="tx2"/>
                </a:solidFill>
              </a:rPr>
              <a:t>Azure SQL Database and Azure SQL Managed Instance overview</a:t>
            </a:r>
          </a:p>
          <a:p>
            <a:pPr marL="347663" lvl="1" indent="-228600" defTabSz="932384" fontAlgn="ctr">
              <a:lnSpc>
                <a:spcPct val="90000"/>
              </a:lnSpc>
              <a:spcAft>
                <a:spcPts val="300"/>
              </a:spcAft>
              <a:buSzPct val="90000"/>
              <a:buFont typeface="+mj-lt"/>
              <a:buAutoNum type="alphaLcPeriod"/>
            </a:pPr>
            <a:r>
              <a:rPr lang="en-US" sz="1200" dirty="0">
                <a:solidFill>
                  <a:schemeClr val="tx2"/>
                </a:solidFill>
              </a:rPr>
              <a:t>Cost optimizations - Azure Hybrid Benefit for SQL Server</a:t>
            </a:r>
          </a:p>
          <a:p>
            <a:pPr marL="347663" lvl="1" indent="-228600" defTabSz="932384" fontAlgn="ctr">
              <a:lnSpc>
                <a:spcPct val="90000"/>
              </a:lnSpc>
              <a:spcAft>
                <a:spcPts val="300"/>
              </a:spcAft>
              <a:buSzPct val="90000"/>
              <a:buFont typeface="+mj-lt"/>
              <a:buAutoNum type="alphaLcPeriod"/>
            </a:pPr>
            <a:r>
              <a:rPr lang="en-US" sz="1200" dirty="0">
                <a:solidFill>
                  <a:schemeClr val="tx2"/>
                </a:solidFill>
              </a:rPr>
              <a:t>Azure Database for MySQL and PostgreSQL overview</a:t>
            </a:r>
          </a:p>
        </p:txBody>
      </p:sp>
      <p:sp>
        <p:nvSpPr>
          <p:cNvPr id="13" name="Rectangle 12">
            <a:extLst>
              <a:ext uri="{FF2B5EF4-FFF2-40B4-BE49-F238E27FC236}">
                <a16:creationId xmlns:a16="http://schemas.microsoft.com/office/drawing/2014/main" id="{FB0B430F-F1F7-452F-A5A3-8FD23667A007}"/>
              </a:ext>
            </a:extLst>
          </p:cNvPr>
          <p:cNvSpPr/>
          <p:nvPr/>
        </p:nvSpPr>
        <p:spPr>
          <a:xfrm>
            <a:off x="7101840" y="2274716"/>
            <a:ext cx="4898476" cy="774058"/>
          </a:xfrm>
          <a:prstGeom prst="rect">
            <a:avLst/>
          </a:prstGeom>
        </p:spPr>
        <p:txBody>
          <a:bodyPr wrap="square" lIns="0" tIns="0" rIns="0" bIns="0">
            <a:spAutoFit/>
          </a:bodyPr>
          <a:lstStyle/>
          <a:p>
            <a:pPr marL="285750" lvl="0" indent="-285750" defTabSz="932384" fontAlgn="ctr">
              <a:lnSpc>
                <a:spcPct val="90000"/>
              </a:lnSpc>
              <a:buSzPct val="90000"/>
            </a:pPr>
            <a:r>
              <a:rPr lang="en-US" sz="1400" b="1" dirty="0">
                <a:solidFill>
                  <a:schemeClr val="accent1"/>
                </a:solidFill>
              </a:rPr>
              <a:t>Migration technics</a:t>
            </a:r>
          </a:p>
          <a:p>
            <a:pPr marL="347663" lvl="1" indent="-228600" defTabSz="932384" fontAlgn="ctr">
              <a:lnSpc>
                <a:spcPct val="90000"/>
              </a:lnSpc>
              <a:spcAft>
                <a:spcPts val="300"/>
              </a:spcAft>
              <a:buSzPct val="90000"/>
              <a:buFont typeface="+mj-lt"/>
              <a:buAutoNum type="alphaLcPeriod"/>
            </a:pPr>
            <a:r>
              <a:rPr lang="en-US" sz="1200" dirty="0">
                <a:solidFill>
                  <a:schemeClr val="tx2"/>
                </a:solidFill>
              </a:rPr>
              <a:t>Backup &amp; restore</a:t>
            </a:r>
          </a:p>
          <a:p>
            <a:pPr marL="347663" lvl="1" indent="-228600" defTabSz="932384" fontAlgn="ctr">
              <a:lnSpc>
                <a:spcPct val="90000"/>
              </a:lnSpc>
              <a:spcAft>
                <a:spcPts val="300"/>
              </a:spcAft>
              <a:buSzPct val="90000"/>
              <a:buFont typeface="+mj-lt"/>
              <a:buAutoNum type="alphaLcPeriod"/>
            </a:pPr>
            <a:r>
              <a:rPr lang="en-US" sz="1200" dirty="0">
                <a:solidFill>
                  <a:schemeClr val="tx2"/>
                </a:solidFill>
              </a:rPr>
              <a:t>VM lift &amp; shift</a:t>
            </a:r>
          </a:p>
          <a:p>
            <a:pPr marL="347663" lvl="1" indent="-228600" defTabSz="932384" fontAlgn="ctr">
              <a:lnSpc>
                <a:spcPct val="90000"/>
              </a:lnSpc>
              <a:spcAft>
                <a:spcPts val="300"/>
              </a:spcAft>
              <a:buSzPct val="90000"/>
              <a:buFont typeface="+mj-lt"/>
              <a:buAutoNum type="alphaLcPeriod"/>
            </a:pPr>
            <a:r>
              <a:rPr lang="en-US" sz="1200" dirty="0">
                <a:solidFill>
                  <a:schemeClr val="tx2"/>
                </a:solidFill>
              </a:rPr>
              <a:t>Database migration</a:t>
            </a:r>
          </a:p>
        </p:txBody>
      </p:sp>
      <p:sp>
        <p:nvSpPr>
          <p:cNvPr id="14" name="Rectangle 13">
            <a:extLst>
              <a:ext uri="{FF2B5EF4-FFF2-40B4-BE49-F238E27FC236}">
                <a16:creationId xmlns:a16="http://schemas.microsoft.com/office/drawing/2014/main" id="{5049C5E4-8CEE-4BD9-98F8-2D129DFA6109}"/>
              </a:ext>
            </a:extLst>
          </p:cNvPr>
          <p:cNvSpPr/>
          <p:nvPr/>
        </p:nvSpPr>
        <p:spPr>
          <a:xfrm>
            <a:off x="7101840" y="3434064"/>
            <a:ext cx="4898476" cy="1144929"/>
          </a:xfrm>
          <a:prstGeom prst="rect">
            <a:avLst/>
          </a:prstGeom>
        </p:spPr>
        <p:txBody>
          <a:bodyPr wrap="square" lIns="0" tIns="0" rIns="0" bIns="0">
            <a:spAutoFit/>
          </a:bodyPr>
          <a:lstStyle/>
          <a:p>
            <a:pPr marL="285750" lvl="0" indent="-285750" defTabSz="932384" fontAlgn="ctr">
              <a:lnSpc>
                <a:spcPct val="90000"/>
              </a:lnSpc>
              <a:buSzPct val="90000"/>
            </a:pPr>
            <a:r>
              <a:rPr lang="en-US" sz="1400" b="1" dirty="0">
                <a:solidFill>
                  <a:schemeClr val="accent1"/>
                </a:solidFill>
              </a:rPr>
              <a:t>Migration assessment</a:t>
            </a:r>
          </a:p>
          <a:p>
            <a:pPr marL="347663" lvl="1" indent="-228600" defTabSz="932384" fontAlgn="ctr">
              <a:lnSpc>
                <a:spcPct val="90000"/>
              </a:lnSpc>
              <a:spcAft>
                <a:spcPts val="300"/>
              </a:spcAft>
              <a:buSzPct val="90000"/>
              <a:buFont typeface="+mj-lt"/>
              <a:buAutoNum type="alphaLcPeriod"/>
            </a:pPr>
            <a:r>
              <a:rPr lang="en-US" sz="1200" dirty="0">
                <a:solidFill>
                  <a:schemeClr val="tx2"/>
                </a:solidFill>
              </a:rPr>
              <a:t>Purpose of migration assessment</a:t>
            </a:r>
          </a:p>
          <a:p>
            <a:pPr marL="347663" lvl="1" indent="-228600" defTabSz="932384" fontAlgn="ctr">
              <a:lnSpc>
                <a:spcPct val="90000"/>
              </a:lnSpc>
              <a:spcAft>
                <a:spcPts val="300"/>
              </a:spcAft>
              <a:buSzPct val="90000"/>
              <a:buFont typeface="+mj-lt"/>
              <a:buAutoNum type="alphaLcPeriod"/>
            </a:pPr>
            <a:r>
              <a:rPr lang="en-US" sz="1200" dirty="0">
                <a:solidFill>
                  <a:schemeClr val="tx2"/>
                </a:solidFill>
              </a:rPr>
              <a:t>Assessment options: </a:t>
            </a:r>
            <a:r>
              <a:rPr lang="en-US" sz="1200" dirty="0" err="1">
                <a:solidFill>
                  <a:schemeClr val="tx2"/>
                </a:solidFill>
              </a:rPr>
              <a:t>Cloudamize</a:t>
            </a:r>
            <a:r>
              <a:rPr lang="en-US" sz="1200" dirty="0">
                <a:solidFill>
                  <a:schemeClr val="tx2"/>
                </a:solidFill>
              </a:rPr>
              <a:t>, Azure Migrate and Data Migration Assistant</a:t>
            </a:r>
          </a:p>
          <a:p>
            <a:pPr marL="347663" lvl="1" indent="-228600" defTabSz="932384" fontAlgn="ctr">
              <a:lnSpc>
                <a:spcPct val="90000"/>
              </a:lnSpc>
              <a:spcAft>
                <a:spcPts val="300"/>
              </a:spcAft>
              <a:buSzPct val="90000"/>
              <a:buFont typeface="+mj-lt"/>
              <a:buAutoNum type="alphaLcPeriod"/>
            </a:pPr>
            <a:r>
              <a:rPr lang="en-US" sz="1200" dirty="0" err="1">
                <a:solidFill>
                  <a:schemeClr val="tx2"/>
                </a:solidFill>
              </a:rPr>
              <a:t>Cloudamize</a:t>
            </a:r>
            <a:r>
              <a:rPr lang="en-US" sz="1200" dirty="0">
                <a:solidFill>
                  <a:schemeClr val="tx2"/>
                </a:solidFill>
              </a:rPr>
              <a:t> deployment options</a:t>
            </a:r>
          </a:p>
          <a:p>
            <a:pPr marL="347663" lvl="1" indent="-228600" defTabSz="932384" fontAlgn="ctr">
              <a:lnSpc>
                <a:spcPct val="90000"/>
              </a:lnSpc>
              <a:spcAft>
                <a:spcPts val="300"/>
              </a:spcAft>
              <a:buSzPct val="90000"/>
              <a:buFont typeface="+mj-lt"/>
              <a:buAutoNum type="alphaLcPeriod" startAt="5"/>
            </a:pPr>
            <a:r>
              <a:rPr lang="en-US" sz="1200" dirty="0">
                <a:solidFill>
                  <a:schemeClr val="tx2"/>
                </a:solidFill>
              </a:rPr>
              <a:t>Building v2 of the migration plan by adding assessment details</a:t>
            </a:r>
          </a:p>
        </p:txBody>
      </p:sp>
      <p:sp>
        <p:nvSpPr>
          <p:cNvPr id="15" name="Rectangle 14">
            <a:extLst>
              <a:ext uri="{FF2B5EF4-FFF2-40B4-BE49-F238E27FC236}">
                <a16:creationId xmlns:a16="http://schemas.microsoft.com/office/drawing/2014/main" id="{21FD665B-B269-431F-8C2E-EE7A1A1B5D1E}"/>
              </a:ext>
            </a:extLst>
          </p:cNvPr>
          <p:cNvSpPr/>
          <p:nvPr/>
        </p:nvSpPr>
        <p:spPr>
          <a:xfrm>
            <a:off x="7101840" y="4964283"/>
            <a:ext cx="4898476" cy="199285"/>
          </a:xfrm>
          <a:prstGeom prst="rect">
            <a:avLst/>
          </a:prstGeom>
        </p:spPr>
        <p:txBody>
          <a:bodyPr wrap="square" lIns="0" tIns="0" rIns="0" bIns="0">
            <a:spAutoFit/>
          </a:bodyPr>
          <a:lstStyle/>
          <a:p>
            <a:pPr marL="285750" lvl="0" indent="-285750" defTabSz="932384" fontAlgn="ctr">
              <a:lnSpc>
                <a:spcPct val="90000"/>
              </a:lnSpc>
              <a:buSzPct val="90000"/>
            </a:pPr>
            <a:r>
              <a:rPr lang="en-US" sz="1400" b="1" dirty="0">
                <a:solidFill>
                  <a:schemeClr val="accent1"/>
                </a:solidFill>
              </a:rPr>
              <a:t>Best practices and learnings</a:t>
            </a:r>
          </a:p>
        </p:txBody>
      </p:sp>
      <p:sp>
        <p:nvSpPr>
          <p:cNvPr id="16" name="Oval 15">
            <a:extLst>
              <a:ext uri="{FF2B5EF4-FFF2-40B4-BE49-F238E27FC236}">
                <a16:creationId xmlns:a16="http://schemas.microsoft.com/office/drawing/2014/main" id="{14FE753E-955A-425E-8B37-32407060EF34}"/>
              </a:ext>
            </a:extLst>
          </p:cNvPr>
          <p:cNvSpPr/>
          <p:nvPr/>
        </p:nvSpPr>
        <p:spPr bwMode="auto">
          <a:xfrm>
            <a:off x="6393943" y="2217262"/>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5</a:t>
            </a:r>
            <a:endParaRPr lang="en-IN" sz="2400" b="1" dirty="0" err="1">
              <a:solidFill>
                <a:schemeClr val="bg1"/>
              </a:solidFill>
              <a:ea typeface="Segoe UI" pitchFamily="34" charset="0"/>
              <a:cs typeface="Segoe UI" pitchFamily="34" charset="0"/>
            </a:endParaRPr>
          </a:p>
        </p:txBody>
      </p:sp>
      <p:sp>
        <p:nvSpPr>
          <p:cNvPr id="17" name="Oval 16">
            <a:extLst>
              <a:ext uri="{FF2B5EF4-FFF2-40B4-BE49-F238E27FC236}">
                <a16:creationId xmlns:a16="http://schemas.microsoft.com/office/drawing/2014/main" id="{147B72DF-7B6B-4A7B-9994-03DB389ED264}"/>
              </a:ext>
            </a:extLst>
          </p:cNvPr>
          <p:cNvSpPr/>
          <p:nvPr/>
        </p:nvSpPr>
        <p:spPr bwMode="auto">
          <a:xfrm>
            <a:off x="6393943" y="3319156"/>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6</a:t>
            </a:r>
            <a:endParaRPr lang="en-IN" sz="2400" b="1" dirty="0" err="1">
              <a:solidFill>
                <a:schemeClr val="bg1"/>
              </a:solidFill>
              <a:ea typeface="Segoe UI" pitchFamily="34" charset="0"/>
              <a:cs typeface="Segoe UI" pitchFamily="34" charset="0"/>
            </a:endParaRPr>
          </a:p>
        </p:txBody>
      </p:sp>
      <p:sp>
        <p:nvSpPr>
          <p:cNvPr id="18" name="Oval 17">
            <a:extLst>
              <a:ext uri="{FF2B5EF4-FFF2-40B4-BE49-F238E27FC236}">
                <a16:creationId xmlns:a16="http://schemas.microsoft.com/office/drawing/2014/main" id="{6B1E8340-14B8-43D3-A317-F37B08BD0D41}"/>
              </a:ext>
            </a:extLst>
          </p:cNvPr>
          <p:cNvSpPr/>
          <p:nvPr/>
        </p:nvSpPr>
        <p:spPr bwMode="auto">
          <a:xfrm>
            <a:off x="6393943" y="4791920"/>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7</a:t>
            </a:r>
            <a:endParaRPr lang="en-IN" sz="2400" b="1" dirty="0" err="1">
              <a:solidFill>
                <a:schemeClr val="bg1"/>
              </a:soli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00F537A0-3AC2-4D4C-B56B-8A36B48EB9C0}"/>
              </a:ext>
            </a:extLst>
          </p:cNvPr>
          <p:cNvCxnSpPr/>
          <p:nvPr/>
        </p:nvCxnSpPr>
        <p:spPr>
          <a:xfrm>
            <a:off x="1222030" y="3120866"/>
            <a:ext cx="472895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1C8E577-5248-4E89-8BA7-78C9AA1F33DE}"/>
              </a:ext>
            </a:extLst>
          </p:cNvPr>
          <p:cNvCxnSpPr/>
          <p:nvPr/>
        </p:nvCxnSpPr>
        <p:spPr>
          <a:xfrm>
            <a:off x="1222030" y="4877399"/>
            <a:ext cx="472895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E7EF72E-F4B9-4BAD-A1F2-3068AD7ED1EB}"/>
              </a:ext>
            </a:extLst>
          </p:cNvPr>
          <p:cNvCxnSpPr/>
          <p:nvPr/>
        </p:nvCxnSpPr>
        <p:spPr>
          <a:xfrm>
            <a:off x="7101840" y="2082071"/>
            <a:ext cx="472895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821C7A9-D7DA-40C9-ADE0-B5089CE648EE}"/>
              </a:ext>
            </a:extLst>
          </p:cNvPr>
          <p:cNvCxnSpPr/>
          <p:nvPr/>
        </p:nvCxnSpPr>
        <p:spPr>
          <a:xfrm>
            <a:off x="7101840" y="3241419"/>
            <a:ext cx="472895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5B048C96-26C9-4DE1-941C-1B94E50A75BC}"/>
              </a:ext>
            </a:extLst>
          </p:cNvPr>
          <p:cNvCxnSpPr/>
          <p:nvPr/>
        </p:nvCxnSpPr>
        <p:spPr>
          <a:xfrm>
            <a:off x="7101840" y="4771638"/>
            <a:ext cx="472895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F0F6C0F-D033-4863-BC72-38AF52AC52C2}"/>
              </a:ext>
            </a:extLst>
          </p:cNvPr>
          <p:cNvSpPr txBox="1"/>
          <p:nvPr/>
        </p:nvSpPr>
        <p:spPr>
          <a:xfrm>
            <a:off x="7804483" y="5541775"/>
            <a:ext cx="3323667" cy="794064"/>
          </a:xfrm>
          <a:prstGeom prst="rect">
            <a:avLst/>
          </a:prstGeom>
          <a:noFill/>
        </p:spPr>
        <p:txBody>
          <a:bodyPr wrap="non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aka.ms/dcmkit</a:t>
            </a:r>
          </a:p>
        </p:txBody>
      </p:sp>
    </p:spTree>
    <p:extLst>
      <p:ext uri="{BB962C8B-B14F-4D97-AF65-F5344CB8AC3E}">
        <p14:creationId xmlns:p14="http://schemas.microsoft.com/office/powerpoint/2010/main" val="416508151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chnical support for Azure services</a:t>
            </a:r>
            <a:endParaRPr lang="en-US" dirty="0"/>
          </a:p>
        </p:txBody>
      </p:sp>
      <p:cxnSp>
        <p:nvCxnSpPr>
          <p:cNvPr id="8" name="Straight Connector 7">
            <a:extLst>
              <a:ext uri="{FF2B5EF4-FFF2-40B4-BE49-F238E27FC236}">
                <a16:creationId xmlns:a16="http://schemas.microsoft.com/office/drawing/2014/main" id="{C1D3F851-7530-4B73-8E85-5CE4A9D34893}"/>
              </a:ext>
            </a:extLst>
          </p:cNvPr>
          <p:cNvCxnSpPr/>
          <p:nvPr/>
        </p:nvCxnSpPr>
        <p:spPr>
          <a:xfrm>
            <a:off x="0" y="1943976"/>
            <a:ext cx="12436475" cy="0"/>
          </a:xfrm>
          <a:prstGeom prst="line">
            <a:avLst/>
          </a:prstGeom>
          <a:ln w="1905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21D61B04-B534-4E91-A489-89E375B40641}"/>
              </a:ext>
            </a:extLst>
          </p:cNvPr>
          <p:cNvSpPr/>
          <p:nvPr/>
        </p:nvSpPr>
        <p:spPr bwMode="auto">
          <a:xfrm>
            <a:off x="1513737" y="1712414"/>
            <a:ext cx="463124" cy="463124"/>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2000" b="1"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1</a:t>
            </a:r>
          </a:p>
        </p:txBody>
      </p:sp>
      <p:sp>
        <p:nvSpPr>
          <p:cNvPr id="13" name="Oval 12">
            <a:extLst>
              <a:ext uri="{FF2B5EF4-FFF2-40B4-BE49-F238E27FC236}">
                <a16:creationId xmlns:a16="http://schemas.microsoft.com/office/drawing/2014/main" id="{D4529051-D310-4FE8-AD2B-BB10F226F5E6}"/>
              </a:ext>
            </a:extLst>
          </p:cNvPr>
          <p:cNvSpPr/>
          <p:nvPr/>
        </p:nvSpPr>
        <p:spPr bwMode="auto">
          <a:xfrm>
            <a:off x="4495697" y="1712414"/>
            <a:ext cx="463124" cy="463124"/>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2000" b="1"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2</a:t>
            </a:r>
          </a:p>
        </p:txBody>
      </p:sp>
      <p:sp>
        <p:nvSpPr>
          <p:cNvPr id="14" name="Oval 13">
            <a:extLst>
              <a:ext uri="{FF2B5EF4-FFF2-40B4-BE49-F238E27FC236}">
                <a16:creationId xmlns:a16="http://schemas.microsoft.com/office/drawing/2014/main" id="{05D5FEC6-387F-4264-8CB5-2B8E3659B8C5}"/>
              </a:ext>
            </a:extLst>
          </p:cNvPr>
          <p:cNvSpPr/>
          <p:nvPr/>
        </p:nvSpPr>
        <p:spPr bwMode="auto">
          <a:xfrm>
            <a:off x="7477657" y="1712414"/>
            <a:ext cx="463124" cy="463124"/>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2000" b="1"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3</a:t>
            </a:r>
          </a:p>
        </p:txBody>
      </p:sp>
      <p:sp>
        <p:nvSpPr>
          <p:cNvPr id="15" name="Oval 14">
            <a:extLst>
              <a:ext uri="{FF2B5EF4-FFF2-40B4-BE49-F238E27FC236}">
                <a16:creationId xmlns:a16="http://schemas.microsoft.com/office/drawing/2014/main" id="{D758FBF5-2F7C-4944-B29A-075692E1F397}"/>
              </a:ext>
            </a:extLst>
          </p:cNvPr>
          <p:cNvSpPr/>
          <p:nvPr/>
        </p:nvSpPr>
        <p:spPr bwMode="auto">
          <a:xfrm>
            <a:off x="10459616" y="1712414"/>
            <a:ext cx="463124" cy="463124"/>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2000" b="1"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4</a:t>
            </a:r>
          </a:p>
        </p:txBody>
      </p:sp>
      <p:sp>
        <p:nvSpPr>
          <p:cNvPr id="9" name="Text Placeholder 2">
            <a:extLst>
              <a:ext uri="{FF2B5EF4-FFF2-40B4-BE49-F238E27FC236}">
                <a16:creationId xmlns:a16="http://schemas.microsoft.com/office/drawing/2014/main" id="{3000E949-36EF-4EED-9ABE-B541D2145413}"/>
              </a:ext>
            </a:extLst>
          </p:cNvPr>
          <p:cNvSpPr txBox="1">
            <a:spLocks/>
          </p:cNvSpPr>
          <p:nvPr/>
        </p:nvSpPr>
        <p:spPr>
          <a:xfrm>
            <a:off x="3379247" y="2247982"/>
            <a:ext cx="2707798" cy="2803332"/>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384" rtl="0" eaLnBrk="1" fontAlgn="auto" latinLnBrk="0" hangingPunct="1">
              <a:lnSpc>
                <a:spcPct val="10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chemeClr val="tx1"/>
                </a:solidFill>
                <a:effectLst/>
                <a:uLnTx/>
                <a:uFillTx/>
                <a:latin typeface="Segoe UI"/>
                <a:ea typeface="+mn-ea"/>
                <a:cs typeface="+mn-cs"/>
              </a:rPr>
              <a:t>1</a:t>
            </a:r>
            <a:r>
              <a:rPr kumimoji="0" lang="en-US" sz="2400" b="0" i="0" u="none" strike="noStrike" kern="1200" cap="none" spc="0" normalizeH="0" baseline="30000" noProof="0" dirty="0">
                <a:ln>
                  <a:noFill/>
                </a:ln>
                <a:solidFill>
                  <a:schemeClr val="tx1"/>
                </a:solidFill>
                <a:effectLst/>
                <a:uLnTx/>
                <a:uFillTx/>
                <a:latin typeface="Segoe UI"/>
                <a:ea typeface="+mn-ea"/>
                <a:cs typeface="+mn-cs"/>
              </a:rPr>
              <a:t>st</a:t>
            </a:r>
            <a:r>
              <a:rPr kumimoji="0" lang="en-US" sz="2400" b="0" i="0" u="none" strike="noStrike" kern="1200" cap="none" spc="0" normalizeH="0" baseline="0" noProof="0" dirty="0">
                <a:ln>
                  <a:noFill/>
                </a:ln>
                <a:solidFill>
                  <a:schemeClr val="tx1"/>
                </a:solidFill>
                <a:effectLst/>
                <a:uLnTx/>
                <a:uFillTx/>
                <a:latin typeface="Segoe UI"/>
                <a:ea typeface="+mn-ea"/>
                <a:cs typeface="+mn-cs"/>
              </a:rPr>
              <a:t> tier of support</a:t>
            </a:r>
          </a:p>
          <a:p>
            <a:pPr marL="404813" marR="0" lvl="1" indent="-233363" algn="l" defTabSz="932384" rtl="0" eaLnBrk="1" fontAlgn="auto" latinLnBrk="0" hangingPunct="1">
              <a:lnSpc>
                <a:spcPct val="100000"/>
              </a:lnSpc>
              <a:spcBef>
                <a:spcPts val="300"/>
              </a:spcBef>
              <a:spcAft>
                <a:spcPts val="400"/>
              </a:spcAft>
              <a:buClrTx/>
              <a:buSzPct val="90000"/>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Do basic troubleshooting</a:t>
            </a:r>
          </a:p>
          <a:p>
            <a:pPr marL="404813" marR="0" lvl="1" indent="-233363" algn="l" defTabSz="932384" rtl="0" eaLnBrk="1" fontAlgn="auto" latinLnBrk="0" hangingPunct="1">
              <a:lnSpc>
                <a:spcPct val="100000"/>
              </a:lnSpc>
              <a:spcBef>
                <a:spcPts val="300"/>
              </a:spcBef>
              <a:spcAft>
                <a:spcPts val="400"/>
              </a:spcAft>
              <a:buClrTx/>
              <a:buSzPct val="90000"/>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Check if there are any related service issues on Azure Resource Health</a:t>
            </a:r>
          </a:p>
          <a:p>
            <a:pPr marL="404813" marR="0" lvl="1" indent="-233363" algn="l" defTabSz="932384" rtl="0" eaLnBrk="1" fontAlgn="auto" latinLnBrk="0" hangingPunct="1">
              <a:lnSpc>
                <a:spcPct val="100000"/>
              </a:lnSpc>
              <a:spcBef>
                <a:spcPts val="300"/>
              </a:spcBef>
              <a:spcAft>
                <a:spcPts val="400"/>
              </a:spcAft>
              <a:buClrTx/>
              <a:buSzPct val="90000"/>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Provide solutions to the customer</a:t>
            </a:r>
          </a:p>
        </p:txBody>
      </p:sp>
      <p:sp>
        <p:nvSpPr>
          <p:cNvPr id="10" name="Text Placeholder 2">
            <a:extLst>
              <a:ext uri="{FF2B5EF4-FFF2-40B4-BE49-F238E27FC236}">
                <a16:creationId xmlns:a16="http://schemas.microsoft.com/office/drawing/2014/main" id="{10AB72C6-A93D-4A44-BA68-51635F8BD172}"/>
              </a:ext>
            </a:extLst>
          </p:cNvPr>
          <p:cNvSpPr txBox="1">
            <a:spLocks/>
          </p:cNvSpPr>
          <p:nvPr/>
        </p:nvSpPr>
        <p:spPr>
          <a:xfrm>
            <a:off x="6293356" y="2247982"/>
            <a:ext cx="2763873" cy="3634328"/>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384" rtl="0" eaLnBrk="1" fontAlgn="auto" latinLnBrk="0" hangingPunct="1">
              <a:lnSpc>
                <a:spcPct val="10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chemeClr val="tx1"/>
                </a:solidFill>
                <a:effectLst/>
                <a:uLnTx/>
                <a:uFillTx/>
                <a:latin typeface="Segoe UI"/>
                <a:ea typeface="+mn-ea"/>
                <a:cs typeface="+mn-cs"/>
              </a:rPr>
              <a:t>2</a:t>
            </a:r>
            <a:r>
              <a:rPr kumimoji="0" lang="en-US" sz="2400" b="0" i="0" u="none" strike="noStrike" kern="1200" cap="none" spc="0" normalizeH="0" baseline="30000" noProof="0" dirty="0">
                <a:ln>
                  <a:noFill/>
                </a:ln>
                <a:solidFill>
                  <a:schemeClr val="tx1"/>
                </a:solidFill>
                <a:effectLst/>
                <a:uLnTx/>
                <a:uFillTx/>
                <a:latin typeface="Segoe UI"/>
                <a:ea typeface="+mn-ea"/>
                <a:cs typeface="+mn-cs"/>
              </a:rPr>
              <a:t>nd</a:t>
            </a:r>
            <a:r>
              <a:rPr kumimoji="0" lang="en-US" sz="2400" b="0" i="0" u="none" strike="noStrike" kern="1200" cap="none" spc="0" normalizeH="0" baseline="0" noProof="0" dirty="0">
                <a:ln>
                  <a:noFill/>
                </a:ln>
                <a:solidFill>
                  <a:schemeClr val="tx1"/>
                </a:solidFill>
                <a:effectLst/>
                <a:uLnTx/>
                <a:uFillTx/>
                <a:latin typeface="Segoe UI"/>
                <a:ea typeface="+mn-ea"/>
                <a:cs typeface="+mn-cs"/>
              </a:rPr>
              <a:t> tier of support</a:t>
            </a:r>
          </a:p>
          <a:p>
            <a:pPr marL="346075" marR="0" lvl="1" indent="-233363" algn="l" defTabSz="932384" rtl="0" eaLnBrk="1" fontAlgn="auto" latinLnBrk="0" hangingPunct="1">
              <a:lnSpc>
                <a:spcPct val="100000"/>
              </a:lnSpc>
              <a:spcBef>
                <a:spcPts val="300"/>
              </a:spcBef>
              <a:spcAft>
                <a:spcPts val="400"/>
              </a:spcAft>
              <a:buClrTx/>
              <a:buSzPct val="90000"/>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If problem is not resolved – escalate the request internally and do deep troubleshooting</a:t>
            </a:r>
          </a:p>
          <a:p>
            <a:pPr marL="346075" marR="0" lvl="1" indent="-233363" algn="l" defTabSz="932384" rtl="0" eaLnBrk="1" fontAlgn="auto" latinLnBrk="0" hangingPunct="1">
              <a:lnSpc>
                <a:spcPct val="100000"/>
              </a:lnSpc>
              <a:spcBef>
                <a:spcPts val="300"/>
              </a:spcBef>
              <a:spcAft>
                <a:spcPts val="400"/>
              </a:spcAft>
              <a:buClrTx/>
              <a:buSzPct val="90000"/>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Ensure that the environment is fully supported by Microsoft</a:t>
            </a:r>
          </a:p>
          <a:p>
            <a:pPr marL="346075" marR="0" lvl="1" indent="-233363" algn="l" defTabSz="932384" rtl="0" eaLnBrk="1" fontAlgn="auto" latinLnBrk="0" hangingPunct="1">
              <a:lnSpc>
                <a:spcPct val="100000"/>
              </a:lnSpc>
              <a:spcBef>
                <a:spcPts val="300"/>
              </a:spcBef>
              <a:spcAft>
                <a:spcPts val="400"/>
              </a:spcAft>
              <a:buClrTx/>
              <a:buSzPct val="90000"/>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Provide solutions or fix the problem in on behalf the customer</a:t>
            </a:r>
          </a:p>
        </p:txBody>
      </p:sp>
      <p:sp>
        <p:nvSpPr>
          <p:cNvPr id="11" name="Text Placeholder 2">
            <a:extLst>
              <a:ext uri="{FF2B5EF4-FFF2-40B4-BE49-F238E27FC236}">
                <a16:creationId xmlns:a16="http://schemas.microsoft.com/office/drawing/2014/main" id="{7E525DEF-CAE8-4C31-8E12-9E681BEA6A5D}"/>
              </a:ext>
            </a:extLst>
          </p:cNvPr>
          <p:cNvSpPr txBox="1">
            <a:spLocks/>
          </p:cNvSpPr>
          <p:nvPr/>
        </p:nvSpPr>
        <p:spPr>
          <a:xfrm>
            <a:off x="9263540" y="2247982"/>
            <a:ext cx="2707798" cy="3449662"/>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384" rtl="0" eaLnBrk="1" fontAlgn="auto" latinLnBrk="0" hangingPunct="1">
              <a:lnSpc>
                <a:spcPct val="10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chemeClr val="tx1"/>
                </a:solidFill>
                <a:effectLst/>
                <a:uLnTx/>
                <a:uFillTx/>
                <a:latin typeface="Segoe UI"/>
                <a:ea typeface="+mn-ea"/>
                <a:cs typeface="+mn-cs"/>
              </a:rPr>
              <a:t>Escalate issues to Microsoft</a:t>
            </a:r>
          </a:p>
          <a:p>
            <a:pPr marL="346075" marR="0" lvl="1" indent="-233363" algn="l" defTabSz="932384" rtl="0" eaLnBrk="1" fontAlgn="auto" latinLnBrk="0" hangingPunct="1">
              <a:lnSpc>
                <a:spcPct val="100000"/>
              </a:lnSpc>
              <a:spcBef>
                <a:spcPts val="300"/>
              </a:spcBef>
              <a:spcAft>
                <a:spcPts val="400"/>
              </a:spcAft>
              <a:buClrTx/>
              <a:buSzPct val="90000"/>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nly after steps </a:t>
            </a:r>
            <a:br>
              <a:rPr kumimoji="0" lang="en-US" sz="1800" b="0" i="0" u="none" strike="noStrike" kern="1200" cap="none" spc="0" normalizeH="0" baseline="0" noProof="0" dirty="0">
                <a:ln>
                  <a:noFill/>
                </a:ln>
                <a:solidFill>
                  <a:srgbClr val="505050"/>
                </a:solidFill>
                <a:effectLst/>
                <a:uLnTx/>
                <a:uFillTx/>
                <a:latin typeface="Segoe UI"/>
                <a:ea typeface="+mn-ea"/>
                <a:cs typeface="+mn-cs"/>
              </a:rPr>
            </a:br>
            <a:r>
              <a:rPr kumimoji="0" lang="en-US" sz="1800" b="0" i="0" u="none" strike="noStrike" kern="1200" cap="none" spc="0" normalizeH="0" baseline="0" noProof="0" dirty="0">
                <a:ln>
                  <a:noFill/>
                </a:ln>
                <a:solidFill>
                  <a:srgbClr val="505050"/>
                </a:solidFill>
                <a:effectLst/>
                <a:uLnTx/>
                <a:uFillTx/>
                <a:latin typeface="Segoe UI"/>
                <a:ea typeface="+mn-ea"/>
                <a:cs typeface="+mn-cs"/>
              </a:rPr>
              <a:t>1-3 (</a:t>
            </a: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3"/>
              </a:rPr>
              <a:t>details</a:t>
            </a:r>
            <a:r>
              <a:rPr kumimoji="0" lang="en-US" sz="1800" b="0" i="0" u="none" strike="noStrike" kern="1200" cap="none" spc="0" normalizeH="0" baseline="0" noProof="0" dirty="0">
                <a:ln>
                  <a:noFill/>
                </a:ln>
                <a:solidFill>
                  <a:srgbClr val="505050"/>
                </a:solidFill>
                <a:effectLst/>
                <a:uLnTx/>
                <a:uFillTx/>
                <a:latin typeface="Segoe UI"/>
                <a:ea typeface="+mn-ea"/>
                <a:cs typeface="+mn-cs"/>
              </a:rPr>
              <a:t>)</a:t>
            </a:r>
          </a:p>
          <a:p>
            <a:pPr marL="346075" marR="0" lvl="1" indent="-233363" algn="l" defTabSz="932384" rtl="0" eaLnBrk="1" fontAlgn="auto" latinLnBrk="0" hangingPunct="1">
              <a:lnSpc>
                <a:spcPct val="100000"/>
              </a:lnSpc>
              <a:spcBef>
                <a:spcPts val="300"/>
              </a:spcBef>
              <a:spcAft>
                <a:spcPts val="400"/>
              </a:spcAft>
              <a:buClrTx/>
              <a:buSzPct val="90000"/>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Microsoft provides different support options for CSP Partners</a:t>
            </a:r>
          </a:p>
          <a:p>
            <a:pPr marL="346075" marR="0" lvl="1" indent="-233363" algn="l" defTabSz="932384" rtl="0" eaLnBrk="1" fontAlgn="auto" latinLnBrk="0" hangingPunct="1">
              <a:lnSpc>
                <a:spcPct val="100000"/>
              </a:lnSpc>
              <a:spcBef>
                <a:spcPts val="300"/>
              </a:spcBef>
              <a:spcAft>
                <a:spcPts val="400"/>
              </a:spcAft>
              <a:buClrTx/>
              <a:buSzPct val="90000"/>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All escalation requests are still managed by the partner</a:t>
            </a:r>
          </a:p>
        </p:txBody>
      </p:sp>
      <p:sp>
        <p:nvSpPr>
          <p:cNvPr id="16" name="Text Placeholder 2">
            <a:extLst>
              <a:ext uri="{FF2B5EF4-FFF2-40B4-BE49-F238E27FC236}">
                <a16:creationId xmlns:a16="http://schemas.microsoft.com/office/drawing/2014/main" id="{7C6F2C7D-4415-4D17-8696-8E734E321CC6}"/>
              </a:ext>
            </a:extLst>
          </p:cNvPr>
          <p:cNvSpPr txBox="1">
            <a:spLocks/>
          </p:cNvSpPr>
          <p:nvPr/>
        </p:nvSpPr>
        <p:spPr>
          <a:xfrm>
            <a:off x="465138" y="2247982"/>
            <a:ext cx="2707798" cy="923330"/>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384" rtl="0" eaLnBrk="1" fontAlgn="auto" latinLnBrk="0" hangingPunct="1">
              <a:lnSpc>
                <a:spcPct val="10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chemeClr val="tx1"/>
                </a:solidFill>
                <a:effectLst/>
                <a:uLnTx/>
                <a:uFillTx/>
                <a:latin typeface="Segoe UI"/>
                <a:ea typeface="+mn-ea"/>
                <a:cs typeface="+mn-cs"/>
              </a:rPr>
              <a:t>Register a new customer request in the own tracking system</a:t>
            </a:r>
          </a:p>
        </p:txBody>
      </p:sp>
      <p:cxnSp>
        <p:nvCxnSpPr>
          <p:cNvPr id="7" name="Straight Connector 6">
            <a:extLst>
              <a:ext uri="{FF2B5EF4-FFF2-40B4-BE49-F238E27FC236}">
                <a16:creationId xmlns:a16="http://schemas.microsoft.com/office/drawing/2014/main" id="{B1BA33DB-52E5-4191-8AB9-79C78D24CCCD}"/>
              </a:ext>
            </a:extLst>
          </p:cNvPr>
          <p:cNvCxnSpPr/>
          <p:nvPr/>
        </p:nvCxnSpPr>
        <p:spPr>
          <a:xfrm>
            <a:off x="3276092" y="2338086"/>
            <a:ext cx="0" cy="344966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CEA7F63-17C3-4EE9-ADD2-09BF505CAEBA}"/>
              </a:ext>
            </a:extLst>
          </p:cNvPr>
          <p:cNvCxnSpPr/>
          <p:nvPr/>
        </p:nvCxnSpPr>
        <p:spPr>
          <a:xfrm>
            <a:off x="6190201" y="2338086"/>
            <a:ext cx="0" cy="344966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805DBEF-13DB-4346-A8BB-3DC4780FCD68}"/>
              </a:ext>
            </a:extLst>
          </p:cNvPr>
          <p:cNvCxnSpPr/>
          <p:nvPr/>
        </p:nvCxnSpPr>
        <p:spPr>
          <a:xfrm>
            <a:off x="9160385" y="2338086"/>
            <a:ext cx="0" cy="344966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680641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pport options for CSP Partner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675371153"/>
              </p:ext>
            </p:extLst>
          </p:nvPr>
        </p:nvGraphicFramePr>
        <p:xfrm>
          <a:off x="465138" y="1235076"/>
          <a:ext cx="11506200" cy="5291328"/>
        </p:xfrm>
        <a:graphic>
          <a:graphicData uri="http://schemas.openxmlformats.org/drawingml/2006/table">
            <a:tbl>
              <a:tblPr firstRow="1" bandRow="1">
                <a:tableStyleId>{8799B23B-EC83-4686-B30A-512413B5E67A}</a:tableStyleId>
              </a:tblPr>
              <a:tblGrid>
                <a:gridCol w="3998892">
                  <a:extLst>
                    <a:ext uri="{9D8B030D-6E8A-4147-A177-3AD203B41FA5}">
                      <a16:colId xmlns:a16="http://schemas.microsoft.com/office/drawing/2014/main" val="20000"/>
                    </a:ext>
                  </a:extLst>
                </a:gridCol>
                <a:gridCol w="2502436">
                  <a:extLst>
                    <a:ext uri="{9D8B030D-6E8A-4147-A177-3AD203B41FA5}">
                      <a16:colId xmlns:a16="http://schemas.microsoft.com/office/drawing/2014/main" val="20002"/>
                    </a:ext>
                  </a:extLst>
                </a:gridCol>
                <a:gridCol w="2502436">
                  <a:extLst>
                    <a:ext uri="{9D8B030D-6E8A-4147-A177-3AD203B41FA5}">
                      <a16:colId xmlns:a16="http://schemas.microsoft.com/office/drawing/2014/main" val="20006"/>
                    </a:ext>
                  </a:extLst>
                </a:gridCol>
                <a:gridCol w="2502436">
                  <a:extLst>
                    <a:ext uri="{9D8B030D-6E8A-4147-A177-3AD203B41FA5}">
                      <a16:colId xmlns:a16="http://schemas.microsoft.com/office/drawing/2014/main" val="20004"/>
                    </a:ext>
                  </a:extLst>
                </a:gridCol>
              </a:tblGrid>
              <a:tr h="0">
                <a:tc>
                  <a:txBody>
                    <a:bodyPr/>
                    <a:lstStyle/>
                    <a:p>
                      <a:pPr algn="l"/>
                      <a:endParaRPr lang="en-US" sz="1400" b="1" kern="1200" dirty="0">
                        <a:solidFill>
                          <a:schemeClr val="tx2"/>
                        </a:solidFill>
                        <a:latin typeface="+mn-lt"/>
                        <a:ea typeface="Segoe UI" panose="020B0502040204020203" pitchFamily="34" charset="0"/>
                        <a:cs typeface="Segoe UI" panose="020B0502040204020203" pitchFamily="34" charset="0"/>
                      </a:endParaRPr>
                    </a:p>
                  </a:txBody>
                  <a:tcPr marT="54864" marB="54864" anchor="b">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mn-lt"/>
                          <a:ea typeface="+mn-ea"/>
                          <a:cs typeface="Segoe UI" panose="020B0502040204020203" pitchFamily="34" charset="0"/>
                        </a:rPr>
                        <a:t>Included with CSP</a:t>
                      </a:r>
                    </a:p>
                  </a:txBody>
                  <a:tcPr marT="54864" marB="54864" anchor="b">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2"/>
                          </a:solidFill>
                          <a:effectLst/>
                          <a:uLnTx/>
                          <a:uFillTx/>
                          <a:latin typeface="+mn-lt"/>
                          <a:ea typeface="+mn-ea"/>
                          <a:cs typeface="Segoe UI" panose="020B0502040204020203" pitchFamily="34" charset="0"/>
                        </a:rPr>
                        <a:t>Advanced Support for Partners (</a:t>
                      </a:r>
                      <a:r>
                        <a:rPr kumimoji="0" lang="en-US" sz="1400" b="1" i="0" u="none" strike="noStrike" kern="1200" cap="none" spc="0" normalizeH="0" baseline="0" noProof="0" dirty="0" err="1">
                          <a:ln>
                            <a:noFill/>
                          </a:ln>
                          <a:solidFill>
                            <a:schemeClr val="accent2"/>
                          </a:solidFill>
                          <a:effectLst/>
                          <a:uLnTx/>
                          <a:uFillTx/>
                          <a:latin typeface="+mn-lt"/>
                          <a:ea typeface="+mn-ea"/>
                          <a:cs typeface="Segoe UI" panose="020B0502040204020203" pitchFamily="34" charset="0"/>
                        </a:rPr>
                        <a:t>ASfP</a:t>
                      </a:r>
                      <a:r>
                        <a:rPr kumimoji="0" lang="en-US" sz="1400" b="1" i="0" u="none" strike="noStrike" kern="1200" cap="none" spc="0" normalizeH="0" baseline="0" noProof="0" dirty="0">
                          <a:ln>
                            <a:noFill/>
                          </a:ln>
                          <a:solidFill>
                            <a:schemeClr val="accent2"/>
                          </a:solidFill>
                          <a:effectLst/>
                          <a:uLnTx/>
                          <a:uFillTx/>
                          <a:latin typeface="+mn-lt"/>
                          <a:ea typeface="+mn-ea"/>
                          <a:cs typeface="Segoe UI" panose="020B0502040204020203" pitchFamily="34" charset="0"/>
                        </a:rPr>
                        <a:t>)</a:t>
                      </a:r>
                    </a:p>
                  </a:txBody>
                  <a:tcPr marT="54864" marB="54864" anchor="b">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mn-lt"/>
                          <a:ea typeface="+mn-ea"/>
                          <a:cs typeface="Segoe UI" panose="020B0502040204020203" pitchFamily="34" charset="0"/>
                        </a:rPr>
                        <a:t>Premier Support for</a:t>
                      </a:r>
                      <a:br>
                        <a:rPr kumimoji="0" lang="en-US" sz="1400" b="1" i="0" u="none" strike="noStrike" kern="1200" cap="none" spc="0" normalizeH="0" baseline="0" noProof="0" dirty="0">
                          <a:ln>
                            <a:noFill/>
                          </a:ln>
                          <a:solidFill>
                            <a:schemeClr val="accent3"/>
                          </a:solidFill>
                          <a:effectLst/>
                          <a:uLnTx/>
                          <a:uFillTx/>
                          <a:latin typeface="+mn-lt"/>
                          <a:ea typeface="+mn-ea"/>
                          <a:cs typeface="Segoe UI" panose="020B0502040204020203" pitchFamily="34" charset="0"/>
                        </a:rPr>
                      </a:br>
                      <a:r>
                        <a:rPr kumimoji="0" lang="en-US" sz="1400" b="1" i="0" u="none" strike="noStrike" kern="1200" cap="none" spc="0" normalizeH="0" baseline="0" noProof="0" dirty="0">
                          <a:ln>
                            <a:noFill/>
                          </a:ln>
                          <a:solidFill>
                            <a:schemeClr val="accent3"/>
                          </a:solidFill>
                          <a:effectLst/>
                          <a:uLnTx/>
                          <a:uFillTx/>
                          <a:latin typeface="+mn-lt"/>
                          <a:ea typeface="+mn-ea"/>
                          <a:cs typeface="Segoe UI" panose="020B0502040204020203" pitchFamily="34" charset="0"/>
                        </a:rPr>
                        <a:t>Partners (</a:t>
                      </a:r>
                      <a:r>
                        <a:rPr kumimoji="0" lang="en-US" sz="1400" b="1" i="0" u="none" strike="noStrike" kern="1200" cap="none" spc="0" normalizeH="0" baseline="0" noProof="0" dirty="0" err="1">
                          <a:ln>
                            <a:noFill/>
                          </a:ln>
                          <a:solidFill>
                            <a:schemeClr val="accent3"/>
                          </a:solidFill>
                          <a:effectLst/>
                          <a:uLnTx/>
                          <a:uFillTx/>
                          <a:latin typeface="+mn-lt"/>
                          <a:ea typeface="+mn-ea"/>
                          <a:cs typeface="Segoe UI" panose="020B0502040204020203" pitchFamily="34" charset="0"/>
                        </a:rPr>
                        <a:t>PSfP</a:t>
                      </a:r>
                      <a:r>
                        <a:rPr kumimoji="0" lang="en-US" sz="1400" b="1" i="0" u="none" strike="noStrike" kern="1200" cap="none" spc="0" normalizeH="0" baseline="0" noProof="0" dirty="0">
                          <a:ln>
                            <a:noFill/>
                          </a:ln>
                          <a:solidFill>
                            <a:schemeClr val="accent3"/>
                          </a:solidFill>
                          <a:effectLst/>
                          <a:uLnTx/>
                          <a:uFillTx/>
                          <a:latin typeface="+mn-lt"/>
                          <a:ea typeface="+mn-ea"/>
                          <a:cs typeface="Segoe UI" panose="020B0502040204020203" pitchFamily="34" charset="0"/>
                        </a:rPr>
                        <a:t>)</a:t>
                      </a:r>
                    </a:p>
                  </a:txBody>
                  <a:tcPr marT="54864" marB="54864" anchor="b">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5799124"/>
                  </a:ext>
                </a:extLst>
              </a:tr>
              <a:tr h="0">
                <a:tc>
                  <a:txBody>
                    <a:bodyPr/>
                    <a:lstStyle/>
                    <a:p>
                      <a:pPr algn="l"/>
                      <a:r>
                        <a:rPr lang="en-US" sz="1400" b="1" kern="1200" dirty="0">
                          <a:solidFill>
                            <a:schemeClr val="tx2"/>
                          </a:solidFill>
                          <a:latin typeface="+mn-lt"/>
                          <a:ea typeface="Segoe UI" panose="020B0502040204020203" pitchFamily="34" charset="0"/>
                          <a:cs typeface="Segoe UI" panose="020B0502040204020203" pitchFamily="34" charset="0"/>
                        </a:rPr>
                        <a:t>Submit Support Tickets On Behalf of End Customer</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strike="noStrike" kern="1200" noProof="0" dirty="0">
                          <a:solidFill>
                            <a:schemeClr val="bg1"/>
                          </a:solidFill>
                          <a:effectLst/>
                          <a:latin typeface="+mn-lt"/>
                          <a:ea typeface="+mn-ea"/>
                          <a:cs typeface="+mn-cs"/>
                          <a:sym typeface="Wingdings" panose="05000000000000000000" pitchFamily="2" charset="2"/>
                        </a:rPr>
                        <a:t></a:t>
                      </a:r>
                      <a:endParaRPr lang="en-US" sz="1400" b="0" i="0" u="none" strike="noStrike" kern="1200" dirty="0">
                        <a:solidFill>
                          <a:schemeClr val="bg1"/>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0" i="0" u="none" strike="noStrike" kern="1200" noProof="0" dirty="0">
                          <a:solidFill>
                            <a:schemeClr val="bg1"/>
                          </a:solidFill>
                          <a:effectLst/>
                          <a:latin typeface="+mn-lt"/>
                          <a:ea typeface="+mn-ea"/>
                          <a:cs typeface="+mn-cs"/>
                          <a:sym typeface="Wingdings" panose="05000000000000000000" pitchFamily="2" charset="2"/>
                        </a:rPr>
                        <a:t></a:t>
                      </a:r>
                      <a:endParaRPr lang="en-US" sz="1400" b="0" i="0" u="none" strike="noStrike" kern="1200" dirty="0">
                        <a:solidFill>
                          <a:schemeClr val="bg1"/>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400" b="0" i="0" u="none" strike="noStrike" kern="1200" noProof="0" dirty="0">
                          <a:solidFill>
                            <a:srgbClr val="000000"/>
                          </a:solidFill>
                          <a:effectLst/>
                          <a:latin typeface="+mn-lt"/>
                          <a:ea typeface="+mn-ea"/>
                          <a:cs typeface="+mn-cs"/>
                          <a:sym typeface="Wingdings" panose="05000000000000000000" pitchFamily="2" charset="2"/>
                        </a:rPr>
                        <a:t></a:t>
                      </a:r>
                      <a:endParaRPr lang="en-US" sz="1400" b="0" i="0" u="none" strike="noStrike" kern="1200" dirty="0">
                        <a:solidFill>
                          <a:srgbClr val="000000"/>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390425655"/>
                  </a:ext>
                </a:extLst>
              </a:tr>
              <a:tr h="0">
                <a:tc>
                  <a:txBody>
                    <a:bodyPr/>
                    <a:lstStyle/>
                    <a:p>
                      <a:pPr algn="l"/>
                      <a:r>
                        <a:rPr lang="en-US" sz="1400" b="1" kern="1200" dirty="0">
                          <a:solidFill>
                            <a:schemeClr val="tx2"/>
                          </a:solidFill>
                          <a:latin typeface="+mn-lt"/>
                          <a:ea typeface="Segoe UI" panose="020B0502040204020203" pitchFamily="34" charset="0"/>
                          <a:cs typeface="Segoe UI" panose="020B0502040204020203" pitchFamily="34" charset="0"/>
                        </a:rPr>
                        <a:t>Support Account Management</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strike="noStrike" kern="1200" dirty="0">
                          <a:solidFill>
                            <a:schemeClr val="bg1"/>
                          </a:solidFill>
                          <a:effectLst/>
                          <a:latin typeface="+mn-lt"/>
                          <a:ea typeface="+mn-ea"/>
                          <a:cs typeface="+mn-cs"/>
                        </a:rPr>
                        <a:t>No</a:t>
                      </a:r>
                      <a:r>
                        <a:rPr lang="en-US" sz="1400" b="0" i="0" u="none" strike="noStrike" kern="1200" baseline="0" dirty="0">
                          <a:solidFill>
                            <a:schemeClr val="bg1"/>
                          </a:solidFill>
                          <a:effectLst/>
                          <a:latin typeface="+mn-lt"/>
                          <a:ea typeface="+mn-ea"/>
                          <a:cs typeface="+mn-cs"/>
                        </a:rPr>
                        <a:t> dedicated manager</a:t>
                      </a:r>
                      <a:endParaRPr lang="en-US" sz="1400" b="0" i="0" u="none" strike="noStrike" kern="1200" dirty="0">
                        <a:solidFill>
                          <a:schemeClr val="bg1"/>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0" i="0" u="none" strike="noStrike" kern="1200" dirty="0">
                          <a:solidFill>
                            <a:schemeClr val="bg1"/>
                          </a:solidFill>
                          <a:effectLst/>
                          <a:latin typeface="+mn-lt"/>
                          <a:ea typeface="+mn-ea"/>
                          <a:cs typeface="+mn-cs"/>
                        </a:rPr>
                        <a:t>Assigned from a regional pool</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400" b="0" i="0" u="none" strike="noStrike" kern="1200" dirty="0">
                          <a:solidFill>
                            <a:srgbClr val="000000"/>
                          </a:solidFill>
                          <a:effectLst/>
                          <a:latin typeface="+mn-lt"/>
                          <a:ea typeface="+mn-ea"/>
                          <a:cs typeface="+mn-cs"/>
                        </a:rPr>
                        <a:t>Designated</a:t>
                      </a:r>
                      <a:r>
                        <a:rPr lang="en-US" sz="1400" b="0" i="0" u="none" strike="noStrike" kern="1200" baseline="0" dirty="0">
                          <a:solidFill>
                            <a:srgbClr val="000000"/>
                          </a:solidFill>
                          <a:effectLst/>
                          <a:latin typeface="+mn-lt"/>
                          <a:ea typeface="+mn-ea"/>
                          <a:cs typeface="+mn-cs"/>
                        </a:rPr>
                        <a:t> support manager (TAM)</a:t>
                      </a:r>
                      <a:endParaRPr lang="en-US" sz="1400" b="0" i="0" u="none" strike="noStrike" kern="1200" dirty="0">
                        <a:solidFill>
                          <a:srgbClr val="000000"/>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3483801"/>
                  </a:ext>
                </a:extLst>
              </a:tr>
              <a:tr h="0">
                <a:tc>
                  <a:txBody>
                    <a:bodyPr/>
                    <a:lstStyle/>
                    <a:p>
                      <a:pPr algn="l"/>
                      <a:r>
                        <a:rPr lang="en-US" sz="1400" b="1" kern="1200" dirty="0">
                          <a:solidFill>
                            <a:schemeClr val="tx2"/>
                          </a:solidFill>
                          <a:latin typeface="+mn-lt"/>
                          <a:ea typeface="Segoe UI" panose="020B0502040204020203" pitchFamily="34" charset="0"/>
                          <a:cs typeface="Segoe UI" panose="020B0502040204020203" pitchFamily="34" charset="0"/>
                        </a:rPr>
                        <a:t> Technical break-fix</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strike="noStrike" kern="1200" noProof="0" dirty="0">
                          <a:solidFill>
                            <a:schemeClr val="bg1"/>
                          </a:solidFill>
                          <a:effectLst/>
                          <a:latin typeface="+mn-lt"/>
                          <a:ea typeface="+mn-ea"/>
                          <a:cs typeface="+mn-cs"/>
                          <a:sym typeface="Wingdings" panose="05000000000000000000" pitchFamily="2" charset="2"/>
                        </a:rPr>
                        <a:t>Through</a:t>
                      </a:r>
                      <a:r>
                        <a:rPr lang="en-US" sz="1400" b="0" i="0" u="none" strike="noStrike" kern="1200" baseline="0" noProof="0" dirty="0">
                          <a:solidFill>
                            <a:schemeClr val="bg1"/>
                          </a:solidFill>
                          <a:effectLst/>
                          <a:latin typeface="+mn-lt"/>
                          <a:ea typeface="+mn-ea"/>
                          <a:cs typeface="+mn-cs"/>
                          <a:sym typeface="Wingdings" panose="05000000000000000000" pitchFamily="2" charset="2"/>
                        </a:rPr>
                        <a:t> portal</a:t>
                      </a:r>
                      <a:endParaRPr lang="en-US" sz="1400" b="0" i="0" u="none" strike="noStrike" kern="1200" dirty="0">
                        <a:solidFill>
                          <a:schemeClr val="bg1"/>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lang="en-US" sz="1400" b="0" i="0" u="none" strike="noStrike" kern="1200" noProof="0" dirty="0">
                          <a:solidFill>
                            <a:schemeClr val="bg1"/>
                          </a:solidFill>
                          <a:effectLst/>
                          <a:latin typeface="+mn-lt"/>
                          <a:ea typeface="+mn-ea"/>
                          <a:cs typeface="+mn-cs"/>
                          <a:sym typeface="Wingdings" panose="05000000000000000000" pitchFamily="2" charset="2"/>
                        </a:rPr>
                        <a:t>Through</a:t>
                      </a:r>
                      <a:r>
                        <a:rPr lang="en-US" sz="1400" b="0" i="0" u="none" strike="noStrike" kern="1200" baseline="0" noProof="0" dirty="0">
                          <a:solidFill>
                            <a:schemeClr val="bg1"/>
                          </a:solidFill>
                          <a:effectLst/>
                          <a:latin typeface="+mn-lt"/>
                          <a:ea typeface="+mn-ea"/>
                          <a:cs typeface="+mn-cs"/>
                          <a:sym typeface="Wingdings" panose="05000000000000000000" pitchFamily="2" charset="2"/>
                        </a:rPr>
                        <a:t> portal + e-mail + phone</a:t>
                      </a:r>
                      <a:endParaRPr lang="en-US" sz="1400" b="0" i="0" u="none" strike="noStrike" kern="1200" dirty="0">
                        <a:solidFill>
                          <a:schemeClr val="bg1"/>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lang="en-US" sz="1400" b="0" i="0" u="none" strike="noStrike" kern="1200" noProof="0" dirty="0">
                          <a:solidFill>
                            <a:srgbClr val="000000"/>
                          </a:solidFill>
                          <a:effectLst/>
                          <a:latin typeface="+mn-lt"/>
                          <a:ea typeface="+mn-ea"/>
                          <a:cs typeface="+mn-cs"/>
                          <a:sym typeface="Wingdings" panose="05000000000000000000" pitchFamily="2" charset="2"/>
                        </a:rPr>
                        <a:t>Through</a:t>
                      </a:r>
                      <a:r>
                        <a:rPr lang="en-US" sz="1400" b="0" i="0" u="none" strike="noStrike" kern="1200" baseline="0" noProof="0" dirty="0">
                          <a:solidFill>
                            <a:srgbClr val="000000"/>
                          </a:solidFill>
                          <a:effectLst/>
                          <a:latin typeface="+mn-lt"/>
                          <a:ea typeface="+mn-ea"/>
                          <a:cs typeface="+mn-cs"/>
                          <a:sym typeface="Wingdings" panose="05000000000000000000" pitchFamily="2" charset="2"/>
                        </a:rPr>
                        <a:t> portal + e-mail + phone</a:t>
                      </a:r>
                      <a:endParaRPr lang="en-US" sz="1400" b="0" i="0" u="none" strike="noStrike" kern="1200" dirty="0">
                        <a:solidFill>
                          <a:srgbClr val="000000"/>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535116996"/>
                  </a:ext>
                </a:extLst>
              </a:tr>
              <a:tr h="0">
                <a:tc>
                  <a:txBody>
                    <a:bodyPr/>
                    <a:lstStyle/>
                    <a:p>
                      <a:pPr algn="l"/>
                      <a:r>
                        <a:rPr lang="en-US" sz="1400" b="1" kern="1200" dirty="0">
                          <a:solidFill>
                            <a:schemeClr val="tx2"/>
                          </a:solidFill>
                          <a:latin typeface="+mn-lt"/>
                          <a:ea typeface="Segoe UI" panose="020B0502040204020203" pitchFamily="34" charset="0"/>
                          <a:cs typeface="Segoe UI" panose="020B0502040204020203" pitchFamily="34" charset="0"/>
                        </a:rPr>
                        <a:t>Case</a:t>
                      </a:r>
                      <a:r>
                        <a:rPr lang="en-US" sz="1400" b="1" kern="1200" baseline="0" dirty="0">
                          <a:solidFill>
                            <a:schemeClr val="tx2"/>
                          </a:solidFill>
                          <a:latin typeface="+mn-lt"/>
                          <a:ea typeface="Segoe UI" panose="020B0502040204020203" pitchFamily="34" charset="0"/>
                          <a:cs typeface="Segoe UI" panose="020B0502040204020203" pitchFamily="34" charset="0"/>
                        </a:rPr>
                        <a:t> Severity &amp; Target Initial </a:t>
                      </a:r>
                      <a:r>
                        <a:rPr lang="en-US" sz="1400" b="1" kern="1200" dirty="0">
                          <a:solidFill>
                            <a:schemeClr val="tx2"/>
                          </a:solidFill>
                          <a:latin typeface="+mn-lt"/>
                          <a:ea typeface="Segoe UI" panose="020B0502040204020203" pitchFamily="34" charset="0"/>
                          <a:cs typeface="Segoe UI" panose="020B0502040204020203" pitchFamily="34" charset="0"/>
                        </a:rPr>
                        <a:t>Response Times</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strike="noStrike" kern="1200" dirty="0" err="1">
                          <a:solidFill>
                            <a:schemeClr val="bg1"/>
                          </a:solidFill>
                          <a:effectLst/>
                          <a:latin typeface="+mn-lt"/>
                          <a:ea typeface="+mn-ea"/>
                          <a:cs typeface="+mn-cs"/>
                        </a:rPr>
                        <a:t>Sev</a:t>
                      </a:r>
                      <a:r>
                        <a:rPr lang="en-US" sz="1400" b="0" i="0" u="none" strike="noStrike" kern="1200" dirty="0">
                          <a:solidFill>
                            <a:schemeClr val="bg1"/>
                          </a:solidFill>
                          <a:effectLst/>
                          <a:latin typeface="+mn-lt"/>
                          <a:ea typeface="+mn-ea"/>
                          <a:cs typeface="+mn-cs"/>
                        </a:rPr>
                        <a:t> A: 2h</a:t>
                      </a:r>
                    </a:p>
                    <a:p>
                      <a:pPr algn="ctr"/>
                      <a:r>
                        <a:rPr lang="en-US" sz="1400" b="0" i="0" u="none" strike="noStrike" kern="1200" dirty="0" err="1">
                          <a:solidFill>
                            <a:schemeClr val="bg1"/>
                          </a:solidFill>
                          <a:effectLst/>
                          <a:latin typeface="+mn-lt"/>
                          <a:ea typeface="+mn-ea"/>
                          <a:cs typeface="+mn-cs"/>
                        </a:rPr>
                        <a:t>Sev</a:t>
                      </a:r>
                      <a:r>
                        <a:rPr lang="en-US" sz="1400" b="0" i="0" u="none" strike="noStrike" kern="1200" dirty="0">
                          <a:solidFill>
                            <a:schemeClr val="bg1"/>
                          </a:solidFill>
                          <a:effectLst/>
                          <a:latin typeface="+mn-lt"/>
                          <a:ea typeface="+mn-ea"/>
                          <a:cs typeface="+mn-cs"/>
                        </a:rPr>
                        <a:t> B: 4h</a:t>
                      </a:r>
                    </a:p>
                    <a:p>
                      <a:pPr algn="ctr"/>
                      <a:r>
                        <a:rPr lang="en-US" sz="1400" b="0" i="0" u="none" strike="noStrike" kern="1200" dirty="0" err="1">
                          <a:solidFill>
                            <a:schemeClr val="bg1"/>
                          </a:solidFill>
                          <a:effectLst/>
                          <a:latin typeface="+mn-lt"/>
                          <a:ea typeface="+mn-ea"/>
                          <a:cs typeface="+mn-cs"/>
                        </a:rPr>
                        <a:t>Sev</a:t>
                      </a:r>
                      <a:r>
                        <a:rPr lang="en-US" sz="1400" b="0" i="0" u="none" strike="noStrike" kern="1200" dirty="0">
                          <a:solidFill>
                            <a:schemeClr val="bg1"/>
                          </a:solidFill>
                          <a:effectLst/>
                          <a:latin typeface="+mn-lt"/>
                          <a:ea typeface="+mn-ea"/>
                          <a:cs typeface="+mn-cs"/>
                        </a:rPr>
                        <a:t> C: 8h</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0" i="0" u="none" strike="noStrike" kern="1200" dirty="0" err="1">
                          <a:solidFill>
                            <a:schemeClr val="bg1"/>
                          </a:solidFill>
                          <a:effectLst/>
                          <a:latin typeface="+mn-lt"/>
                          <a:ea typeface="+mn-ea"/>
                          <a:cs typeface="+mn-cs"/>
                        </a:rPr>
                        <a:t>Sev</a:t>
                      </a:r>
                      <a:r>
                        <a:rPr lang="en-US" sz="1400" b="0" i="0" u="none" strike="noStrike" kern="1200" dirty="0">
                          <a:solidFill>
                            <a:schemeClr val="bg1"/>
                          </a:solidFill>
                          <a:effectLst/>
                          <a:latin typeface="+mn-lt"/>
                          <a:ea typeface="+mn-ea"/>
                          <a:cs typeface="+mn-cs"/>
                        </a:rPr>
                        <a:t> A: 1h</a:t>
                      </a:r>
                    </a:p>
                    <a:p>
                      <a:pPr algn="ctr"/>
                      <a:r>
                        <a:rPr lang="en-US" sz="1400" b="0" i="0" u="none" strike="noStrike" kern="1200" dirty="0" err="1">
                          <a:solidFill>
                            <a:schemeClr val="bg1"/>
                          </a:solidFill>
                          <a:effectLst/>
                          <a:latin typeface="+mn-lt"/>
                          <a:ea typeface="+mn-ea"/>
                          <a:cs typeface="+mn-cs"/>
                        </a:rPr>
                        <a:t>Sev</a:t>
                      </a:r>
                      <a:r>
                        <a:rPr lang="en-US" sz="1400" b="0" i="0" u="none" strike="noStrike" kern="1200" dirty="0">
                          <a:solidFill>
                            <a:schemeClr val="bg1"/>
                          </a:solidFill>
                          <a:effectLst/>
                          <a:latin typeface="+mn-lt"/>
                          <a:ea typeface="+mn-ea"/>
                          <a:cs typeface="+mn-cs"/>
                        </a:rPr>
                        <a:t> B: 2h</a:t>
                      </a:r>
                    </a:p>
                    <a:p>
                      <a:pPr algn="ctr"/>
                      <a:r>
                        <a:rPr lang="en-US" sz="1400" b="0" i="0" u="none" strike="noStrike" kern="1200" dirty="0" err="1">
                          <a:solidFill>
                            <a:schemeClr val="bg1"/>
                          </a:solidFill>
                          <a:effectLst/>
                          <a:latin typeface="+mn-lt"/>
                          <a:ea typeface="+mn-ea"/>
                          <a:cs typeface="+mn-cs"/>
                        </a:rPr>
                        <a:t>Sev</a:t>
                      </a:r>
                      <a:r>
                        <a:rPr lang="en-US" sz="1400" b="0" i="0" u="none" strike="noStrike" kern="1200" dirty="0">
                          <a:solidFill>
                            <a:schemeClr val="bg1"/>
                          </a:solidFill>
                          <a:effectLst/>
                          <a:latin typeface="+mn-lt"/>
                          <a:ea typeface="+mn-ea"/>
                          <a:cs typeface="+mn-cs"/>
                        </a:rPr>
                        <a:t> C: 4h</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400" b="0" i="0" u="none" strike="noStrike" kern="1200" dirty="0" err="1">
                          <a:solidFill>
                            <a:srgbClr val="000000"/>
                          </a:solidFill>
                          <a:effectLst/>
                          <a:latin typeface="+mn-lt"/>
                          <a:ea typeface="+mn-ea"/>
                          <a:cs typeface="+mn-cs"/>
                        </a:rPr>
                        <a:t>Sev</a:t>
                      </a:r>
                      <a:r>
                        <a:rPr lang="en-US" sz="1400" b="0" i="0" u="none" strike="noStrike" kern="1200" dirty="0">
                          <a:solidFill>
                            <a:srgbClr val="000000"/>
                          </a:solidFill>
                          <a:effectLst/>
                          <a:latin typeface="+mn-lt"/>
                          <a:ea typeface="+mn-ea"/>
                          <a:cs typeface="+mn-cs"/>
                        </a:rPr>
                        <a:t> A: 1h</a:t>
                      </a:r>
                    </a:p>
                    <a:p>
                      <a:pPr algn="ctr"/>
                      <a:r>
                        <a:rPr lang="en-US" sz="1400" b="0" i="0" u="none" strike="noStrike" kern="1200" dirty="0" err="1">
                          <a:solidFill>
                            <a:srgbClr val="000000"/>
                          </a:solidFill>
                          <a:effectLst/>
                          <a:latin typeface="+mn-lt"/>
                          <a:ea typeface="+mn-ea"/>
                          <a:cs typeface="+mn-cs"/>
                        </a:rPr>
                        <a:t>Sev</a:t>
                      </a:r>
                      <a:r>
                        <a:rPr lang="en-US" sz="1400" b="0" i="0" u="none" strike="noStrike" kern="1200" dirty="0">
                          <a:solidFill>
                            <a:srgbClr val="000000"/>
                          </a:solidFill>
                          <a:effectLst/>
                          <a:latin typeface="+mn-lt"/>
                          <a:ea typeface="+mn-ea"/>
                          <a:cs typeface="+mn-cs"/>
                        </a:rPr>
                        <a:t> B: 2h</a:t>
                      </a:r>
                    </a:p>
                    <a:p>
                      <a:pPr algn="ctr"/>
                      <a:r>
                        <a:rPr lang="en-US" sz="1400" b="0" i="0" u="none" strike="noStrike" kern="1200" dirty="0" err="1">
                          <a:solidFill>
                            <a:srgbClr val="000000"/>
                          </a:solidFill>
                          <a:effectLst/>
                          <a:latin typeface="+mn-lt"/>
                          <a:ea typeface="+mn-ea"/>
                          <a:cs typeface="+mn-cs"/>
                        </a:rPr>
                        <a:t>Sev</a:t>
                      </a:r>
                      <a:r>
                        <a:rPr lang="en-US" sz="1400" b="0" i="0" u="none" strike="noStrike" kern="1200" dirty="0">
                          <a:solidFill>
                            <a:srgbClr val="000000"/>
                          </a:solidFill>
                          <a:effectLst/>
                          <a:latin typeface="+mn-lt"/>
                          <a:ea typeface="+mn-ea"/>
                          <a:cs typeface="+mn-cs"/>
                        </a:rPr>
                        <a:t> C: 4h</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058920690"/>
                  </a:ext>
                </a:extLst>
              </a:tr>
              <a:tr h="0">
                <a:tc>
                  <a:txBody>
                    <a:bodyPr/>
                    <a:lstStyle/>
                    <a:p>
                      <a:pPr algn="l"/>
                      <a:r>
                        <a:rPr lang="en-US" sz="1400" b="1" kern="1200" dirty="0">
                          <a:solidFill>
                            <a:schemeClr val="tx2"/>
                          </a:solidFill>
                          <a:latin typeface="+mn-lt"/>
                          <a:ea typeface="Segoe UI" panose="020B0502040204020203" pitchFamily="34" charset="0"/>
                          <a:cs typeface="Segoe UI" panose="020B0502040204020203" pitchFamily="34" charset="0"/>
                        </a:rPr>
                        <a:t>24x7 Critical Situation Support</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strike="noStrike" kern="1200" dirty="0">
                          <a:solidFill>
                            <a:schemeClr val="bg1"/>
                          </a:solidFill>
                          <a:effectLst/>
                          <a:latin typeface="+mn-lt"/>
                          <a:ea typeface="+mn-ea"/>
                          <a:cs typeface="+mn-cs"/>
                        </a:rPr>
                        <a:t>--</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0" i="0" u="none" strike="noStrike" kern="1200" dirty="0">
                          <a:solidFill>
                            <a:schemeClr val="bg1"/>
                          </a:solidFill>
                          <a:effectLst/>
                          <a:latin typeface="+mn-lt"/>
                          <a:ea typeface="+mn-ea"/>
                          <a:cs typeface="+mn-cs"/>
                        </a:rPr>
                        <a:t>--</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932567" rtl="0" eaLnBrk="1" fontAlgn="auto" latinLnBrk="0" hangingPunct="1">
                        <a:lnSpc>
                          <a:spcPct val="100000"/>
                        </a:lnSpc>
                        <a:spcBef>
                          <a:spcPts val="0"/>
                        </a:spcBef>
                        <a:spcAft>
                          <a:spcPts val="0"/>
                        </a:spcAft>
                        <a:buClrTx/>
                        <a:buSzTx/>
                        <a:buFontTx/>
                        <a:buNone/>
                        <a:tabLst/>
                        <a:defRPr/>
                      </a:pPr>
                      <a:r>
                        <a:rPr lang="en-US" sz="1400" b="0" i="0" u="none" strike="noStrike" kern="1200" noProof="0" dirty="0">
                          <a:solidFill>
                            <a:srgbClr val="000000"/>
                          </a:solidFill>
                          <a:effectLst/>
                          <a:latin typeface="+mn-lt"/>
                          <a:ea typeface="+mn-ea"/>
                          <a:cs typeface="+mn-cs"/>
                          <a:sym typeface="Wingdings" panose="05000000000000000000" pitchFamily="2" charset="2"/>
                        </a:rPr>
                        <a:t></a:t>
                      </a:r>
                      <a:endParaRPr lang="en-US" sz="1400" b="0" i="0" u="none" strike="noStrike" kern="1200" dirty="0">
                        <a:solidFill>
                          <a:srgbClr val="000000"/>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004372276"/>
                  </a:ext>
                </a:extLst>
              </a:tr>
              <a:tr h="0">
                <a:tc>
                  <a:txBody>
                    <a:bodyPr/>
                    <a:lstStyle/>
                    <a:p>
                      <a:pPr algn="l"/>
                      <a:r>
                        <a:rPr lang="en-US" sz="1400" b="1" kern="1200" dirty="0">
                          <a:solidFill>
                            <a:schemeClr val="tx2"/>
                          </a:solidFill>
                          <a:latin typeface="+mn-lt"/>
                          <a:ea typeface="Segoe UI" panose="020B0502040204020203" pitchFamily="34" charset="0"/>
                          <a:cs typeface="Segoe UI" panose="020B0502040204020203" pitchFamily="34" charset="0"/>
                        </a:rPr>
                        <a:t>Advisory</a:t>
                      </a:r>
                      <a:r>
                        <a:rPr lang="en-US" sz="1400" b="1" kern="1200" baseline="0" dirty="0">
                          <a:solidFill>
                            <a:schemeClr val="tx2"/>
                          </a:solidFill>
                          <a:latin typeface="+mn-lt"/>
                          <a:ea typeface="Segoe UI" panose="020B0502040204020203" pitchFamily="34" charset="0"/>
                          <a:cs typeface="Segoe UI" panose="020B0502040204020203" pitchFamily="34" charset="0"/>
                        </a:rPr>
                        <a:t> “How To” Services</a:t>
                      </a:r>
                      <a:endParaRPr lang="en-US" sz="1400" b="1" kern="1200" dirty="0">
                        <a:solidFill>
                          <a:schemeClr val="tx2"/>
                        </a:solidFill>
                        <a:latin typeface="+mn-lt"/>
                        <a:ea typeface="Segoe UI" panose="020B0502040204020203" pitchFamily="34" charset="0"/>
                        <a:cs typeface="Segoe UI" panose="020B0502040204020203" pitchFamily="34" charset="0"/>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strike="noStrike" kern="1200" noProof="0" dirty="0">
                          <a:solidFill>
                            <a:schemeClr val="bg1"/>
                          </a:solidFill>
                          <a:effectLst/>
                          <a:latin typeface="+mn-lt"/>
                          <a:ea typeface="+mn-ea"/>
                          <a:cs typeface="+mn-cs"/>
                          <a:sym typeface="Wingdings" panose="05000000000000000000" pitchFamily="2" charset="2"/>
                        </a:rPr>
                        <a:t>Requires MPN</a:t>
                      </a:r>
                      <a:r>
                        <a:rPr lang="en-US" sz="1400" b="0" i="0" u="none" strike="noStrike" kern="1200" baseline="0" noProof="0" dirty="0">
                          <a:solidFill>
                            <a:schemeClr val="bg1"/>
                          </a:solidFill>
                          <a:effectLst/>
                          <a:latin typeface="+mn-lt"/>
                          <a:ea typeface="+mn-ea"/>
                          <a:cs typeface="+mn-cs"/>
                          <a:sym typeface="Wingdings" panose="05000000000000000000" pitchFamily="2" charset="2"/>
                        </a:rPr>
                        <a:t> Silver/Gold competency</a:t>
                      </a:r>
                      <a:endParaRPr lang="en-US" sz="1400" b="0" i="0" u="none" strike="noStrike" kern="1200" dirty="0">
                        <a:solidFill>
                          <a:schemeClr val="bg1"/>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32567" rtl="0" eaLnBrk="1" fontAlgn="ctr" latinLnBrk="0" hangingPunct="1">
                        <a:lnSpc>
                          <a:spcPct val="100000"/>
                        </a:lnSpc>
                        <a:spcBef>
                          <a:spcPts val="0"/>
                        </a:spcBef>
                        <a:spcAft>
                          <a:spcPts val="0"/>
                        </a:spcAft>
                        <a:buClrTx/>
                        <a:buSzTx/>
                        <a:buFontTx/>
                        <a:buNone/>
                        <a:tabLst/>
                        <a:defRPr/>
                      </a:pPr>
                      <a:r>
                        <a:rPr lang="en-US" sz="1400" b="0" i="0" u="none" strike="noStrike" kern="1200" noProof="0" dirty="0">
                          <a:solidFill>
                            <a:schemeClr val="bg1"/>
                          </a:solidFill>
                          <a:effectLst/>
                          <a:latin typeface="+mn-lt"/>
                          <a:ea typeface="+mn-ea"/>
                          <a:cs typeface="+mn-cs"/>
                          <a:sym typeface="Wingdings" panose="05000000000000000000" pitchFamily="2" charset="2"/>
                        </a:rPr>
                        <a:t></a:t>
                      </a:r>
                      <a:endParaRPr lang="en-US" sz="1400" b="0" i="0" u="none" strike="noStrike" kern="1200" dirty="0">
                        <a:solidFill>
                          <a:schemeClr val="bg1"/>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932567" rtl="0" eaLnBrk="1" fontAlgn="ctr" latinLnBrk="0" hangingPunct="1">
                        <a:lnSpc>
                          <a:spcPct val="100000"/>
                        </a:lnSpc>
                        <a:spcBef>
                          <a:spcPts val="0"/>
                        </a:spcBef>
                        <a:spcAft>
                          <a:spcPts val="0"/>
                        </a:spcAft>
                        <a:buClrTx/>
                        <a:buSzTx/>
                        <a:buFontTx/>
                        <a:buNone/>
                        <a:tabLst/>
                        <a:defRPr/>
                      </a:pPr>
                      <a:r>
                        <a:rPr lang="en-US" sz="1400" b="0" i="0" u="none" strike="noStrike" kern="1200" noProof="0" dirty="0">
                          <a:solidFill>
                            <a:srgbClr val="000000"/>
                          </a:solidFill>
                          <a:effectLst/>
                          <a:latin typeface="+mn-lt"/>
                          <a:ea typeface="+mn-ea"/>
                          <a:cs typeface="+mn-cs"/>
                          <a:sym typeface="Wingdings" panose="05000000000000000000" pitchFamily="2" charset="2"/>
                        </a:rPr>
                        <a:t></a:t>
                      </a:r>
                      <a:endParaRPr lang="en-US" sz="1400" b="0" i="0" u="none" strike="noStrike" kern="1200" dirty="0">
                        <a:solidFill>
                          <a:srgbClr val="000000"/>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322031281"/>
                  </a:ext>
                </a:extLst>
              </a:tr>
              <a:tr h="0">
                <a:tc>
                  <a:txBody>
                    <a:bodyPr/>
                    <a:lstStyle/>
                    <a:p>
                      <a:pPr algn="l"/>
                      <a:r>
                        <a:rPr lang="en-US" sz="1400" b="1" kern="1200" dirty="0">
                          <a:solidFill>
                            <a:schemeClr val="tx2"/>
                          </a:solidFill>
                          <a:latin typeface="+mn-lt"/>
                          <a:ea typeface="Segoe UI" panose="020B0502040204020203" pitchFamily="34" charset="0"/>
                          <a:cs typeface="Segoe UI" panose="020B0502040204020203" pitchFamily="34" charset="0"/>
                        </a:rPr>
                        <a:t>Technical Presales Assistance</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lang="en-US" sz="1400" b="0" i="0" u="none" strike="noStrike" kern="1200" noProof="0" dirty="0">
                          <a:solidFill>
                            <a:schemeClr val="bg1"/>
                          </a:solidFill>
                          <a:effectLst/>
                          <a:latin typeface="+mn-lt"/>
                          <a:ea typeface="+mn-ea"/>
                          <a:cs typeface="+mn-cs"/>
                          <a:sym typeface="Wingdings" panose="05000000000000000000" pitchFamily="2" charset="2"/>
                        </a:rPr>
                        <a:t>Requires MPN</a:t>
                      </a:r>
                      <a:r>
                        <a:rPr lang="en-US" sz="1400" b="0" i="0" u="none" strike="noStrike" kern="1200" baseline="0" noProof="0" dirty="0">
                          <a:solidFill>
                            <a:schemeClr val="bg1"/>
                          </a:solidFill>
                          <a:effectLst/>
                          <a:latin typeface="+mn-lt"/>
                          <a:ea typeface="+mn-ea"/>
                          <a:cs typeface="+mn-cs"/>
                          <a:sym typeface="Wingdings" panose="05000000000000000000" pitchFamily="2" charset="2"/>
                        </a:rPr>
                        <a:t> Silver/Gold competency</a:t>
                      </a:r>
                      <a:endParaRPr lang="en-US" sz="1400" b="0" i="0" u="none" strike="noStrike" kern="1200" dirty="0">
                        <a:solidFill>
                          <a:schemeClr val="bg1"/>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32567" rtl="0" eaLnBrk="1" fontAlgn="ctr" latinLnBrk="0" hangingPunct="1">
                        <a:lnSpc>
                          <a:spcPct val="100000"/>
                        </a:lnSpc>
                        <a:spcBef>
                          <a:spcPts val="0"/>
                        </a:spcBef>
                        <a:spcAft>
                          <a:spcPts val="0"/>
                        </a:spcAft>
                        <a:buClrTx/>
                        <a:buSzTx/>
                        <a:buFontTx/>
                        <a:buNone/>
                        <a:tabLst/>
                        <a:defRPr/>
                      </a:pPr>
                      <a:r>
                        <a:rPr lang="en-US" sz="1400" b="0" i="0" u="none" strike="noStrike" kern="1200" noProof="0" dirty="0">
                          <a:solidFill>
                            <a:schemeClr val="bg1"/>
                          </a:solidFill>
                          <a:effectLst/>
                          <a:latin typeface="+mn-lt"/>
                          <a:ea typeface="+mn-ea"/>
                          <a:cs typeface="+mn-cs"/>
                          <a:sym typeface="Wingdings" panose="05000000000000000000" pitchFamily="2" charset="2"/>
                        </a:rPr>
                        <a:t></a:t>
                      </a:r>
                      <a:endParaRPr lang="en-US" sz="1400" b="0" i="0" u="none" strike="noStrike" kern="1200" dirty="0">
                        <a:solidFill>
                          <a:schemeClr val="bg1"/>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400" b="0" i="0" u="none" strike="noStrike" kern="1200" noProof="0" dirty="0">
                          <a:solidFill>
                            <a:srgbClr val="000000"/>
                          </a:solidFill>
                          <a:effectLst/>
                          <a:latin typeface="+mn-lt"/>
                          <a:ea typeface="+mn-ea"/>
                          <a:cs typeface="+mn-cs"/>
                          <a:sym typeface="Wingdings" panose="05000000000000000000" pitchFamily="2" charset="2"/>
                        </a:rPr>
                        <a:t></a:t>
                      </a:r>
                      <a:endParaRPr lang="en-US" sz="1400" b="0" i="0" u="none" strike="noStrike" kern="1200" dirty="0">
                        <a:solidFill>
                          <a:srgbClr val="000000"/>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499684208"/>
                  </a:ext>
                </a:extLst>
              </a:tr>
              <a:tr h="0">
                <a:tc>
                  <a:txBody>
                    <a:bodyPr/>
                    <a:lstStyle/>
                    <a:p>
                      <a:pPr algn="l"/>
                      <a:r>
                        <a:rPr lang="en-US" sz="1400" b="1" kern="1200" dirty="0">
                          <a:solidFill>
                            <a:schemeClr val="tx2"/>
                          </a:solidFill>
                          <a:latin typeface="+mn-lt"/>
                          <a:ea typeface="Segoe UI" panose="020B0502040204020203" pitchFamily="34" charset="0"/>
                          <a:cs typeface="Segoe UI" panose="020B0502040204020203" pitchFamily="34" charset="0"/>
                        </a:rPr>
                        <a:t>CSP Integration Support</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400" b="0" i="0" u="none" strike="noStrike" kern="1200" dirty="0">
                          <a:solidFill>
                            <a:schemeClr val="bg1"/>
                          </a:solidFill>
                          <a:effectLst/>
                          <a:latin typeface="+mn-lt"/>
                          <a:ea typeface="+mn-ea"/>
                          <a:cs typeface="+mn-cs"/>
                        </a:rPr>
                        <a:t>--</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ctr"/>
                      <a:r>
                        <a:rPr lang="en-US" sz="1400" b="0" i="0" u="none" strike="noStrike" kern="1200" dirty="0">
                          <a:solidFill>
                            <a:schemeClr val="bg1"/>
                          </a:solidFill>
                          <a:effectLst/>
                          <a:latin typeface="+mn-lt"/>
                          <a:ea typeface="+mn-ea"/>
                          <a:cs typeface="+mn-cs"/>
                        </a:rPr>
                        <a:t>Packaged</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rtl="0" fontAlgn="ctr"/>
                      <a:r>
                        <a:rPr lang="en-US" sz="1400" b="0" i="0" u="none" strike="noStrike" kern="1200" dirty="0">
                          <a:solidFill>
                            <a:srgbClr val="000000"/>
                          </a:solidFill>
                          <a:effectLst/>
                          <a:latin typeface="+mn-lt"/>
                          <a:ea typeface="+mn-ea"/>
                          <a:cs typeface="+mn-cs"/>
                        </a:rPr>
                        <a:t>Customizable</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41670517"/>
                  </a:ext>
                </a:extLst>
              </a:tr>
              <a:tr h="0">
                <a:tc>
                  <a:txBody>
                    <a:bodyPr/>
                    <a:lstStyle/>
                    <a:p>
                      <a:pPr algn="l"/>
                      <a:r>
                        <a:rPr lang="en-US" sz="1400" b="1" kern="1200" dirty="0">
                          <a:solidFill>
                            <a:schemeClr val="tx2"/>
                          </a:solidFill>
                          <a:latin typeface="+mn-lt"/>
                          <a:ea typeface="Segoe UI" panose="020B0502040204020203" pitchFamily="34" charset="0"/>
                          <a:cs typeface="Segoe UI" panose="020B0502040204020203" pitchFamily="34" charset="0"/>
                        </a:rPr>
                        <a:t>Proactive Support</a:t>
                      </a:r>
                      <a:r>
                        <a:rPr lang="en-US" sz="1400" b="1" kern="1200" baseline="0" dirty="0">
                          <a:solidFill>
                            <a:schemeClr val="tx2"/>
                          </a:solidFill>
                          <a:latin typeface="+mn-lt"/>
                          <a:ea typeface="Segoe UI" panose="020B0502040204020203" pitchFamily="34" charset="0"/>
                          <a:cs typeface="Segoe UI" panose="020B0502040204020203" pitchFamily="34" charset="0"/>
                        </a:rPr>
                        <a:t> </a:t>
                      </a:r>
                      <a:r>
                        <a:rPr lang="en-US" sz="1600" b="1" kern="1200" baseline="0" dirty="0">
                          <a:solidFill>
                            <a:schemeClr val="tx2"/>
                          </a:solidFill>
                          <a:latin typeface="+mn-lt"/>
                          <a:ea typeface="Segoe UI" panose="020B0502040204020203" pitchFamily="34" charset="0"/>
                          <a:cs typeface="Segoe UI" panose="020B0502040204020203" pitchFamily="34" charset="0"/>
                        </a:rPr>
                        <a:t>Services</a:t>
                      </a:r>
                      <a:endParaRPr lang="en-US" sz="1400" b="1" kern="1200" dirty="0">
                        <a:solidFill>
                          <a:schemeClr val="tx2"/>
                        </a:solidFill>
                        <a:latin typeface="+mn-lt"/>
                        <a:ea typeface="Segoe UI" panose="020B0502040204020203" pitchFamily="34" charset="0"/>
                        <a:cs typeface="Segoe UI" panose="020B0502040204020203" pitchFamily="34" charset="0"/>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400" b="0" i="0" u="none" strike="noStrike" kern="1200" dirty="0">
                          <a:solidFill>
                            <a:schemeClr val="bg1"/>
                          </a:solidFill>
                          <a:effectLst/>
                          <a:latin typeface="+mn-lt"/>
                          <a:ea typeface="+mn-ea"/>
                          <a:cs typeface="+mn-cs"/>
                        </a:rPr>
                        <a:t>--</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ctr"/>
                      <a:r>
                        <a:rPr lang="en-US" sz="1400" b="0" i="0" u="none" strike="noStrike" kern="1200" dirty="0">
                          <a:solidFill>
                            <a:schemeClr val="bg1"/>
                          </a:solidFill>
                          <a:effectLst/>
                          <a:latin typeface="+mn-lt"/>
                          <a:ea typeface="+mn-ea"/>
                          <a:cs typeface="+mn-cs"/>
                        </a:rPr>
                        <a:t>Packaged</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rtl="0" fontAlgn="ctr"/>
                      <a:r>
                        <a:rPr lang="en-US" sz="1400" b="0" i="0" u="none" strike="noStrike" kern="1200" dirty="0">
                          <a:solidFill>
                            <a:srgbClr val="000000"/>
                          </a:solidFill>
                          <a:effectLst/>
                          <a:latin typeface="+mn-lt"/>
                          <a:ea typeface="+mn-ea"/>
                          <a:cs typeface="+mn-cs"/>
                        </a:rPr>
                        <a:t>Customizable</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187141434"/>
                  </a:ext>
                </a:extLst>
              </a:tr>
              <a:tr h="0">
                <a:tc>
                  <a:txBody>
                    <a:bodyPr/>
                    <a:lstStyle/>
                    <a:p>
                      <a:pPr algn="l"/>
                      <a:endParaRPr lang="en-US" sz="1400" b="0" kern="1200" dirty="0">
                        <a:solidFill>
                          <a:schemeClr val="tx1"/>
                        </a:solidFill>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kern="1200" dirty="0">
                          <a:solidFill>
                            <a:schemeClr val="tx1"/>
                          </a:solidFill>
                          <a:latin typeface="+mn-lt"/>
                          <a:ea typeface="+mn-ea"/>
                          <a:cs typeface="+mn-cs"/>
                          <a:hlinkClick r:id="rId2"/>
                        </a:rPr>
                        <a:t>Details</a:t>
                      </a:r>
                      <a:endParaRPr lang="en-US" sz="1400" b="0" kern="1200" dirty="0">
                        <a:solidFill>
                          <a:schemeClr val="tx1"/>
                        </a:solidFill>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kern="1200" dirty="0">
                          <a:solidFill>
                            <a:schemeClr val="tx1"/>
                          </a:solidFill>
                          <a:latin typeface="+mn-lt"/>
                          <a:ea typeface="+mn-ea"/>
                          <a:cs typeface="+mn-cs"/>
                          <a:hlinkClick r:id="rId3"/>
                        </a:rPr>
                        <a:t>Details</a:t>
                      </a:r>
                      <a:endParaRPr lang="en-US" sz="1400" b="0" kern="1200" dirty="0">
                        <a:solidFill>
                          <a:schemeClr val="tx1"/>
                        </a:solidFill>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kern="1200" dirty="0">
                          <a:solidFill>
                            <a:srgbClr val="000000"/>
                          </a:solidFill>
                          <a:latin typeface="+mn-lt"/>
                          <a:ea typeface="+mn-ea"/>
                          <a:cs typeface="+mn-cs"/>
                          <a:hlinkClick r:id="rId4"/>
                        </a:rPr>
                        <a:t>Details </a:t>
                      </a:r>
                      <a:endParaRPr lang="en-US" sz="1400" b="0" kern="1200" dirty="0">
                        <a:solidFill>
                          <a:srgbClr val="000000"/>
                        </a:solidFill>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8387878"/>
                  </a:ext>
                </a:extLst>
              </a:tr>
            </a:tbl>
          </a:graphicData>
        </a:graphic>
      </p:graphicFrame>
    </p:spTree>
    <p:extLst>
      <p:ext uri="{BB962C8B-B14F-4D97-AF65-F5344CB8AC3E}">
        <p14:creationId xmlns:p14="http://schemas.microsoft.com/office/powerpoint/2010/main" val="2026813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cing and billing of Azure services</a:t>
            </a:r>
          </a:p>
        </p:txBody>
      </p:sp>
      <p:sp>
        <p:nvSpPr>
          <p:cNvPr id="16" name="Text Placeholder 2">
            <a:extLst>
              <a:ext uri="{FF2B5EF4-FFF2-40B4-BE49-F238E27FC236}">
                <a16:creationId xmlns:a16="http://schemas.microsoft.com/office/drawing/2014/main" id="{E1A91F43-A737-4C75-BE9C-6C66F6EAFBDA}"/>
              </a:ext>
            </a:extLst>
          </p:cNvPr>
          <p:cNvSpPr txBox="1">
            <a:spLocks/>
          </p:cNvSpPr>
          <p:nvPr/>
        </p:nvSpPr>
        <p:spPr>
          <a:xfrm>
            <a:off x="603889" y="1890178"/>
            <a:ext cx="5486399" cy="2449233"/>
          </a:xfrm>
          <a:prstGeom prst="rect">
            <a:avLst/>
          </a:prstGeom>
        </p:spPr>
        <p:txBody>
          <a:bodyPr lIns="0" tIns="0" rIns="0" bIns="0">
            <a:no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marR="0" lvl="1" indent="-346075" algn="l" defTabSz="932384" rtl="0" eaLnBrk="1" fontAlgn="auto" latinLnBrk="0" hangingPunct="1">
              <a:lnSpc>
                <a:spcPct val="100000"/>
              </a:lnSpc>
              <a:spcBef>
                <a:spcPts val="12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Set an end-customer price for Azure services</a:t>
            </a:r>
          </a:p>
          <a:p>
            <a:pPr marL="346075" marR="0" lvl="1" indent="-346075" algn="l" defTabSz="932384" rtl="0" eaLnBrk="1" fontAlgn="auto" latinLnBrk="0" hangingPunct="1">
              <a:lnSpc>
                <a:spcPct val="100000"/>
              </a:lnSpc>
              <a:spcBef>
                <a:spcPts val="12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Provide guidance for pricing rules of different Azure services</a:t>
            </a:r>
          </a:p>
          <a:p>
            <a:pPr marL="346075" marR="0" lvl="1" indent="-346075" algn="l" defTabSz="932384" rtl="0" eaLnBrk="1" fontAlgn="auto" latinLnBrk="0" hangingPunct="1">
              <a:lnSpc>
                <a:spcPct val="100000"/>
              </a:lnSpc>
              <a:spcBef>
                <a:spcPts val="12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Calculate the estimated monthly cost for customer workloads in Azure.</a:t>
            </a:r>
          </a:p>
        </p:txBody>
      </p:sp>
      <p:sp>
        <p:nvSpPr>
          <p:cNvPr id="17" name="Text Placeholder 12">
            <a:extLst>
              <a:ext uri="{FF2B5EF4-FFF2-40B4-BE49-F238E27FC236}">
                <a16:creationId xmlns:a16="http://schemas.microsoft.com/office/drawing/2014/main" id="{DC7661B9-84FB-43FB-AD5B-D6309EB99965}"/>
              </a:ext>
            </a:extLst>
          </p:cNvPr>
          <p:cNvSpPr txBox="1">
            <a:spLocks/>
          </p:cNvSpPr>
          <p:nvPr/>
        </p:nvSpPr>
        <p:spPr>
          <a:xfrm>
            <a:off x="6445200" y="1890178"/>
            <a:ext cx="5486399" cy="4453621"/>
          </a:xfrm>
          <a:prstGeom prst="rect">
            <a:avLst/>
          </a:prstGeom>
        </p:spPr>
        <p:txBody>
          <a:bodyPr lIns="0" tIns="0" rIns="0" bIns="0">
            <a:no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marR="0" lvl="1" indent="-346075" algn="l" defTabSz="932384" rtl="0" eaLnBrk="1" fontAlgn="auto" latinLnBrk="0" hangingPunct="1">
              <a:lnSpc>
                <a:spcPct val="100000"/>
              </a:lnSpc>
              <a:spcBef>
                <a:spcPts val="12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Define the billing rules between</a:t>
            </a:r>
            <a:br>
              <a:rPr kumimoji="0" lang="en-US" sz="2400" b="0" i="0" u="none" strike="noStrike" kern="1200" cap="none" spc="0" normalizeH="0" baseline="0" noProof="0" dirty="0">
                <a:ln>
                  <a:noFill/>
                </a:ln>
                <a:effectLst/>
                <a:uLnTx/>
                <a:uFillTx/>
                <a:latin typeface="Segoe UI Light"/>
                <a:ea typeface="+mn-ea"/>
                <a:cs typeface="+mn-cs"/>
              </a:rPr>
            </a:br>
            <a:r>
              <a:rPr kumimoji="0" lang="en-US" sz="2400" b="0" i="0" u="none" strike="noStrike" kern="1200" cap="none" spc="0" normalizeH="0" baseline="0" noProof="0" dirty="0">
                <a:ln>
                  <a:noFill/>
                </a:ln>
                <a:effectLst/>
                <a:uLnTx/>
                <a:uFillTx/>
                <a:latin typeface="Segoe UI Light"/>
                <a:ea typeface="+mn-ea"/>
                <a:cs typeface="+mn-cs"/>
              </a:rPr>
              <a:t>end-customer and CSP Partner</a:t>
            </a:r>
          </a:p>
          <a:p>
            <a:pPr marL="346075" marR="0" lvl="1" indent="-346075" algn="l" defTabSz="932384" rtl="0" eaLnBrk="1" fontAlgn="auto" latinLnBrk="0" hangingPunct="1">
              <a:lnSpc>
                <a:spcPct val="100000"/>
              </a:lnSpc>
              <a:spcBef>
                <a:spcPts val="12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Provide consumption analysis capabilities to customers</a:t>
            </a:r>
          </a:p>
          <a:p>
            <a:pPr marL="346075" marR="0" lvl="1" indent="-346075" algn="l" defTabSz="932384" rtl="0" eaLnBrk="1" fontAlgn="auto" latinLnBrk="0" hangingPunct="1">
              <a:lnSpc>
                <a:spcPct val="100000"/>
              </a:lnSpc>
              <a:spcBef>
                <a:spcPts val="12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Pay invoice from Microsoft (CSP Direct) or from Distributor (CSP Indirect) based on the consumption of all customers</a:t>
            </a:r>
          </a:p>
          <a:p>
            <a:pPr marL="346075" marR="0" lvl="1" indent="-346075" algn="l" defTabSz="932384" rtl="0" eaLnBrk="1" fontAlgn="auto" latinLnBrk="0" hangingPunct="1">
              <a:lnSpc>
                <a:spcPct val="100000"/>
              </a:lnSpc>
              <a:spcBef>
                <a:spcPts val="12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Manage billing disputes and escalate billing issues to Partner Center support team</a:t>
            </a:r>
          </a:p>
        </p:txBody>
      </p:sp>
      <p:sp>
        <p:nvSpPr>
          <p:cNvPr id="18" name="Text Placeholder 2">
            <a:extLst>
              <a:ext uri="{FF2B5EF4-FFF2-40B4-BE49-F238E27FC236}">
                <a16:creationId xmlns:a16="http://schemas.microsoft.com/office/drawing/2014/main" id="{45A8931C-A322-46EA-8B08-D54A7DDFC85B}"/>
              </a:ext>
            </a:extLst>
          </p:cNvPr>
          <p:cNvSpPr txBox="1">
            <a:spLocks/>
          </p:cNvSpPr>
          <p:nvPr/>
        </p:nvSpPr>
        <p:spPr>
          <a:xfrm>
            <a:off x="755862" y="1235075"/>
            <a:ext cx="5381352" cy="544010"/>
          </a:xfrm>
          <a:prstGeom prst="rect">
            <a:avLst/>
          </a:prstGeom>
          <a:solidFill>
            <a:schemeClr val="accent1"/>
          </a:solidFill>
        </p:spPr>
        <p:txBody>
          <a:bodyPr lIns="91440" tIns="45720" rIns="91440" bIns="45720" anchor="ctr">
            <a:no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0" algn="l" defTabSz="932384" rtl="0" eaLnBrk="1" fontAlgn="auto" latinLnBrk="0" hangingPunct="1">
              <a:lnSpc>
                <a:spcPct val="90000"/>
              </a:lnSpc>
              <a:spcBef>
                <a:spcPct val="20000"/>
              </a:spcBef>
              <a:spcAft>
                <a:spcPts val="0"/>
              </a:spcAft>
              <a:buClrTx/>
              <a:buSzPct val="90000"/>
              <a:buFont typeface="Arial" pitchFamily="34" charset="0"/>
              <a:buNone/>
              <a:tabLst/>
              <a:defRPr/>
            </a:pPr>
            <a:r>
              <a:rPr kumimoji="0" lang="en-US" sz="2800" b="0" i="0" u="none" strike="noStrike" kern="1200" cap="none" spc="0" normalizeH="0" baseline="0" noProof="0" dirty="0">
                <a:ln>
                  <a:noFill/>
                </a:ln>
                <a:solidFill>
                  <a:schemeClr val="bg1"/>
                </a:solidFill>
                <a:effectLst/>
                <a:uLnTx/>
                <a:uFillTx/>
                <a:cs typeface="Segoe UI" panose="020B0502040204020203" pitchFamily="34" charset="0"/>
              </a:rPr>
              <a:t>Manage Azure pricing</a:t>
            </a:r>
          </a:p>
        </p:txBody>
      </p:sp>
      <p:sp>
        <p:nvSpPr>
          <p:cNvPr id="19" name="Text Placeholder 12">
            <a:extLst>
              <a:ext uri="{FF2B5EF4-FFF2-40B4-BE49-F238E27FC236}">
                <a16:creationId xmlns:a16="http://schemas.microsoft.com/office/drawing/2014/main" id="{AB96C945-57EC-4290-A35C-098EF1A3442D}"/>
              </a:ext>
            </a:extLst>
          </p:cNvPr>
          <p:cNvSpPr txBox="1">
            <a:spLocks/>
          </p:cNvSpPr>
          <p:nvPr/>
        </p:nvSpPr>
        <p:spPr>
          <a:xfrm>
            <a:off x="6589986" y="1235075"/>
            <a:ext cx="5381352" cy="548640"/>
          </a:xfrm>
          <a:prstGeom prst="rect">
            <a:avLst/>
          </a:prstGeom>
          <a:solidFill>
            <a:schemeClr val="accent2"/>
          </a:solidFill>
        </p:spPr>
        <p:txBody>
          <a:bodyPr lIns="91440" tIns="45720" rIns="91440" bIns="45720" anchor="ctr">
            <a:no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0" algn="l" defTabSz="932384" rtl="0" eaLnBrk="1" fontAlgn="auto" latinLnBrk="0" hangingPunct="1">
              <a:lnSpc>
                <a:spcPct val="90000"/>
              </a:lnSpc>
              <a:spcBef>
                <a:spcPct val="20000"/>
              </a:spcBef>
              <a:spcAft>
                <a:spcPts val="0"/>
              </a:spcAft>
              <a:buClrTx/>
              <a:buSzPct val="90000"/>
              <a:buFont typeface="Arial" pitchFamily="34" charset="0"/>
              <a:buNone/>
              <a:tabLst/>
              <a:defRPr/>
            </a:pPr>
            <a:r>
              <a:rPr kumimoji="0" lang="en-US" sz="2800" b="0" i="0" u="none" strike="noStrike" kern="1200" cap="none" spc="0" normalizeH="0" baseline="0" noProof="0" dirty="0">
                <a:ln>
                  <a:noFill/>
                </a:ln>
                <a:solidFill>
                  <a:schemeClr val="bg1"/>
                </a:solidFill>
                <a:effectLst/>
                <a:uLnTx/>
                <a:uFillTx/>
                <a:cs typeface="Segoe UI" panose="020B0502040204020203" pitchFamily="34" charset="0"/>
              </a:rPr>
              <a:t>Manage Azure billing</a:t>
            </a:r>
          </a:p>
        </p:txBody>
      </p:sp>
      <p:grpSp>
        <p:nvGrpSpPr>
          <p:cNvPr id="8" name="Group 7">
            <a:extLst>
              <a:ext uri="{FF2B5EF4-FFF2-40B4-BE49-F238E27FC236}">
                <a16:creationId xmlns:a16="http://schemas.microsoft.com/office/drawing/2014/main" id="{143CE536-21D0-43C8-9F94-EECD8E38146D}"/>
              </a:ext>
            </a:extLst>
          </p:cNvPr>
          <p:cNvGrpSpPr/>
          <p:nvPr/>
        </p:nvGrpSpPr>
        <p:grpSpPr>
          <a:xfrm>
            <a:off x="475618" y="1187359"/>
            <a:ext cx="644072" cy="644072"/>
            <a:chOff x="475618" y="1187359"/>
            <a:chExt cx="644072" cy="644072"/>
          </a:xfrm>
        </p:grpSpPr>
        <p:sp>
          <p:nvSpPr>
            <p:cNvPr id="13" name="Arc 12">
              <a:extLst>
                <a:ext uri="{FF2B5EF4-FFF2-40B4-BE49-F238E27FC236}">
                  <a16:creationId xmlns:a16="http://schemas.microsoft.com/office/drawing/2014/main" id="{50BD6F7B-8C14-4B58-AB67-A12C8C838651}"/>
                </a:ext>
              </a:extLst>
            </p:cNvPr>
            <p:cNvSpPr/>
            <p:nvPr/>
          </p:nvSpPr>
          <p:spPr>
            <a:xfrm flipH="1">
              <a:off x="475618" y="1187359"/>
              <a:ext cx="644072" cy="644072"/>
            </a:xfrm>
            <a:prstGeom prst="arc">
              <a:avLst>
                <a:gd name="adj1" fmla="val 14279515"/>
                <a:gd name="adj2" fmla="val 72169"/>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4" name="Oval 13">
              <a:extLst>
                <a:ext uri="{FF2B5EF4-FFF2-40B4-BE49-F238E27FC236}">
                  <a16:creationId xmlns:a16="http://schemas.microsoft.com/office/drawing/2014/main" id="{68F3F6F0-E39D-4569-B340-CBB0B57DEA19}"/>
                </a:ext>
              </a:extLst>
            </p:cNvPr>
            <p:cNvSpPr/>
            <p:nvPr/>
          </p:nvSpPr>
          <p:spPr bwMode="auto">
            <a:xfrm>
              <a:off x="525648" y="1237965"/>
              <a:ext cx="544012" cy="544010"/>
            </a:xfrm>
            <a:prstGeom prst="ellipse">
              <a:avLst/>
            </a:prstGeom>
            <a:solidFill>
              <a:schemeClr val="tx1">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1</a:t>
              </a:r>
              <a:endParaRPr lang="en-IN" sz="2400" b="1" dirty="0" err="1">
                <a:solidFill>
                  <a:schemeClr val="bg1"/>
                </a:solidFill>
                <a:ea typeface="Segoe UI" pitchFamily="34" charset="0"/>
                <a:cs typeface="Segoe UI" pitchFamily="34" charset="0"/>
              </a:endParaRPr>
            </a:p>
          </p:txBody>
        </p:sp>
      </p:grpSp>
      <p:cxnSp>
        <p:nvCxnSpPr>
          <p:cNvPr id="7" name="Straight Connector 6">
            <a:extLst>
              <a:ext uri="{FF2B5EF4-FFF2-40B4-BE49-F238E27FC236}">
                <a16:creationId xmlns:a16="http://schemas.microsoft.com/office/drawing/2014/main" id="{881AE412-6116-4DF9-90C4-AE8364F1067F}"/>
              </a:ext>
            </a:extLst>
          </p:cNvPr>
          <p:cNvCxnSpPr>
            <a:stCxn id="13" idx="2"/>
          </p:cNvCxnSpPr>
          <p:nvPr/>
        </p:nvCxnSpPr>
        <p:spPr>
          <a:xfrm flipH="1">
            <a:off x="475618" y="1516155"/>
            <a:ext cx="71" cy="547837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3560E40-618D-4A8C-9DA7-673B8A30FE82}"/>
              </a:ext>
            </a:extLst>
          </p:cNvPr>
          <p:cNvCxnSpPr/>
          <p:nvPr/>
        </p:nvCxnSpPr>
        <p:spPr>
          <a:xfrm flipH="1">
            <a:off x="6308859" y="1516155"/>
            <a:ext cx="71" cy="547837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A50472C7-F414-4BB3-AC82-2821FD1EB1C4}"/>
              </a:ext>
            </a:extLst>
          </p:cNvPr>
          <p:cNvGrpSpPr/>
          <p:nvPr/>
        </p:nvGrpSpPr>
        <p:grpSpPr>
          <a:xfrm>
            <a:off x="6308859" y="1187359"/>
            <a:ext cx="644072" cy="644072"/>
            <a:chOff x="475618" y="1187359"/>
            <a:chExt cx="644072" cy="644072"/>
          </a:xfrm>
        </p:grpSpPr>
        <p:sp>
          <p:nvSpPr>
            <p:cNvPr id="28" name="Arc 27">
              <a:extLst>
                <a:ext uri="{FF2B5EF4-FFF2-40B4-BE49-F238E27FC236}">
                  <a16:creationId xmlns:a16="http://schemas.microsoft.com/office/drawing/2014/main" id="{45E88FB5-7C9A-455C-9C33-245FDD71F921}"/>
                </a:ext>
              </a:extLst>
            </p:cNvPr>
            <p:cNvSpPr/>
            <p:nvPr/>
          </p:nvSpPr>
          <p:spPr>
            <a:xfrm flipH="1">
              <a:off x="475618" y="1187359"/>
              <a:ext cx="644072" cy="644072"/>
            </a:xfrm>
            <a:prstGeom prst="arc">
              <a:avLst>
                <a:gd name="adj1" fmla="val 14279515"/>
                <a:gd name="adj2" fmla="val 72169"/>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29" name="Oval 28">
              <a:extLst>
                <a:ext uri="{FF2B5EF4-FFF2-40B4-BE49-F238E27FC236}">
                  <a16:creationId xmlns:a16="http://schemas.microsoft.com/office/drawing/2014/main" id="{4D37D31B-F395-40E0-9FC7-D56BF8AB9C24}"/>
                </a:ext>
              </a:extLst>
            </p:cNvPr>
            <p:cNvSpPr/>
            <p:nvPr/>
          </p:nvSpPr>
          <p:spPr bwMode="auto">
            <a:xfrm>
              <a:off x="525648" y="1237965"/>
              <a:ext cx="544012" cy="544010"/>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2</a:t>
              </a:r>
              <a:endParaRPr lang="en-IN" sz="2400" b="1" dirty="0"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261906507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82EC4-940F-4811-B609-F9EABB847827}"/>
              </a:ext>
            </a:extLst>
          </p:cNvPr>
          <p:cNvSpPr>
            <a:spLocks noGrp="1"/>
          </p:cNvSpPr>
          <p:nvPr>
            <p:ph type="title"/>
          </p:nvPr>
        </p:nvSpPr>
        <p:spPr/>
        <p:txBody>
          <a:bodyPr/>
          <a:lstStyle/>
          <a:p>
            <a:r>
              <a:rPr lang="en-US" dirty="0"/>
              <a:t>Possible integrations</a:t>
            </a:r>
          </a:p>
        </p:txBody>
      </p:sp>
      <p:grpSp>
        <p:nvGrpSpPr>
          <p:cNvPr id="25" name="Group 24">
            <a:extLst>
              <a:ext uri="{FF2B5EF4-FFF2-40B4-BE49-F238E27FC236}">
                <a16:creationId xmlns:a16="http://schemas.microsoft.com/office/drawing/2014/main" id="{DE65B63F-2F28-4E44-BA55-3FBE7B1DF16F}"/>
              </a:ext>
            </a:extLst>
          </p:cNvPr>
          <p:cNvGrpSpPr/>
          <p:nvPr/>
        </p:nvGrpSpPr>
        <p:grpSpPr>
          <a:xfrm>
            <a:off x="343218" y="1193019"/>
            <a:ext cx="1470342" cy="1470342"/>
            <a:chOff x="343218" y="1193019"/>
            <a:chExt cx="1470342" cy="1470342"/>
          </a:xfrm>
        </p:grpSpPr>
        <p:sp>
          <p:nvSpPr>
            <p:cNvPr id="5" name="Oval 4">
              <a:extLst>
                <a:ext uri="{FF2B5EF4-FFF2-40B4-BE49-F238E27FC236}">
                  <a16:creationId xmlns:a16="http://schemas.microsoft.com/office/drawing/2014/main" id="{66151E15-4FA4-4017-B2CD-19FDB0E713AA}"/>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6" name="Arc 5">
              <a:extLst>
                <a:ext uri="{FF2B5EF4-FFF2-40B4-BE49-F238E27FC236}">
                  <a16:creationId xmlns:a16="http://schemas.microsoft.com/office/drawing/2014/main" id="{6DDAF88F-581F-4D06-9F59-F016433C5309}"/>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grpSp>
        <p:nvGrpSpPr>
          <p:cNvPr id="10" name="Group 9">
            <a:extLst>
              <a:ext uri="{FF2B5EF4-FFF2-40B4-BE49-F238E27FC236}">
                <a16:creationId xmlns:a16="http://schemas.microsoft.com/office/drawing/2014/main" id="{74B2FCBC-4773-474C-970D-AE09F4E8EFD5}"/>
              </a:ext>
            </a:extLst>
          </p:cNvPr>
          <p:cNvGrpSpPr/>
          <p:nvPr/>
        </p:nvGrpSpPr>
        <p:grpSpPr>
          <a:xfrm>
            <a:off x="343218" y="5217342"/>
            <a:ext cx="1470342" cy="1470342"/>
            <a:chOff x="343218" y="4774581"/>
            <a:chExt cx="1470342" cy="1470342"/>
          </a:xfrm>
        </p:grpSpPr>
        <p:sp>
          <p:nvSpPr>
            <p:cNvPr id="11" name="Oval 10">
              <a:extLst>
                <a:ext uri="{FF2B5EF4-FFF2-40B4-BE49-F238E27FC236}">
                  <a16:creationId xmlns:a16="http://schemas.microsoft.com/office/drawing/2014/main" id="{E4B8637D-E3AA-4C8E-9860-0173FEFA8C1F}"/>
                </a:ext>
              </a:extLst>
            </p:cNvPr>
            <p:cNvSpPr/>
            <p:nvPr/>
          </p:nvSpPr>
          <p:spPr bwMode="auto">
            <a:xfrm>
              <a:off x="465138" y="4896504"/>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12" name="Arc 11">
              <a:extLst>
                <a:ext uri="{FF2B5EF4-FFF2-40B4-BE49-F238E27FC236}">
                  <a16:creationId xmlns:a16="http://schemas.microsoft.com/office/drawing/2014/main" id="{62446B48-1E91-4067-97E5-D0B115281895}"/>
                </a:ext>
              </a:extLst>
            </p:cNvPr>
            <p:cNvSpPr/>
            <p:nvPr/>
          </p:nvSpPr>
          <p:spPr>
            <a:xfrm>
              <a:off x="343218" y="4774581"/>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13" name="Rectangle 12">
            <a:extLst>
              <a:ext uri="{FF2B5EF4-FFF2-40B4-BE49-F238E27FC236}">
                <a16:creationId xmlns:a16="http://schemas.microsoft.com/office/drawing/2014/main" id="{E3408997-1ADA-42CF-A39B-A0602BD3C902}"/>
              </a:ext>
            </a:extLst>
          </p:cNvPr>
          <p:cNvSpPr/>
          <p:nvPr/>
        </p:nvSpPr>
        <p:spPr>
          <a:xfrm>
            <a:off x="2118360" y="1343415"/>
            <a:ext cx="9791989" cy="1149033"/>
          </a:xfrm>
          <a:prstGeom prst="rect">
            <a:avLst/>
          </a:prstGeom>
        </p:spPr>
        <p:txBody>
          <a:bodyPr wrap="square" lIns="0" tIns="0" rIns="0" bIns="0">
            <a:spAutoFit/>
          </a:bodyPr>
          <a:lstStyle/>
          <a:p>
            <a:r>
              <a:rPr lang="en-US" sz="2800" dirty="0">
                <a:latin typeface="+mj-lt"/>
              </a:rPr>
              <a:t>Integration with Partner Center – Billing, customer provisioning</a:t>
            </a:r>
          </a:p>
          <a:p>
            <a:pPr marL="231775" lvl="1" indent="-231775">
              <a:spcBef>
                <a:spcPts val="200"/>
              </a:spcBef>
              <a:spcAft>
                <a:spcPts val="400"/>
              </a:spcAft>
              <a:buFont typeface="Arial" panose="020B0604020202020204" pitchFamily="34" charset="0"/>
              <a:buChar char="•"/>
            </a:pPr>
            <a:r>
              <a:rPr lang="en-US" sz="2000" dirty="0">
                <a:solidFill>
                  <a:schemeClr val="tx2"/>
                </a:solidFill>
                <a:latin typeface="+mj-lt"/>
              </a:rPr>
              <a:t>Partner Center REST API</a:t>
            </a:r>
          </a:p>
          <a:p>
            <a:pPr marL="231775" lvl="1" indent="-231775">
              <a:spcBef>
                <a:spcPts val="200"/>
              </a:spcBef>
              <a:spcAft>
                <a:spcPts val="400"/>
              </a:spcAft>
              <a:buFont typeface="Arial" panose="020B0604020202020204" pitchFamily="34" charset="0"/>
              <a:buChar char="•"/>
            </a:pPr>
            <a:r>
              <a:rPr lang="en-US" sz="2000" dirty="0">
                <a:solidFill>
                  <a:schemeClr val="tx2"/>
                </a:solidFill>
                <a:latin typeface="+mj-lt"/>
              </a:rPr>
              <a:t>Partner Center SDK</a:t>
            </a:r>
          </a:p>
        </p:txBody>
      </p:sp>
      <p:sp>
        <p:nvSpPr>
          <p:cNvPr id="14" name="Rectangle 13">
            <a:extLst>
              <a:ext uri="{FF2B5EF4-FFF2-40B4-BE49-F238E27FC236}">
                <a16:creationId xmlns:a16="http://schemas.microsoft.com/office/drawing/2014/main" id="{8C786FB4-95D8-46F1-AF1C-BA76F25DE0B3}"/>
              </a:ext>
            </a:extLst>
          </p:cNvPr>
          <p:cNvSpPr/>
          <p:nvPr/>
        </p:nvSpPr>
        <p:spPr>
          <a:xfrm>
            <a:off x="2118360" y="3147306"/>
            <a:ext cx="9852977" cy="1579920"/>
          </a:xfrm>
          <a:prstGeom prst="rect">
            <a:avLst/>
          </a:prstGeom>
        </p:spPr>
        <p:txBody>
          <a:bodyPr wrap="square" lIns="0" tIns="0" rIns="0" bIns="0">
            <a:spAutoFit/>
          </a:bodyPr>
          <a:lstStyle/>
          <a:p>
            <a:r>
              <a:rPr lang="en-US" sz="2800" dirty="0">
                <a:latin typeface="+mj-lt"/>
              </a:rPr>
              <a:t>Integration on the Azure level – Service deployment, policies, customer identity management etc.</a:t>
            </a:r>
          </a:p>
          <a:p>
            <a:pPr marL="231775" lvl="1" indent="-231775">
              <a:spcBef>
                <a:spcPts val="200"/>
              </a:spcBef>
              <a:spcAft>
                <a:spcPts val="400"/>
              </a:spcAft>
              <a:buFont typeface="Arial" panose="020B0604020202020204" pitchFamily="34" charset="0"/>
              <a:buChar char="•"/>
            </a:pPr>
            <a:r>
              <a:rPr lang="en-US" sz="2000" dirty="0">
                <a:solidFill>
                  <a:schemeClr val="tx2"/>
                </a:solidFill>
                <a:latin typeface="+mj-lt"/>
              </a:rPr>
              <a:t>Azure Resource Manager APIs</a:t>
            </a:r>
          </a:p>
          <a:p>
            <a:pPr marL="231775" lvl="1" indent="-231775">
              <a:spcBef>
                <a:spcPts val="200"/>
              </a:spcBef>
              <a:spcAft>
                <a:spcPts val="400"/>
              </a:spcAft>
              <a:buFont typeface="Arial" panose="020B0604020202020204" pitchFamily="34" charset="0"/>
              <a:buChar char="•"/>
            </a:pPr>
            <a:r>
              <a:rPr lang="en-US" sz="2000" dirty="0">
                <a:solidFill>
                  <a:schemeClr val="tx2"/>
                </a:solidFill>
                <a:latin typeface="+mj-lt"/>
              </a:rPr>
              <a:t>Azure GRAPH APIs</a:t>
            </a:r>
          </a:p>
        </p:txBody>
      </p:sp>
      <p:sp>
        <p:nvSpPr>
          <p:cNvPr id="15" name="Rectangle 14">
            <a:extLst>
              <a:ext uri="{FF2B5EF4-FFF2-40B4-BE49-F238E27FC236}">
                <a16:creationId xmlns:a16="http://schemas.microsoft.com/office/drawing/2014/main" id="{A79B64C1-1D25-4041-8744-BA8BBEECBDE4}"/>
              </a:ext>
            </a:extLst>
          </p:cNvPr>
          <p:cNvSpPr/>
          <p:nvPr/>
        </p:nvSpPr>
        <p:spPr>
          <a:xfrm>
            <a:off x="2118360" y="5737070"/>
            <a:ext cx="9852977" cy="430887"/>
          </a:xfrm>
          <a:prstGeom prst="rect">
            <a:avLst/>
          </a:prstGeom>
        </p:spPr>
        <p:txBody>
          <a:bodyPr wrap="square" lIns="0" tIns="0" rIns="0" bIns="0">
            <a:spAutoFit/>
          </a:bodyPr>
          <a:lstStyle/>
          <a:p>
            <a:r>
              <a:rPr lang="en-US" sz="2800" dirty="0">
                <a:latin typeface="+mj-lt"/>
              </a:rPr>
              <a:t>More details: </a:t>
            </a:r>
            <a:r>
              <a:rPr lang="en-US" sz="2800" dirty="0">
                <a:latin typeface="+mj-lt"/>
                <a:hlinkClick r:id="rId2"/>
              </a:rPr>
              <a:t>link</a:t>
            </a:r>
            <a:endParaRPr lang="en-US" sz="2800" b="1" dirty="0">
              <a:latin typeface="+mj-lt"/>
            </a:endParaRPr>
          </a:p>
        </p:txBody>
      </p:sp>
      <p:grpSp>
        <p:nvGrpSpPr>
          <p:cNvPr id="7" name="Group 6">
            <a:extLst>
              <a:ext uri="{FF2B5EF4-FFF2-40B4-BE49-F238E27FC236}">
                <a16:creationId xmlns:a16="http://schemas.microsoft.com/office/drawing/2014/main" id="{129061ED-A59D-45EF-873B-85CB23FB845F}"/>
              </a:ext>
            </a:extLst>
          </p:cNvPr>
          <p:cNvGrpSpPr/>
          <p:nvPr/>
        </p:nvGrpSpPr>
        <p:grpSpPr>
          <a:xfrm>
            <a:off x="343218" y="3205181"/>
            <a:ext cx="1470342" cy="1470342"/>
            <a:chOff x="343218" y="2937006"/>
            <a:chExt cx="1470342" cy="1470342"/>
          </a:xfrm>
        </p:grpSpPr>
        <p:sp>
          <p:nvSpPr>
            <p:cNvPr id="8" name="Oval 7">
              <a:extLst>
                <a:ext uri="{FF2B5EF4-FFF2-40B4-BE49-F238E27FC236}">
                  <a16:creationId xmlns:a16="http://schemas.microsoft.com/office/drawing/2014/main" id="{CC201EDD-CA2B-4E24-9656-1762B8600007}"/>
                </a:ext>
              </a:extLst>
            </p:cNvPr>
            <p:cNvSpPr/>
            <p:nvPr/>
          </p:nvSpPr>
          <p:spPr bwMode="auto">
            <a:xfrm>
              <a:off x="465138" y="3058929"/>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9" name="Arc 8">
              <a:extLst>
                <a:ext uri="{FF2B5EF4-FFF2-40B4-BE49-F238E27FC236}">
                  <a16:creationId xmlns:a16="http://schemas.microsoft.com/office/drawing/2014/main" id="{C01DE506-20B3-462E-B041-25DB356515A3}"/>
                </a:ext>
              </a:extLst>
            </p:cNvPr>
            <p:cNvSpPr/>
            <p:nvPr/>
          </p:nvSpPr>
          <p:spPr>
            <a:xfrm flipH="1">
              <a:off x="343218" y="2937006"/>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cxnSp>
        <p:nvCxnSpPr>
          <p:cNvPr id="19" name="Straight Connector 18">
            <a:extLst>
              <a:ext uri="{FF2B5EF4-FFF2-40B4-BE49-F238E27FC236}">
                <a16:creationId xmlns:a16="http://schemas.microsoft.com/office/drawing/2014/main" id="{98A90D2A-A822-4318-ADE5-C9C370AA35FD}"/>
              </a:ext>
            </a:extLst>
          </p:cNvPr>
          <p:cNvCxnSpPr/>
          <p:nvPr/>
        </p:nvCxnSpPr>
        <p:spPr>
          <a:xfrm>
            <a:off x="2118360" y="2934271"/>
            <a:ext cx="970788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B3DC797-6801-490E-94F2-238D8E802DEC}"/>
              </a:ext>
            </a:extLst>
          </p:cNvPr>
          <p:cNvCxnSpPr/>
          <p:nvPr/>
        </p:nvCxnSpPr>
        <p:spPr>
          <a:xfrm>
            <a:off x="2118360" y="4946433"/>
            <a:ext cx="970788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0D4D401D-1493-41A7-B79C-19CD82F3BEF1}"/>
              </a:ext>
            </a:extLst>
          </p:cNvPr>
          <p:cNvGrpSpPr/>
          <p:nvPr/>
        </p:nvGrpSpPr>
        <p:grpSpPr>
          <a:xfrm>
            <a:off x="841969" y="5683406"/>
            <a:ext cx="472840" cy="538214"/>
            <a:chOff x="2981668" y="2145564"/>
            <a:chExt cx="3235820" cy="3683194"/>
          </a:xfrm>
          <a:solidFill>
            <a:schemeClr val="bg1"/>
          </a:solidFill>
        </p:grpSpPr>
        <p:sp>
          <p:nvSpPr>
            <p:cNvPr id="27" name="Round Diagonal Corner Rectangle 53">
              <a:extLst>
                <a:ext uri="{FF2B5EF4-FFF2-40B4-BE49-F238E27FC236}">
                  <a16:creationId xmlns:a16="http://schemas.microsoft.com/office/drawing/2014/main" id="{1D370DE8-B4E9-444C-B1D5-E6E44CC10478}"/>
                </a:ext>
              </a:extLst>
            </p:cNvPr>
            <p:cNvSpPr/>
            <p:nvPr/>
          </p:nvSpPr>
          <p:spPr bwMode="auto">
            <a:xfrm>
              <a:off x="2981668" y="2145564"/>
              <a:ext cx="3235820" cy="368319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8" name="Wave 8">
              <a:extLst>
                <a:ext uri="{FF2B5EF4-FFF2-40B4-BE49-F238E27FC236}">
                  <a16:creationId xmlns:a16="http://schemas.microsoft.com/office/drawing/2014/main" id="{145744FF-A770-45FF-A8F9-789DC5926ADB}"/>
                </a:ext>
              </a:extLst>
            </p:cNvPr>
            <p:cNvSpPr/>
            <p:nvPr/>
          </p:nvSpPr>
          <p:spPr>
            <a:xfrm>
              <a:off x="3548857" y="3485674"/>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29" name="Wave 8">
              <a:extLst>
                <a:ext uri="{FF2B5EF4-FFF2-40B4-BE49-F238E27FC236}">
                  <a16:creationId xmlns:a16="http://schemas.microsoft.com/office/drawing/2014/main" id="{C7211214-7121-484D-87F8-E1D18FEA9444}"/>
                </a:ext>
              </a:extLst>
            </p:cNvPr>
            <p:cNvSpPr/>
            <p:nvPr/>
          </p:nvSpPr>
          <p:spPr>
            <a:xfrm>
              <a:off x="3548857" y="3873080"/>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30" name="Wave 8">
              <a:extLst>
                <a:ext uri="{FF2B5EF4-FFF2-40B4-BE49-F238E27FC236}">
                  <a16:creationId xmlns:a16="http://schemas.microsoft.com/office/drawing/2014/main" id="{628BE0A4-B512-4D59-8A34-E26006694DC7}"/>
                </a:ext>
              </a:extLst>
            </p:cNvPr>
            <p:cNvSpPr/>
            <p:nvPr/>
          </p:nvSpPr>
          <p:spPr>
            <a:xfrm>
              <a:off x="3548857" y="4260486"/>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31" name="Wave 8">
              <a:extLst>
                <a:ext uri="{FF2B5EF4-FFF2-40B4-BE49-F238E27FC236}">
                  <a16:creationId xmlns:a16="http://schemas.microsoft.com/office/drawing/2014/main" id="{3E5A9AA8-0FE8-42F1-915A-B9B89B8F1875}"/>
                </a:ext>
              </a:extLst>
            </p:cNvPr>
            <p:cNvSpPr/>
            <p:nvPr/>
          </p:nvSpPr>
          <p:spPr>
            <a:xfrm>
              <a:off x="3548857" y="4647892"/>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32" name="Wave 8">
              <a:extLst>
                <a:ext uri="{FF2B5EF4-FFF2-40B4-BE49-F238E27FC236}">
                  <a16:creationId xmlns:a16="http://schemas.microsoft.com/office/drawing/2014/main" id="{B8EAFEB0-1C19-466B-8EFB-7B9290937FA0}"/>
                </a:ext>
              </a:extLst>
            </p:cNvPr>
            <p:cNvSpPr/>
            <p:nvPr/>
          </p:nvSpPr>
          <p:spPr>
            <a:xfrm>
              <a:off x="3548857" y="5035298"/>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grpSp>
      <p:sp>
        <p:nvSpPr>
          <p:cNvPr id="35" name="Freeform: Shape 34">
            <a:extLst>
              <a:ext uri="{FF2B5EF4-FFF2-40B4-BE49-F238E27FC236}">
                <a16:creationId xmlns:a16="http://schemas.microsoft.com/office/drawing/2014/main" id="{D25A6A53-02E2-4228-B9A7-4B6114FF0409}"/>
              </a:ext>
            </a:extLst>
          </p:cNvPr>
          <p:cNvSpPr/>
          <p:nvPr/>
        </p:nvSpPr>
        <p:spPr bwMode="auto">
          <a:xfrm>
            <a:off x="785278" y="1703283"/>
            <a:ext cx="586223" cy="449814"/>
          </a:xfrm>
          <a:custGeom>
            <a:avLst/>
            <a:gdLst>
              <a:gd name="connsiteX0" fmla="*/ 244597 w 1678937"/>
              <a:gd name="connsiteY0" fmla="*/ 0 h 1288264"/>
              <a:gd name="connsiteX1" fmla="*/ 387871 w 1678937"/>
              <a:gd name="connsiteY1" fmla="*/ 143273 h 1288264"/>
              <a:gd name="connsiteX2" fmla="*/ 371436 w 1678937"/>
              <a:gd name="connsiteY2" fmla="*/ 208577 h 1288264"/>
              <a:gd name="connsiteX3" fmla="*/ 586437 w 1678937"/>
              <a:gd name="connsiteY3" fmla="*/ 377287 h 1288264"/>
              <a:gd name="connsiteX4" fmla="*/ 801429 w 1678937"/>
              <a:gd name="connsiteY4" fmla="*/ 272470 h 1288264"/>
              <a:gd name="connsiteX5" fmla="*/ 1070303 w 1678937"/>
              <a:gd name="connsiteY5" fmla="*/ 487719 h 1288264"/>
              <a:gd name="connsiteX6" fmla="*/ 1335431 w 1678937"/>
              <a:gd name="connsiteY6" fmla="*/ 433470 h 1288264"/>
              <a:gd name="connsiteX7" fmla="*/ 1506246 w 1678937"/>
              <a:gd name="connsiteY7" fmla="*/ 279374 h 1288264"/>
              <a:gd name="connsiteX8" fmla="*/ 1678937 w 1678937"/>
              <a:gd name="connsiteY8" fmla="*/ 452064 h 1288264"/>
              <a:gd name="connsiteX9" fmla="*/ 1506247 w 1678937"/>
              <a:gd name="connsiteY9" fmla="*/ 624754 h 1288264"/>
              <a:gd name="connsiteX10" fmla="*/ 1341052 w 1678937"/>
              <a:gd name="connsiteY10" fmla="*/ 499712 h 1288264"/>
              <a:gd name="connsiteX11" fmla="*/ 1077271 w 1678937"/>
              <a:gd name="connsiteY11" fmla="*/ 553685 h 1288264"/>
              <a:gd name="connsiteX12" fmla="*/ 1027241 w 1678937"/>
              <a:gd name="connsiteY12" fmla="*/ 706739 h 1288264"/>
              <a:gd name="connsiteX13" fmla="*/ 1251357 w 1678937"/>
              <a:gd name="connsiteY13" fmla="*/ 862197 h 1288264"/>
              <a:gd name="connsiteX14" fmla="*/ 1404923 w 1678937"/>
              <a:gd name="connsiteY14" fmla="*/ 805605 h 1288264"/>
              <a:gd name="connsiteX15" fmla="*/ 1646252 w 1678937"/>
              <a:gd name="connsiteY15" fmla="*/ 1046934 h 1288264"/>
              <a:gd name="connsiteX16" fmla="*/ 1404922 w 1678937"/>
              <a:gd name="connsiteY16" fmla="*/ 1288264 h 1288264"/>
              <a:gd name="connsiteX17" fmla="*/ 1163593 w 1678937"/>
              <a:gd name="connsiteY17" fmla="*/ 1046934 h 1288264"/>
              <a:gd name="connsiteX18" fmla="*/ 1190376 w 1678937"/>
              <a:gd name="connsiteY18" fmla="*/ 938595 h 1288264"/>
              <a:gd name="connsiteX19" fmla="*/ 956876 w 1678937"/>
              <a:gd name="connsiteY19" fmla="*/ 776628 h 1288264"/>
              <a:gd name="connsiteX20" fmla="*/ 801429 w 1678937"/>
              <a:gd name="connsiteY20" fmla="*/ 824670 h 1288264"/>
              <a:gd name="connsiteX21" fmla="*/ 595963 w 1678937"/>
              <a:gd name="connsiteY21" fmla="*/ 731398 h 1288264"/>
              <a:gd name="connsiteX22" fmla="*/ 345257 w 1678937"/>
              <a:gd name="connsiteY22" fmla="*/ 898318 h 1288264"/>
              <a:gd name="connsiteX23" fmla="*/ 358454 w 1678937"/>
              <a:gd name="connsiteY23" fmla="*/ 965221 h 1288264"/>
              <a:gd name="connsiteX24" fmla="*/ 179227 w 1678937"/>
              <a:gd name="connsiteY24" fmla="*/ 1144449 h 1288264"/>
              <a:gd name="connsiteX25" fmla="*/ 0 w 1678937"/>
              <a:gd name="connsiteY25" fmla="*/ 965221 h 1288264"/>
              <a:gd name="connsiteX26" fmla="*/ 179227 w 1678937"/>
              <a:gd name="connsiteY26" fmla="*/ 785994 h 1288264"/>
              <a:gd name="connsiteX27" fmla="*/ 309514 w 1678937"/>
              <a:gd name="connsiteY27" fmla="*/ 842796 h 1288264"/>
              <a:gd name="connsiteX28" fmla="*/ 558437 w 1678937"/>
              <a:gd name="connsiteY28" fmla="*/ 677063 h 1288264"/>
              <a:gd name="connsiteX29" fmla="*/ 525329 w 1678937"/>
              <a:gd name="connsiteY29" fmla="*/ 548570 h 1288264"/>
              <a:gd name="connsiteX30" fmla="*/ 561489 w 1678937"/>
              <a:gd name="connsiteY30" fmla="*/ 414454 h 1288264"/>
              <a:gd name="connsiteX31" fmla="*/ 345469 w 1678937"/>
              <a:gd name="connsiteY31" fmla="*/ 244943 h 1288264"/>
              <a:gd name="connsiteX32" fmla="*/ 244597 w 1678937"/>
              <a:gd name="connsiteY32" fmla="*/ 286546 h 1288264"/>
              <a:gd name="connsiteX33" fmla="*/ 101325 w 1678937"/>
              <a:gd name="connsiteY33" fmla="*/ 143273 h 1288264"/>
              <a:gd name="connsiteX34" fmla="*/ 244597 w 1678937"/>
              <a:gd name="connsiteY34" fmla="*/ 0 h 128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78937" h="1288264">
                <a:moveTo>
                  <a:pt x="244597" y="0"/>
                </a:moveTo>
                <a:cubicBezTo>
                  <a:pt x="323725" y="0"/>
                  <a:pt x="387871" y="64146"/>
                  <a:pt x="387871" y="143273"/>
                </a:cubicBezTo>
                <a:cubicBezTo>
                  <a:pt x="387871" y="166913"/>
                  <a:pt x="382145" y="189216"/>
                  <a:pt x="371436" y="208577"/>
                </a:cubicBezTo>
                <a:lnTo>
                  <a:pt x="586437" y="377287"/>
                </a:lnTo>
                <a:cubicBezTo>
                  <a:pt x="636064" y="313106"/>
                  <a:pt x="714001" y="272470"/>
                  <a:pt x="801429" y="272470"/>
                </a:cubicBezTo>
                <a:cubicBezTo>
                  <a:pt x="932969" y="272470"/>
                  <a:pt x="1043025" y="364456"/>
                  <a:pt x="1070303" y="487719"/>
                </a:cubicBezTo>
                <a:lnTo>
                  <a:pt x="1335431" y="433470"/>
                </a:lnTo>
                <a:cubicBezTo>
                  <a:pt x="1343873" y="346791"/>
                  <a:pt x="1417187" y="279374"/>
                  <a:pt x="1506246" y="279374"/>
                </a:cubicBezTo>
                <a:cubicBezTo>
                  <a:pt x="1601621" y="279374"/>
                  <a:pt x="1678937" y="356690"/>
                  <a:pt x="1678937" y="452064"/>
                </a:cubicBezTo>
                <a:cubicBezTo>
                  <a:pt x="1678937" y="547438"/>
                  <a:pt x="1601621" y="624755"/>
                  <a:pt x="1506247" y="624754"/>
                </a:cubicBezTo>
                <a:cubicBezTo>
                  <a:pt x="1427481" y="624755"/>
                  <a:pt x="1361032" y="572022"/>
                  <a:pt x="1341052" y="499712"/>
                </a:cubicBezTo>
                <a:lnTo>
                  <a:pt x="1077271" y="553685"/>
                </a:lnTo>
                <a:cubicBezTo>
                  <a:pt x="1076446" y="610674"/>
                  <a:pt x="1058146" y="663442"/>
                  <a:pt x="1027241" y="706739"/>
                </a:cubicBezTo>
                <a:lnTo>
                  <a:pt x="1251357" y="862197"/>
                </a:lnTo>
                <a:cubicBezTo>
                  <a:pt x="1292475" y="826540"/>
                  <a:pt x="1346254" y="805605"/>
                  <a:pt x="1404923" y="805605"/>
                </a:cubicBezTo>
                <a:cubicBezTo>
                  <a:pt x="1538205" y="805605"/>
                  <a:pt x="1646252" y="913652"/>
                  <a:pt x="1646252" y="1046934"/>
                </a:cubicBezTo>
                <a:cubicBezTo>
                  <a:pt x="1646252" y="1180217"/>
                  <a:pt x="1538205" y="1288264"/>
                  <a:pt x="1404922" y="1288264"/>
                </a:cubicBezTo>
                <a:cubicBezTo>
                  <a:pt x="1271640" y="1288264"/>
                  <a:pt x="1163593" y="1180217"/>
                  <a:pt x="1163593" y="1046934"/>
                </a:cubicBezTo>
                <a:cubicBezTo>
                  <a:pt x="1163593" y="1007790"/>
                  <a:pt x="1172913" y="970822"/>
                  <a:pt x="1190376" y="938595"/>
                </a:cubicBezTo>
                <a:lnTo>
                  <a:pt x="956876" y="776628"/>
                </a:lnTo>
                <a:cubicBezTo>
                  <a:pt x="912659" y="806982"/>
                  <a:pt x="859110" y="824670"/>
                  <a:pt x="801429" y="824670"/>
                </a:cubicBezTo>
                <a:cubicBezTo>
                  <a:pt x="719404" y="824670"/>
                  <a:pt x="645733" y="788901"/>
                  <a:pt x="595963" y="731398"/>
                </a:cubicBezTo>
                <a:lnTo>
                  <a:pt x="345257" y="898318"/>
                </a:lnTo>
                <a:cubicBezTo>
                  <a:pt x="353858" y="918916"/>
                  <a:pt x="358454" y="941532"/>
                  <a:pt x="358454" y="965221"/>
                </a:cubicBezTo>
                <a:cubicBezTo>
                  <a:pt x="358454" y="1064206"/>
                  <a:pt x="278211" y="1144448"/>
                  <a:pt x="179227" y="1144449"/>
                </a:cubicBezTo>
                <a:cubicBezTo>
                  <a:pt x="80242" y="1144449"/>
                  <a:pt x="0" y="1064206"/>
                  <a:pt x="0" y="965221"/>
                </a:cubicBezTo>
                <a:cubicBezTo>
                  <a:pt x="0" y="866237"/>
                  <a:pt x="80242" y="785994"/>
                  <a:pt x="179227" y="785994"/>
                </a:cubicBezTo>
                <a:cubicBezTo>
                  <a:pt x="230724" y="785994"/>
                  <a:pt x="277148" y="807713"/>
                  <a:pt x="309514" y="842796"/>
                </a:cubicBezTo>
                <a:lnTo>
                  <a:pt x="558437" y="677063"/>
                </a:lnTo>
                <a:cubicBezTo>
                  <a:pt x="536891" y="639139"/>
                  <a:pt x="525329" y="595205"/>
                  <a:pt x="525329" y="548570"/>
                </a:cubicBezTo>
                <a:cubicBezTo>
                  <a:pt x="525329" y="499642"/>
                  <a:pt x="538057" y="453686"/>
                  <a:pt x="561489" y="414454"/>
                </a:cubicBezTo>
                <a:lnTo>
                  <a:pt x="345469" y="244943"/>
                </a:lnTo>
                <a:cubicBezTo>
                  <a:pt x="319612" y="270674"/>
                  <a:pt x="283958" y="286546"/>
                  <a:pt x="244597" y="286546"/>
                </a:cubicBezTo>
                <a:cubicBezTo>
                  <a:pt x="165470" y="286546"/>
                  <a:pt x="101324" y="222401"/>
                  <a:pt x="101325" y="143273"/>
                </a:cubicBezTo>
                <a:cubicBezTo>
                  <a:pt x="101324" y="64146"/>
                  <a:pt x="165470" y="0"/>
                  <a:pt x="24459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927634C-7086-405E-A6BA-75A295696AD3}"/>
              </a:ext>
            </a:extLst>
          </p:cNvPr>
          <p:cNvSpPr/>
          <p:nvPr/>
        </p:nvSpPr>
        <p:spPr>
          <a:xfrm>
            <a:off x="857568" y="3643120"/>
            <a:ext cx="441642" cy="593052"/>
          </a:xfrm>
          <a:custGeom>
            <a:avLst/>
            <a:gdLst>
              <a:gd name="connsiteX0" fmla="*/ 333382 w 415546"/>
              <a:gd name="connsiteY0" fmla="*/ 460580 h 558010"/>
              <a:gd name="connsiteX1" fmla="*/ 385440 w 415546"/>
              <a:gd name="connsiteY1" fmla="*/ 480804 h 558010"/>
              <a:gd name="connsiteX2" fmla="*/ 365002 w 415546"/>
              <a:gd name="connsiteY2" fmla="*/ 492604 h 558010"/>
              <a:gd name="connsiteX3" fmla="*/ 396199 w 415546"/>
              <a:gd name="connsiteY3" fmla="*/ 546638 h 558010"/>
              <a:gd name="connsiteX4" fmla="*/ 376502 w 415546"/>
              <a:gd name="connsiteY4" fmla="*/ 558010 h 558010"/>
              <a:gd name="connsiteX5" fmla="*/ 345305 w 415546"/>
              <a:gd name="connsiteY5" fmla="*/ 503976 h 558010"/>
              <a:gd name="connsiteX6" fmla="*/ 324868 w 415546"/>
              <a:gd name="connsiteY6" fmla="*/ 515775 h 558010"/>
              <a:gd name="connsiteX7" fmla="*/ 48375 w 415546"/>
              <a:gd name="connsiteY7" fmla="*/ 344977 h 558010"/>
              <a:gd name="connsiteX8" fmla="*/ 48375 w 415546"/>
              <a:gd name="connsiteY8" fmla="*/ 365203 h 558010"/>
              <a:gd name="connsiteX9" fmla="*/ 364071 w 415546"/>
              <a:gd name="connsiteY9" fmla="*/ 365203 h 558010"/>
              <a:gd name="connsiteX10" fmla="*/ 364071 w 415546"/>
              <a:gd name="connsiteY10" fmla="*/ 344977 h 558010"/>
              <a:gd name="connsiteX11" fmla="*/ 48375 w 415546"/>
              <a:gd name="connsiteY11" fmla="*/ 311228 h 558010"/>
              <a:gd name="connsiteX12" fmla="*/ 48375 w 415546"/>
              <a:gd name="connsiteY12" fmla="*/ 331454 h 558010"/>
              <a:gd name="connsiteX13" fmla="*/ 364071 w 415546"/>
              <a:gd name="connsiteY13" fmla="*/ 331454 h 558010"/>
              <a:gd name="connsiteX14" fmla="*/ 364071 w 415546"/>
              <a:gd name="connsiteY14" fmla="*/ 311228 h 558010"/>
              <a:gd name="connsiteX15" fmla="*/ 48375 w 415546"/>
              <a:gd name="connsiteY15" fmla="*/ 277479 h 558010"/>
              <a:gd name="connsiteX16" fmla="*/ 48375 w 415546"/>
              <a:gd name="connsiteY16" fmla="*/ 297705 h 558010"/>
              <a:gd name="connsiteX17" fmla="*/ 364071 w 415546"/>
              <a:gd name="connsiteY17" fmla="*/ 297705 h 558010"/>
              <a:gd name="connsiteX18" fmla="*/ 364071 w 415546"/>
              <a:gd name="connsiteY18" fmla="*/ 277479 h 558010"/>
              <a:gd name="connsiteX19" fmla="*/ 48375 w 415546"/>
              <a:gd name="connsiteY19" fmla="*/ 243730 h 558010"/>
              <a:gd name="connsiteX20" fmla="*/ 48375 w 415546"/>
              <a:gd name="connsiteY20" fmla="*/ 263956 h 558010"/>
              <a:gd name="connsiteX21" fmla="*/ 364071 w 415546"/>
              <a:gd name="connsiteY21" fmla="*/ 263956 h 558010"/>
              <a:gd name="connsiteX22" fmla="*/ 364071 w 415546"/>
              <a:gd name="connsiteY22" fmla="*/ 243730 h 558010"/>
              <a:gd name="connsiteX23" fmla="*/ 48375 w 415546"/>
              <a:gd name="connsiteY23" fmla="*/ 209981 h 558010"/>
              <a:gd name="connsiteX24" fmla="*/ 48375 w 415546"/>
              <a:gd name="connsiteY24" fmla="*/ 230207 h 558010"/>
              <a:gd name="connsiteX25" fmla="*/ 364071 w 415546"/>
              <a:gd name="connsiteY25" fmla="*/ 230207 h 558010"/>
              <a:gd name="connsiteX26" fmla="*/ 364071 w 415546"/>
              <a:gd name="connsiteY26" fmla="*/ 209981 h 558010"/>
              <a:gd name="connsiteX27" fmla="*/ 48375 w 415546"/>
              <a:gd name="connsiteY27" fmla="*/ 176232 h 558010"/>
              <a:gd name="connsiteX28" fmla="*/ 48375 w 415546"/>
              <a:gd name="connsiteY28" fmla="*/ 196458 h 558010"/>
              <a:gd name="connsiteX29" fmla="*/ 364071 w 415546"/>
              <a:gd name="connsiteY29" fmla="*/ 196458 h 558010"/>
              <a:gd name="connsiteX30" fmla="*/ 364071 w 415546"/>
              <a:gd name="connsiteY30" fmla="*/ 176232 h 558010"/>
              <a:gd name="connsiteX31" fmla="*/ 48659 w 415546"/>
              <a:gd name="connsiteY31" fmla="*/ 127467 h 558010"/>
              <a:gd name="connsiteX32" fmla="*/ 48659 w 415546"/>
              <a:gd name="connsiteY32" fmla="*/ 152660 h 558010"/>
              <a:gd name="connsiteX33" fmla="*/ 237610 w 415546"/>
              <a:gd name="connsiteY33" fmla="*/ 152660 h 558010"/>
              <a:gd name="connsiteX34" fmla="*/ 237610 w 415546"/>
              <a:gd name="connsiteY34" fmla="*/ 127467 h 558010"/>
              <a:gd name="connsiteX35" fmla="*/ 261338 w 415546"/>
              <a:gd name="connsiteY35" fmla="*/ 30704 h 558010"/>
              <a:gd name="connsiteX36" fmla="*/ 261337 w 415546"/>
              <a:gd name="connsiteY36" fmla="*/ 129116 h 558010"/>
              <a:gd name="connsiteX37" fmla="*/ 288963 w 415546"/>
              <a:gd name="connsiteY37" fmla="*/ 160194 h 558010"/>
              <a:gd name="connsiteX38" fmla="*/ 392555 w 415546"/>
              <a:gd name="connsiteY38" fmla="*/ 161920 h 558010"/>
              <a:gd name="connsiteX39" fmla="*/ 35236 w 415546"/>
              <a:gd name="connsiteY39" fmla="*/ 0 h 558010"/>
              <a:gd name="connsiteX40" fmla="*/ 269998 w 415546"/>
              <a:gd name="connsiteY40" fmla="*/ 0 h 558010"/>
              <a:gd name="connsiteX41" fmla="*/ 415517 w 415546"/>
              <a:gd name="connsiteY41" fmla="*/ 145519 h 558010"/>
              <a:gd name="connsiteX42" fmla="*/ 415517 w 415546"/>
              <a:gd name="connsiteY42" fmla="*/ 378931 h 558010"/>
              <a:gd name="connsiteX43" fmla="*/ 415515 w 415546"/>
              <a:gd name="connsiteY43" fmla="*/ 378929 h 558010"/>
              <a:gd name="connsiteX44" fmla="*/ 409249 w 415546"/>
              <a:gd name="connsiteY44" fmla="*/ 388296 h 558010"/>
              <a:gd name="connsiteX45" fmla="*/ 406086 w 415546"/>
              <a:gd name="connsiteY45" fmla="*/ 387560 h 558010"/>
              <a:gd name="connsiteX46" fmla="*/ 400200 w 415546"/>
              <a:gd name="connsiteY46" fmla="*/ 384813 h 558010"/>
              <a:gd name="connsiteX47" fmla="*/ 357476 w 415546"/>
              <a:gd name="connsiteY47" fmla="*/ 376731 h 558010"/>
              <a:gd name="connsiteX48" fmla="*/ 240958 w 415546"/>
              <a:gd name="connsiteY48" fmla="*/ 493248 h 558010"/>
              <a:gd name="connsiteX49" fmla="*/ 246197 w 415546"/>
              <a:gd name="connsiteY49" fmla="*/ 527897 h 558010"/>
              <a:gd name="connsiteX50" fmla="*/ 249584 w 415546"/>
              <a:gd name="connsiteY50" fmla="*/ 537153 h 558010"/>
              <a:gd name="connsiteX51" fmla="*/ 249312 w 415546"/>
              <a:gd name="connsiteY51" fmla="*/ 537166 h 558010"/>
              <a:gd name="connsiteX52" fmla="*/ 250394 w 415546"/>
              <a:gd name="connsiteY52" fmla="*/ 539182 h 558010"/>
              <a:gd name="connsiteX53" fmla="*/ 250652 w 415546"/>
              <a:gd name="connsiteY53" fmla="*/ 539718 h 558010"/>
              <a:gd name="connsiteX54" fmla="*/ 251593 w 415546"/>
              <a:gd name="connsiteY54" fmla="*/ 542620 h 558010"/>
              <a:gd name="connsiteX55" fmla="*/ 251384 w 415546"/>
              <a:gd name="connsiteY55" fmla="*/ 545166 h 558010"/>
              <a:gd name="connsiteX56" fmla="*/ 250655 w 415546"/>
              <a:gd name="connsiteY56" fmla="*/ 545813 h 558010"/>
              <a:gd name="connsiteX57" fmla="*/ 35236 w 415546"/>
              <a:gd name="connsiteY57" fmla="*/ 545813 h 558010"/>
              <a:gd name="connsiteX58" fmla="*/ 0 w 415546"/>
              <a:gd name="connsiteY58" fmla="*/ 510577 h 558010"/>
              <a:gd name="connsiteX59" fmla="*/ 0 w 415546"/>
              <a:gd name="connsiteY59" fmla="*/ 35236 h 558010"/>
              <a:gd name="connsiteX60" fmla="*/ 35236 w 415546"/>
              <a:gd name="connsiteY60" fmla="*/ 0 h 5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15546" h="558010">
                <a:moveTo>
                  <a:pt x="333382" y="460580"/>
                </a:moveTo>
                <a:lnTo>
                  <a:pt x="385440" y="480804"/>
                </a:lnTo>
                <a:lnTo>
                  <a:pt x="365002" y="492604"/>
                </a:lnTo>
                <a:lnTo>
                  <a:pt x="396199" y="546638"/>
                </a:lnTo>
                <a:lnTo>
                  <a:pt x="376502" y="558010"/>
                </a:lnTo>
                <a:lnTo>
                  <a:pt x="345305" y="503976"/>
                </a:lnTo>
                <a:lnTo>
                  <a:pt x="324868" y="515775"/>
                </a:lnTo>
                <a:close/>
                <a:moveTo>
                  <a:pt x="48375" y="344977"/>
                </a:moveTo>
                <a:lnTo>
                  <a:pt x="48375" y="365203"/>
                </a:lnTo>
                <a:lnTo>
                  <a:pt x="364071" y="365203"/>
                </a:lnTo>
                <a:lnTo>
                  <a:pt x="364071" y="344977"/>
                </a:lnTo>
                <a:close/>
                <a:moveTo>
                  <a:pt x="48375" y="311228"/>
                </a:moveTo>
                <a:lnTo>
                  <a:pt x="48375" y="331454"/>
                </a:lnTo>
                <a:lnTo>
                  <a:pt x="364071" y="331454"/>
                </a:lnTo>
                <a:lnTo>
                  <a:pt x="364071" y="311228"/>
                </a:lnTo>
                <a:close/>
                <a:moveTo>
                  <a:pt x="48375" y="277479"/>
                </a:moveTo>
                <a:lnTo>
                  <a:pt x="48375" y="297705"/>
                </a:lnTo>
                <a:lnTo>
                  <a:pt x="364071" y="297705"/>
                </a:lnTo>
                <a:lnTo>
                  <a:pt x="364071" y="277479"/>
                </a:lnTo>
                <a:close/>
                <a:moveTo>
                  <a:pt x="48375" y="243730"/>
                </a:moveTo>
                <a:lnTo>
                  <a:pt x="48375" y="263956"/>
                </a:lnTo>
                <a:lnTo>
                  <a:pt x="364071" y="263956"/>
                </a:lnTo>
                <a:lnTo>
                  <a:pt x="364071" y="243730"/>
                </a:lnTo>
                <a:close/>
                <a:moveTo>
                  <a:pt x="48375" y="209981"/>
                </a:moveTo>
                <a:lnTo>
                  <a:pt x="48375" y="230207"/>
                </a:lnTo>
                <a:lnTo>
                  <a:pt x="364071" y="230207"/>
                </a:lnTo>
                <a:lnTo>
                  <a:pt x="364071" y="209981"/>
                </a:lnTo>
                <a:close/>
                <a:moveTo>
                  <a:pt x="48375" y="176232"/>
                </a:moveTo>
                <a:lnTo>
                  <a:pt x="48375" y="196458"/>
                </a:lnTo>
                <a:lnTo>
                  <a:pt x="364071" y="196458"/>
                </a:lnTo>
                <a:lnTo>
                  <a:pt x="364071" y="176232"/>
                </a:lnTo>
                <a:close/>
                <a:moveTo>
                  <a:pt x="48659" y="127467"/>
                </a:moveTo>
                <a:lnTo>
                  <a:pt x="48659" y="152660"/>
                </a:lnTo>
                <a:lnTo>
                  <a:pt x="237610" y="152660"/>
                </a:lnTo>
                <a:lnTo>
                  <a:pt x="237610" y="127467"/>
                </a:lnTo>
                <a:close/>
                <a:moveTo>
                  <a:pt x="261338" y="30704"/>
                </a:moveTo>
                <a:cubicBezTo>
                  <a:pt x="261338" y="63509"/>
                  <a:pt x="261337" y="96312"/>
                  <a:pt x="261337" y="129116"/>
                </a:cubicBezTo>
                <a:cubicBezTo>
                  <a:pt x="260706" y="147676"/>
                  <a:pt x="278115" y="158036"/>
                  <a:pt x="288963" y="160194"/>
                </a:cubicBezTo>
                <a:lnTo>
                  <a:pt x="392555" y="161920"/>
                </a:lnTo>
                <a:close/>
                <a:moveTo>
                  <a:pt x="35236" y="0"/>
                </a:moveTo>
                <a:lnTo>
                  <a:pt x="269998" y="0"/>
                </a:lnTo>
                <a:lnTo>
                  <a:pt x="415517" y="145519"/>
                </a:lnTo>
                <a:lnTo>
                  <a:pt x="415517" y="378931"/>
                </a:lnTo>
                <a:lnTo>
                  <a:pt x="415515" y="378929"/>
                </a:lnTo>
                <a:cubicBezTo>
                  <a:pt x="415899" y="385854"/>
                  <a:pt x="412698" y="388327"/>
                  <a:pt x="409249" y="388296"/>
                </a:cubicBezTo>
                <a:lnTo>
                  <a:pt x="406086" y="387560"/>
                </a:lnTo>
                <a:lnTo>
                  <a:pt x="400200" y="384813"/>
                </a:lnTo>
                <a:cubicBezTo>
                  <a:pt x="386971" y="379596"/>
                  <a:pt x="372558" y="376731"/>
                  <a:pt x="357476" y="376731"/>
                </a:cubicBezTo>
                <a:cubicBezTo>
                  <a:pt x="293125" y="376731"/>
                  <a:pt x="240958" y="428897"/>
                  <a:pt x="240958" y="493248"/>
                </a:cubicBezTo>
                <a:cubicBezTo>
                  <a:pt x="240958" y="505314"/>
                  <a:pt x="242792" y="516951"/>
                  <a:pt x="246197" y="527897"/>
                </a:cubicBezTo>
                <a:lnTo>
                  <a:pt x="249584" y="537153"/>
                </a:lnTo>
                <a:lnTo>
                  <a:pt x="249312" y="537166"/>
                </a:lnTo>
                <a:lnTo>
                  <a:pt x="250394" y="539182"/>
                </a:lnTo>
                <a:lnTo>
                  <a:pt x="250652" y="539718"/>
                </a:lnTo>
                <a:lnTo>
                  <a:pt x="251593" y="542620"/>
                </a:lnTo>
                <a:cubicBezTo>
                  <a:pt x="251772" y="543614"/>
                  <a:pt x="251751" y="544525"/>
                  <a:pt x="251384" y="545166"/>
                </a:cubicBezTo>
                <a:lnTo>
                  <a:pt x="250655" y="545813"/>
                </a:lnTo>
                <a:lnTo>
                  <a:pt x="35236" y="545813"/>
                </a:lnTo>
                <a:cubicBezTo>
                  <a:pt x="15775" y="545813"/>
                  <a:pt x="0" y="530038"/>
                  <a:pt x="0" y="510577"/>
                </a:cubicBezTo>
                <a:lnTo>
                  <a:pt x="0" y="35236"/>
                </a:lnTo>
                <a:cubicBezTo>
                  <a:pt x="0" y="15776"/>
                  <a:pt x="15775" y="0"/>
                  <a:pt x="3523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spTree>
    <p:extLst>
      <p:ext uri="{BB962C8B-B14F-4D97-AF65-F5344CB8AC3E}">
        <p14:creationId xmlns:p14="http://schemas.microsoft.com/office/powerpoint/2010/main" val="56192964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D1A33-F7A2-4CC3-909E-CA5C5A9EFFFA}"/>
              </a:ext>
            </a:extLst>
          </p:cNvPr>
          <p:cNvSpPr>
            <a:spLocks noGrp="1"/>
          </p:cNvSpPr>
          <p:nvPr>
            <p:ph type="title"/>
          </p:nvPr>
        </p:nvSpPr>
        <p:spPr/>
        <p:txBody>
          <a:bodyPr/>
          <a:lstStyle/>
          <a:p>
            <a:r>
              <a:rPr lang="en-US"/>
              <a:t>Azure IaaS</a:t>
            </a:r>
            <a:endParaRPr lang="en-US" dirty="0"/>
          </a:p>
        </p:txBody>
      </p:sp>
    </p:spTree>
    <p:extLst>
      <p:ext uri="{BB962C8B-B14F-4D97-AF65-F5344CB8AC3E}">
        <p14:creationId xmlns:p14="http://schemas.microsoft.com/office/powerpoint/2010/main" val="315371296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E866B6-8ED6-4A58-8918-0338EC8A7C0F}"/>
              </a:ext>
            </a:extLst>
          </p:cNvPr>
          <p:cNvPicPr>
            <a:picLocks noChangeAspect="1"/>
          </p:cNvPicPr>
          <p:nvPr/>
        </p:nvPicPr>
        <p:blipFill rotWithShape="1">
          <a:blip r:embed="rId2"/>
          <a:srcRect l="-960" r="-2064"/>
          <a:stretch/>
        </p:blipFill>
        <p:spPr>
          <a:xfrm>
            <a:off x="0" y="0"/>
            <a:ext cx="12436474" cy="6995160"/>
          </a:xfrm>
          <a:prstGeom prst="rect">
            <a:avLst/>
          </a:prstGeom>
          <a:solidFill>
            <a:srgbClr val="002050"/>
          </a:solidFill>
        </p:spPr>
      </p:pic>
    </p:spTree>
    <p:extLst>
      <p:ext uri="{BB962C8B-B14F-4D97-AF65-F5344CB8AC3E}">
        <p14:creationId xmlns:p14="http://schemas.microsoft.com/office/powerpoint/2010/main" val="406440532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re Components of Azure IaaS </a:t>
            </a:r>
          </a:p>
        </p:txBody>
      </p:sp>
      <p:cxnSp>
        <p:nvCxnSpPr>
          <p:cNvPr id="13" name="Straight Connector 12">
            <a:extLst>
              <a:ext uri="{FF2B5EF4-FFF2-40B4-BE49-F238E27FC236}">
                <a16:creationId xmlns:a16="http://schemas.microsoft.com/office/drawing/2014/main" id="{174F844B-FB63-42E3-B595-07243F32D5B0}"/>
              </a:ext>
            </a:extLst>
          </p:cNvPr>
          <p:cNvCxnSpPr>
            <a:cxnSpLocks/>
          </p:cNvCxnSpPr>
          <p:nvPr/>
        </p:nvCxnSpPr>
        <p:spPr>
          <a:xfrm>
            <a:off x="3086922" y="2819607"/>
            <a:ext cx="0" cy="301752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2F9810E9-B3AD-443F-A417-1259CAAC216F}"/>
              </a:ext>
            </a:extLst>
          </p:cNvPr>
          <p:cNvCxnSpPr>
            <a:cxnSpLocks/>
          </p:cNvCxnSpPr>
          <p:nvPr/>
        </p:nvCxnSpPr>
        <p:spPr>
          <a:xfrm>
            <a:off x="6279214" y="2819607"/>
            <a:ext cx="0" cy="301752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2D4C504B-A12D-4A01-B9FC-F1837B5964A7}"/>
              </a:ext>
            </a:extLst>
          </p:cNvPr>
          <p:cNvGrpSpPr/>
          <p:nvPr/>
        </p:nvGrpSpPr>
        <p:grpSpPr>
          <a:xfrm>
            <a:off x="677999" y="1447800"/>
            <a:ext cx="2493655" cy="4038601"/>
            <a:chOff x="677999" y="1447800"/>
            <a:chExt cx="2493655" cy="4038601"/>
          </a:xfrm>
        </p:grpSpPr>
        <p:grpSp>
          <p:nvGrpSpPr>
            <p:cNvPr id="22" name="Group 21">
              <a:extLst>
                <a:ext uri="{FF2B5EF4-FFF2-40B4-BE49-F238E27FC236}">
                  <a16:creationId xmlns:a16="http://schemas.microsoft.com/office/drawing/2014/main" id="{2F015856-21C2-4F54-9D4A-4EC50C402257}"/>
                </a:ext>
              </a:extLst>
            </p:cNvPr>
            <p:cNvGrpSpPr/>
            <p:nvPr/>
          </p:nvGrpSpPr>
          <p:grpSpPr>
            <a:xfrm>
              <a:off x="677999" y="2564964"/>
              <a:ext cx="2493655" cy="2921437"/>
              <a:chOff x="488002" y="2564964"/>
              <a:chExt cx="2797105" cy="2921437"/>
            </a:xfrm>
          </p:grpSpPr>
          <p:sp>
            <p:nvSpPr>
              <p:cNvPr id="71" name="Rectangle 70">
                <a:extLst>
                  <a:ext uri="{FF2B5EF4-FFF2-40B4-BE49-F238E27FC236}">
                    <a16:creationId xmlns:a16="http://schemas.microsoft.com/office/drawing/2014/main" id="{601324E4-6D0A-4E47-A62E-7789D3799510}"/>
                  </a:ext>
                </a:extLst>
              </p:cNvPr>
              <p:cNvSpPr/>
              <p:nvPr/>
            </p:nvSpPr>
            <p:spPr bwMode="auto">
              <a:xfrm>
                <a:off x="488002" y="3022165"/>
                <a:ext cx="2797105" cy="2464236"/>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ts val="1200"/>
                  </a:spcBef>
                  <a:spcAft>
                    <a:spcPct val="0"/>
                  </a:spcAft>
                </a:pPr>
                <a:r>
                  <a:rPr lang="en-IN" sz="2200" dirty="0">
                    <a:solidFill>
                      <a:schemeClr val="tx2"/>
                    </a:solidFill>
                    <a:latin typeface="+mj-lt"/>
                    <a:ea typeface="Segoe UI" pitchFamily="34" charset="0"/>
                    <a:cs typeface="Segoe UI" pitchFamily="34" charset="0"/>
                  </a:rPr>
                  <a:t>Virtual machines</a:t>
                </a:r>
              </a:p>
              <a:p>
                <a:pPr defTabSz="932472" fontAlgn="base">
                  <a:spcBef>
                    <a:spcPts val="1200"/>
                  </a:spcBef>
                  <a:spcAft>
                    <a:spcPct val="0"/>
                  </a:spcAft>
                </a:pPr>
                <a:r>
                  <a:rPr lang="en-IN" sz="2200" dirty="0">
                    <a:solidFill>
                      <a:schemeClr val="tx2"/>
                    </a:solidFill>
                    <a:latin typeface="+mj-lt"/>
                    <a:ea typeface="Segoe UI" pitchFamily="34" charset="0"/>
                    <a:cs typeface="Segoe UI" pitchFamily="34" charset="0"/>
                  </a:rPr>
                  <a:t>Availability sets</a:t>
                </a:r>
              </a:p>
              <a:p>
                <a:pPr defTabSz="932472" fontAlgn="base">
                  <a:spcBef>
                    <a:spcPts val="1200"/>
                  </a:spcBef>
                  <a:spcAft>
                    <a:spcPct val="0"/>
                  </a:spcAft>
                </a:pPr>
                <a:r>
                  <a:rPr lang="en-IN" sz="2200" dirty="0" err="1">
                    <a:solidFill>
                      <a:schemeClr val="tx2"/>
                    </a:solidFill>
                    <a:latin typeface="+mj-lt"/>
                    <a:ea typeface="Segoe UI" pitchFamily="34" charset="0"/>
                    <a:cs typeface="Segoe UI" pitchFamily="34" charset="0"/>
                  </a:rPr>
                  <a:t>VM</a:t>
                </a:r>
                <a:r>
                  <a:rPr lang="en-IN" sz="2200" dirty="0">
                    <a:solidFill>
                      <a:schemeClr val="tx2"/>
                    </a:solidFill>
                    <a:latin typeface="+mj-lt"/>
                    <a:ea typeface="Segoe UI" pitchFamily="34" charset="0"/>
                    <a:cs typeface="Segoe UI" pitchFamily="34" charset="0"/>
                  </a:rPr>
                  <a:t> Scale Sets</a:t>
                </a:r>
              </a:p>
              <a:p>
                <a:pPr defTabSz="932472" fontAlgn="base">
                  <a:spcBef>
                    <a:spcPts val="1200"/>
                  </a:spcBef>
                  <a:spcAft>
                    <a:spcPct val="0"/>
                  </a:spcAft>
                </a:pPr>
                <a:r>
                  <a:rPr lang="en-IN" sz="2200" dirty="0">
                    <a:solidFill>
                      <a:schemeClr val="tx2"/>
                    </a:solidFill>
                    <a:latin typeface="+mj-lt"/>
                    <a:ea typeface="Segoe UI" pitchFamily="34" charset="0"/>
                    <a:cs typeface="Segoe UI" pitchFamily="34" charset="0"/>
                  </a:rPr>
                  <a:t>Etc.</a:t>
                </a:r>
              </a:p>
            </p:txBody>
          </p:sp>
          <p:sp>
            <p:nvSpPr>
              <p:cNvPr id="72" name="Rectangle 71">
                <a:extLst>
                  <a:ext uri="{FF2B5EF4-FFF2-40B4-BE49-F238E27FC236}">
                    <a16:creationId xmlns:a16="http://schemas.microsoft.com/office/drawing/2014/main" id="{965A7441-5811-4FAD-BC0A-3F6AE4A7B8A4}"/>
                  </a:ext>
                </a:extLst>
              </p:cNvPr>
              <p:cNvSpPr/>
              <p:nvPr/>
            </p:nvSpPr>
            <p:spPr bwMode="auto">
              <a:xfrm>
                <a:off x="488002" y="2564964"/>
                <a:ext cx="2797105" cy="45720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r>
                  <a:rPr lang="en-IN" sz="2400" b="1" dirty="0">
                    <a:solidFill>
                      <a:schemeClr val="tx1"/>
                    </a:solidFill>
                    <a:ea typeface="Segoe UI" pitchFamily="34" charset="0"/>
                    <a:cs typeface="Segoe UI Semibold" panose="020B0702040204020203" pitchFamily="34" charset="0"/>
                  </a:rPr>
                  <a:t>Compute</a:t>
                </a:r>
              </a:p>
            </p:txBody>
          </p:sp>
        </p:grpSp>
        <p:grpSp>
          <p:nvGrpSpPr>
            <p:cNvPr id="18" name="Group 17">
              <a:extLst>
                <a:ext uri="{FF2B5EF4-FFF2-40B4-BE49-F238E27FC236}">
                  <a16:creationId xmlns:a16="http://schemas.microsoft.com/office/drawing/2014/main" id="{3B3DEA4C-A5FE-4595-9DB3-40451B6415A3}"/>
                </a:ext>
              </a:extLst>
            </p:cNvPr>
            <p:cNvGrpSpPr/>
            <p:nvPr/>
          </p:nvGrpSpPr>
          <p:grpSpPr>
            <a:xfrm>
              <a:off x="677999" y="1447800"/>
              <a:ext cx="936587" cy="936585"/>
              <a:chOff x="488002" y="1447800"/>
              <a:chExt cx="936587" cy="936585"/>
            </a:xfrm>
          </p:grpSpPr>
          <p:sp>
            <p:nvSpPr>
              <p:cNvPr id="44" name="Oval 43">
                <a:extLst>
                  <a:ext uri="{FF2B5EF4-FFF2-40B4-BE49-F238E27FC236}">
                    <a16:creationId xmlns:a16="http://schemas.microsoft.com/office/drawing/2014/main" id="{EA586F37-24EA-42A0-98E6-940C47A6FF39}"/>
                  </a:ext>
                </a:extLst>
              </p:cNvPr>
              <p:cNvSpPr/>
              <p:nvPr/>
            </p:nvSpPr>
            <p:spPr bwMode="auto">
              <a:xfrm>
                <a:off x="488002" y="1447800"/>
                <a:ext cx="936587" cy="936585"/>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pitchFamily="34" charset="0"/>
                </a:endParaRPr>
              </a:p>
            </p:txBody>
          </p:sp>
          <p:grpSp>
            <p:nvGrpSpPr>
              <p:cNvPr id="138" name="Group 137">
                <a:extLst>
                  <a:ext uri="{FF2B5EF4-FFF2-40B4-BE49-F238E27FC236}">
                    <a16:creationId xmlns:a16="http://schemas.microsoft.com/office/drawing/2014/main" id="{F458FFE2-A3ED-4A1C-8674-40C455FE0F12}"/>
                  </a:ext>
                </a:extLst>
              </p:cNvPr>
              <p:cNvGrpSpPr/>
              <p:nvPr/>
            </p:nvGrpSpPr>
            <p:grpSpPr>
              <a:xfrm>
                <a:off x="643913" y="1739319"/>
                <a:ext cx="624765" cy="353546"/>
                <a:chOff x="4135075" y="3668678"/>
                <a:chExt cx="1282268" cy="725617"/>
              </a:xfrm>
              <a:solidFill>
                <a:schemeClr val="bg1"/>
              </a:solidFill>
            </p:grpSpPr>
            <p:sp>
              <p:nvSpPr>
                <p:cNvPr id="139" name="Rectangle 51">
                  <a:extLst>
                    <a:ext uri="{FF2B5EF4-FFF2-40B4-BE49-F238E27FC236}">
                      <a16:creationId xmlns:a16="http://schemas.microsoft.com/office/drawing/2014/main" id="{6ADA5D43-C5A0-4CE1-BBD1-6D5A33008387}"/>
                    </a:ext>
                  </a:extLst>
                </p:cNvPr>
                <p:cNvSpPr/>
                <p:nvPr/>
              </p:nvSpPr>
              <p:spPr>
                <a:xfrm>
                  <a:off x="5010149" y="3668678"/>
                  <a:ext cx="407194" cy="725617"/>
                </a:xfrm>
                <a:custGeom>
                  <a:avLst/>
                  <a:gdLst/>
                  <a:ahLst/>
                  <a:cxnLst/>
                  <a:rect l="l" t="t" r="r" b="b"/>
                  <a:pathLst>
                    <a:path w="407194" h="725617">
                      <a:moveTo>
                        <a:pt x="203598" y="563693"/>
                      </a:moveTo>
                      <a:cubicBezTo>
                        <a:pt x="190973" y="563693"/>
                        <a:pt x="180738" y="573928"/>
                        <a:pt x="180738" y="586553"/>
                      </a:cubicBezTo>
                      <a:cubicBezTo>
                        <a:pt x="180738" y="599178"/>
                        <a:pt x="190973" y="609413"/>
                        <a:pt x="203598" y="609413"/>
                      </a:cubicBezTo>
                      <a:cubicBezTo>
                        <a:pt x="216223" y="609413"/>
                        <a:pt x="226458" y="599178"/>
                        <a:pt x="226458" y="586553"/>
                      </a:cubicBezTo>
                      <a:cubicBezTo>
                        <a:pt x="226458" y="573928"/>
                        <a:pt x="216223" y="563693"/>
                        <a:pt x="203598" y="563693"/>
                      </a:cubicBezTo>
                      <a:close/>
                      <a:moveTo>
                        <a:pt x="203599" y="462791"/>
                      </a:moveTo>
                      <a:cubicBezTo>
                        <a:pt x="179926" y="462791"/>
                        <a:pt x="160736" y="481981"/>
                        <a:pt x="160736" y="505654"/>
                      </a:cubicBezTo>
                      <a:cubicBezTo>
                        <a:pt x="160736" y="529327"/>
                        <a:pt x="179926" y="548517"/>
                        <a:pt x="203599" y="548517"/>
                      </a:cubicBezTo>
                      <a:cubicBezTo>
                        <a:pt x="227272" y="548517"/>
                        <a:pt x="246462" y="529327"/>
                        <a:pt x="246462" y="505654"/>
                      </a:cubicBezTo>
                      <a:cubicBezTo>
                        <a:pt x="246462" y="481981"/>
                        <a:pt x="227272" y="462791"/>
                        <a:pt x="203599" y="462791"/>
                      </a:cubicBezTo>
                      <a:close/>
                      <a:moveTo>
                        <a:pt x="285109" y="203235"/>
                      </a:moveTo>
                      <a:lnTo>
                        <a:pt x="285109" y="415166"/>
                      </a:lnTo>
                      <a:lnTo>
                        <a:pt x="312541" y="415166"/>
                      </a:lnTo>
                      <a:lnTo>
                        <a:pt x="312541" y="203235"/>
                      </a:lnTo>
                      <a:close/>
                      <a:moveTo>
                        <a:pt x="221624" y="203235"/>
                      </a:moveTo>
                      <a:lnTo>
                        <a:pt x="221624" y="415166"/>
                      </a:lnTo>
                      <a:lnTo>
                        <a:pt x="249056" y="415166"/>
                      </a:lnTo>
                      <a:lnTo>
                        <a:pt x="249056" y="203235"/>
                      </a:lnTo>
                      <a:close/>
                      <a:moveTo>
                        <a:pt x="158140" y="203235"/>
                      </a:moveTo>
                      <a:lnTo>
                        <a:pt x="158140" y="415166"/>
                      </a:lnTo>
                      <a:lnTo>
                        <a:pt x="185572" y="415166"/>
                      </a:lnTo>
                      <a:lnTo>
                        <a:pt x="185572" y="203235"/>
                      </a:lnTo>
                      <a:close/>
                      <a:moveTo>
                        <a:pt x="94656" y="203235"/>
                      </a:moveTo>
                      <a:lnTo>
                        <a:pt x="94656" y="415166"/>
                      </a:lnTo>
                      <a:lnTo>
                        <a:pt x="122088" y="415166"/>
                      </a:lnTo>
                      <a:lnTo>
                        <a:pt x="122088" y="203235"/>
                      </a:lnTo>
                      <a:close/>
                      <a:moveTo>
                        <a:pt x="52985" y="57979"/>
                      </a:moveTo>
                      <a:cubicBezTo>
                        <a:pt x="48053" y="57979"/>
                        <a:pt x="44055" y="61977"/>
                        <a:pt x="44055" y="66909"/>
                      </a:cubicBezTo>
                      <a:lnTo>
                        <a:pt x="44055" y="102627"/>
                      </a:lnTo>
                      <a:cubicBezTo>
                        <a:pt x="44055" y="107559"/>
                        <a:pt x="48053" y="111557"/>
                        <a:pt x="52985" y="111557"/>
                      </a:cubicBezTo>
                      <a:lnTo>
                        <a:pt x="354212" y="111557"/>
                      </a:lnTo>
                      <a:cubicBezTo>
                        <a:pt x="359144" y="111557"/>
                        <a:pt x="363142" y="107559"/>
                        <a:pt x="363142" y="102627"/>
                      </a:cubicBezTo>
                      <a:lnTo>
                        <a:pt x="363142" y="66909"/>
                      </a:lnTo>
                      <a:cubicBezTo>
                        <a:pt x="363142" y="61977"/>
                        <a:pt x="359144" y="57979"/>
                        <a:pt x="354212" y="57979"/>
                      </a:cubicBezTo>
                      <a:close/>
                      <a:moveTo>
                        <a:pt x="20242" y="0"/>
                      </a:moveTo>
                      <a:lnTo>
                        <a:pt x="386952" y="0"/>
                      </a:lnTo>
                      <a:cubicBezTo>
                        <a:pt x="398131" y="0"/>
                        <a:pt x="407194" y="9063"/>
                        <a:pt x="407194" y="20242"/>
                      </a:cubicBezTo>
                      <a:lnTo>
                        <a:pt x="407194" y="690613"/>
                      </a:lnTo>
                      <a:cubicBezTo>
                        <a:pt x="407194" y="701792"/>
                        <a:pt x="398131" y="710855"/>
                        <a:pt x="386952" y="710855"/>
                      </a:cubicBezTo>
                      <a:lnTo>
                        <a:pt x="363141" y="710855"/>
                      </a:lnTo>
                      <a:lnTo>
                        <a:pt x="363141" y="725617"/>
                      </a:lnTo>
                      <a:lnTo>
                        <a:pt x="44054" y="725617"/>
                      </a:lnTo>
                      <a:lnTo>
                        <a:pt x="44054" y="710855"/>
                      </a:lnTo>
                      <a:lnTo>
                        <a:pt x="20242" y="710855"/>
                      </a:lnTo>
                      <a:cubicBezTo>
                        <a:pt x="9063" y="710855"/>
                        <a:pt x="0" y="701792"/>
                        <a:pt x="0" y="690613"/>
                      </a:cubicBezTo>
                      <a:lnTo>
                        <a:pt x="0" y="20242"/>
                      </a:lnTo>
                      <a:cubicBezTo>
                        <a:pt x="0" y="9063"/>
                        <a:pt x="9063" y="0"/>
                        <a:pt x="2024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40" name="Rounded Rectangle 2077">
                  <a:extLst>
                    <a:ext uri="{FF2B5EF4-FFF2-40B4-BE49-F238E27FC236}">
                      <a16:creationId xmlns:a16="http://schemas.microsoft.com/office/drawing/2014/main" id="{81EC15DF-5C05-4630-BA72-7D1030B978EF}"/>
                    </a:ext>
                  </a:extLst>
                </p:cNvPr>
                <p:cNvSpPr/>
                <p:nvPr/>
              </p:nvSpPr>
              <p:spPr>
                <a:xfrm>
                  <a:off x="4135075" y="3668678"/>
                  <a:ext cx="839356" cy="710855"/>
                </a:xfrm>
                <a:custGeom>
                  <a:avLst/>
                  <a:gdLst/>
                  <a:ahLst/>
                  <a:cxnLst/>
                  <a:rect l="l" t="t" r="r" b="b"/>
                  <a:pathLst>
                    <a:path w="839356" h="710855">
                      <a:moveTo>
                        <a:pt x="44797" y="29406"/>
                      </a:moveTo>
                      <a:cubicBezTo>
                        <a:pt x="37209" y="29406"/>
                        <a:pt x="31058" y="35557"/>
                        <a:pt x="31058" y="43145"/>
                      </a:cubicBezTo>
                      <a:lnTo>
                        <a:pt x="31058" y="514899"/>
                      </a:lnTo>
                      <a:cubicBezTo>
                        <a:pt x="31058" y="522487"/>
                        <a:pt x="37209" y="528638"/>
                        <a:pt x="44797" y="528638"/>
                      </a:cubicBezTo>
                      <a:lnTo>
                        <a:pt x="794559" y="528638"/>
                      </a:lnTo>
                      <a:cubicBezTo>
                        <a:pt x="802147" y="528638"/>
                        <a:pt x="808298" y="522487"/>
                        <a:pt x="808298" y="514899"/>
                      </a:cubicBezTo>
                      <a:lnTo>
                        <a:pt x="808298" y="43145"/>
                      </a:lnTo>
                      <a:cubicBezTo>
                        <a:pt x="808298" y="35557"/>
                        <a:pt x="802147" y="29406"/>
                        <a:pt x="794559" y="29406"/>
                      </a:cubicBezTo>
                      <a:close/>
                      <a:moveTo>
                        <a:pt x="16013" y="0"/>
                      </a:moveTo>
                      <a:lnTo>
                        <a:pt x="823343" y="0"/>
                      </a:lnTo>
                      <a:cubicBezTo>
                        <a:pt x="832187" y="0"/>
                        <a:pt x="839356" y="7169"/>
                        <a:pt x="839356" y="16013"/>
                      </a:cubicBezTo>
                      <a:lnTo>
                        <a:pt x="839356" y="565840"/>
                      </a:lnTo>
                      <a:cubicBezTo>
                        <a:pt x="839356" y="574684"/>
                        <a:pt x="832187" y="581853"/>
                        <a:pt x="823343" y="581853"/>
                      </a:cubicBezTo>
                      <a:lnTo>
                        <a:pt x="442538" y="581853"/>
                      </a:lnTo>
                      <a:lnTo>
                        <a:pt x="442538" y="634655"/>
                      </a:lnTo>
                      <a:lnTo>
                        <a:pt x="548844" y="634655"/>
                      </a:lnTo>
                      <a:lnTo>
                        <a:pt x="601231" y="710855"/>
                      </a:lnTo>
                      <a:lnTo>
                        <a:pt x="238125" y="710855"/>
                      </a:lnTo>
                      <a:lnTo>
                        <a:pt x="290513" y="634655"/>
                      </a:lnTo>
                      <a:lnTo>
                        <a:pt x="396818" y="634655"/>
                      </a:lnTo>
                      <a:lnTo>
                        <a:pt x="396818" y="581853"/>
                      </a:lnTo>
                      <a:lnTo>
                        <a:pt x="16013" y="581853"/>
                      </a:lnTo>
                      <a:cubicBezTo>
                        <a:pt x="7169" y="581853"/>
                        <a:pt x="0" y="574684"/>
                        <a:pt x="0" y="565840"/>
                      </a:cubicBezTo>
                      <a:lnTo>
                        <a:pt x="0" y="16013"/>
                      </a:lnTo>
                      <a:cubicBezTo>
                        <a:pt x="0" y="7169"/>
                        <a:pt x="7169" y="0"/>
                        <a:pt x="1601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grpSp>
        </p:grpSp>
      </p:grpSp>
      <p:grpSp>
        <p:nvGrpSpPr>
          <p:cNvPr id="33" name="Group 32">
            <a:extLst>
              <a:ext uri="{FF2B5EF4-FFF2-40B4-BE49-F238E27FC236}">
                <a16:creationId xmlns:a16="http://schemas.microsoft.com/office/drawing/2014/main" id="{4A14FB21-375E-4811-9C6D-9C245C273D43}"/>
              </a:ext>
            </a:extLst>
          </p:cNvPr>
          <p:cNvGrpSpPr/>
          <p:nvPr/>
        </p:nvGrpSpPr>
        <p:grpSpPr>
          <a:xfrm>
            <a:off x="3580924" y="1447800"/>
            <a:ext cx="2612816" cy="4038601"/>
            <a:chOff x="3580924" y="1447800"/>
            <a:chExt cx="2612816" cy="4038601"/>
          </a:xfrm>
        </p:grpSpPr>
        <p:grpSp>
          <p:nvGrpSpPr>
            <p:cNvPr id="24" name="Group 23">
              <a:extLst>
                <a:ext uri="{FF2B5EF4-FFF2-40B4-BE49-F238E27FC236}">
                  <a16:creationId xmlns:a16="http://schemas.microsoft.com/office/drawing/2014/main" id="{743F6904-3599-47FE-AE81-F8647AE9E6A0}"/>
                </a:ext>
              </a:extLst>
            </p:cNvPr>
            <p:cNvGrpSpPr/>
            <p:nvPr/>
          </p:nvGrpSpPr>
          <p:grpSpPr>
            <a:xfrm>
              <a:off x="3580924" y="2564964"/>
              <a:ext cx="2612816" cy="2921437"/>
              <a:chOff x="3390927" y="2564964"/>
              <a:chExt cx="2930767" cy="2921437"/>
            </a:xfrm>
          </p:grpSpPr>
          <p:sp>
            <p:nvSpPr>
              <p:cNvPr id="66" name="Rectangle 65">
                <a:extLst>
                  <a:ext uri="{FF2B5EF4-FFF2-40B4-BE49-F238E27FC236}">
                    <a16:creationId xmlns:a16="http://schemas.microsoft.com/office/drawing/2014/main" id="{25237AB2-A97F-49D7-AF36-AC25BD015121}"/>
                  </a:ext>
                </a:extLst>
              </p:cNvPr>
              <p:cNvSpPr/>
              <p:nvPr/>
            </p:nvSpPr>
            <p:spPr bwMode="auto">
              <a:xfrm>
                <a:off x="3390927" y="3022165"/>
                <a:ext cx="2930767" cy="2464236"/>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ts val="1200"/>
                  </a:spcBef>
                  <a:spcAft>
                    <a:spcPct val="0"/>
                  </a:spcAft>
                </a:pPr>
                <a:r>
                  <a:rPr lang="en-GB" sz="2200" dirty="0">
                    <a:solidFill>
                      <a:schemeClr val="tx2"/>
                    </a:solidFill>
                    <a:latin typeface="+mj-lt"/>
                    <a:cs typeface="Segoe UI" pitchFamily="34" charset="0"/>
                  </a:rPr>
                  <a:t>Disks </a:t>
                </a:r>
                <a:br>
                  <a:rPr lang="en-GB" sz="2200" dirty="0">
                    <a:solidFill>
                      <a:schemeClr val="tx2"/>
                    </a:solidFill>
                    <a:latin typeface="+mj-lt"/>
                    <a:cs typeface="Segoe UI" pitchFamily="34" charset="0"/>
                  </a:rPr>
                </a:br>
                <a:r>
                  <a:rPr lang="en-GB" sz="2200" dirty="0">
                    <a:solidFill>
                      <a:schemeClr val="tx2"/>
                    </a:solidFill>
                    <a:latin typeface="+mj-lt"/>
                    <a:cs typeface="Segoe UI" pitchFamily="34" charset="0"/>
                  </a:rPr>
                  <a:t>(Standard, premium)</a:t>
                </a:r>
              </a:p>
              <a:p>
                <a:pPr defTabSz="932472" fontAlgn="base">
                  <a:spcBef>
                    <a:spcPts val="1200"/>
                  </a:spcBef>
                  <a:spcAft>
                    <a:spcPct val="0"/>
                  </a:spcAft>
                </a:pPr>
                <a:r>
                  <a:rPr lang="en-GB" sz="2200" dirty="0">
                    <a:solidFill>
                      <a:schemeClr val="tx2"/>
                    </a:solidFill>
                    <a:latin typeface="+mj-lt"/>
                    <a:cs typeface="Segoe UI" pitchFamily="34" charset="0"/>
                  </a:rPr>
                  <a:t>Blob storage </a:t>
                </a:r>
                <a:br>
                  <a:rPr lang="en-GB" sz="2200" dirty="0">
                    <a:solidFill>
                      <a:schemeClr val="tx2"/>
                    </a:solidFill>
                    <a:latin typeface="+mj-lt"/>
                    <a:cs typeface="Segoe UI" pitchFamily="34" charset="0"/>
                  </a:rPr>
                </a:br>
                <a:r>
                  <a:rPr lang="en-GB" sz="2200" dirty="0">
                    <a:solidFill>
                      <a:schemeClr val="tx2"/>
                    </a:solidFill>
                    <a:latin typeface="+mj-lt"/>
                    <a:cs typeface="Segoe UI" pitchFamily="34" charset="0"/>
                  </a:rPr>
                  <a:t>(Hot, cool)</a:t>
                </a:r>
              </a:p>
              <a:p>
                <a:pPr defTabSz="932472" fontAlgn="base">
                  <a:spcBef>
                    <a:spcPts val="1200"/>
                  </a:spcBef>
                  <a:spcAft>
                    <a:spcPct val="0"/>
                  </a:spcAft>
                </a:pPr>
                <a:r>
                  <a:rPr lang="en-GB" sz="2200" dirty="0">
                    <a:solidFill>
                      <a:schemeClr val="tx2"/>
                    </a:solidFill>
                    <a:latin typeface="+mj-lt"/>
                    <a:cs typeface="Segoe UI" pitchFamily="34" charset="0"/>
                  </a:rPr>
                  <a:t>Files</a:t>
                </a:r>
              </a:p>
              <a:p>
                <a:pPr defTabSz="932472" fontAlgn="base">
                  <a:spcBef>
                    <a:spcPts val="1200"/>
                  </a:spcBef>
                  <a:spcAft>
                    <a:spcPct val="0"/>
                  </a:spcAft>
                </a:pPr>
                <a:r>
                  <a:rPr lang="en-GB" sz="2200" dirty="0">
                    <a:solidFill>
                      <a:schemeClr val="tx2"/>
                    </a:solidFill>
                    <a:latin typeface="+mj-lt"/>
                    <a:cs typeface="Segoe UI" pitchFamily="34" charset="0"/>
                  </a:rPr>
                  <a:t>Etc.</a:t>
                </a:r>
              </a:p>
            </p:txBody>
          </p:sp>
          <p:sp>
            <p:nvSpPr>
              <p:cNvPr id="70" name="Rectangle 69">
                <a:extLst>
                  <a:ext uri="{FF2B5EF4-FFF2-40B4-BE49-F238E27FC236}">
                    <a16:creationId xmlns:a16="http://schemas.microsoft.com/office/drawing/2014/main" id="{86583082-DA52-4941-AA72-FB411018DCA8}"/>
                  </a:ext>
                </a:extLst>
              </p:cNvPr>
              <p:cNvSpPr/>
              <p:nvPr/>
            </p:nvSpPr>
            <p:spPr bwMode="auto">
              <a:xfrm>
                <a:off x="3390927" y="2564964"/>
                <a:ext cx="2797105" cy="45720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r>
                  <a:rPr lang="en-IN" sz="2400" b="1" dirty="0">
                    <a:solidFill>
                      <a:schemeClr val="tx1"/>
                    </a:solidFill>
                    <a:cs typeface="Segoe UI Semibold" panose="020B0702040204020203" pitchFamily="34" charset="0"/>
                  </a:rPr>
                  <a:t>Storage</a:t>
                </a:r>
              </a:p>
            </p:txBody>
          </p:sp>
        </p:grpSp>
        <p:grpSp>
          <p:nvGrpSpPr>
            <p:cNvPr id="19" name="Group 18">
              <a:extLst>
                <a:ext uri="{FF2B5EF4-FFF2-40B4-BE49-F238E27FC236}">
                  <a16:creationId xmlns:a16="http://schemas.microsoft.com/office/drawing/2014/main" id="{26FD844E-7027-4BD2-8399-5340600C5F7A}"/>
                </a:ext>
              </a:extLst>
            </p:cNvPr>
            <p:cNvGrpSpPr/>
            <p:nvPr/>
          </p:nvGrpSpPr>
          <p:grpSpPr>
            <a:xfrm>
              <a:off x="3580924" y="1447800"/>
              <a:ext cx="936587" cy="936585"/>
              <a:chOff x="3390927" y="1447800"/>
              <a:chExt cx="936587" cy="936585"/>
            </a:xfrm>
          </p:grpSpPr>
          <p:sp>
            <p:nvSpPr>
              <p:cNvPr id="46" name="Oval 45">
                <a:extLst>
                  <a:ext uri="{FF2B5EF4-FFF2-40B4-BE49-F238E27FC236}">
                    <a16:creationId xmlns:a16="http://schemas.microsoft.com/office/drawing/2014/main" id="{1486CE97-7ADB-4019-85BB-90048FD54EA1}"/>
                  </a:ext>
                </a:extLst>
              </p:cNvPr>
              <p:cNvSpPr/>
              <p:nvPr/>
            </p:nvSpPr>
            <p:spPr bwMode="auto">
              <a:xfrm>
                <a:off x="3390927" y="1447800"/>
                <a:ext cx="936587" cy="936585"/>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pitchFamily="34" charset="0"/>
                </a:endParaRPr>
              </a:p>
            </p:txBody>
          </p:sp>
          <p:sp>
            <p:nvSpPr>
              <p:cNvPr id="142" name="Freeform 109">
                <a:extLst>
                  <a:ext uri="{FF2B5EF4-FFF2-40B4-BE49-F238E27FC236}">
                    <a16:creationId xmlns:a16="http://schemas.microsoft.com/office/drawing/2014/main" id="{785C9AD9-649F-4B82-B498-D353B5DABD37}"/>
                  </a:ext>
                </a:extLst>
              </p:cNvPr>
              <p:cNvSpPr/>
              <p:nvPr/>
            </p:nvSpPr>
            <p:spPr>
              <a:xfrm flipH="1">
                <a:off x="3722969" y="1716730"/>
                <a:ext cx="272502" cy="398724"/>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endParaRPr lang="en-US" sz="1799">
                  <a:solidFill>
                    <a:prstClr val="white"/>
                  </a:solidFill>
                </a:endParaRPr>
              </a:p>
            </p:txBody>
          </p:sp>
        </p:grpSp>
      </p:grpSp>
      <p:grpSp>
        <p:nvGrpSpPr>
          <p:cNvPr id="34" name="Group 33">
            <a:extLst>
              <a:ext uri="{FF2B5EF4-FFF2-40B4-BE49-F238E27FC236}">
                <a16:creationId xmlns:a16="http://schemas.microsoft.com/office/drawing/2014/main" id="{1917BEEB-096E-41E9-9D52-CFC8B49CF8F1}"/>
              </a:ext>
            </a:extLst>
          </p:cNvPr>
          <p:cNvGrpSpPr/>
          <p:nvPr/>
        </p:nvGrpSpPr>
        <p:grpSpPr>
          <a:xfrm>
            <a:off x="6483849" y="1447800"/>
            <a:ext cx="2493655" cy="4038601"/>
            <a:chOff x="6483849" y="1447800"/>
            <a:chExt cx="2493655" cy="4038601"/>
          </a:xfrm>
        </p:grpSpPr>
        <p:grpSp>
          <p:nvGrpSpPr>
            <p:cNvPr id="25" name="Group 24">
              <a:extLst>
                <a:ext uri="{FF2B5EF4-FFF2-40B4-BE49-F238E27FC236}">
                  <a16:creationId xmlns:a16="http://schemas.microsoft.com/office/drawing/2014/main" id="{670EFD33-ABF1-4144-9862-B46A35DD2505}"/>
                </a:ext>
              </a:extLst>
            </p:cNvPr>
            <p:cNvGrpSpPr/>
            <p:nvPr/>
          </p:nvGrpSpPr>
          <p:grpSpPr>
            <a:xfrm>
              <a:off x="6483849" y="2564964"/>
              <a:ext cx="2493655" cy="2921437"/>
              <a:chOff x="6293851" y="2564964"/>
              <a:chExt cx="2797105" cy="2921437"/>
            </a:xfrm>
          </p:grpSpPr>
          <p:sp>
            <p:nvSpPr>
              <p:cNvPr id="64" name="Rectangle 63">
                <a:extLst>
                  <a:ext uri="{FF2B5EF4-FFF2-40B4-BE49-F238E27FC236}">
                    <a16:creationId xmlns:a16="http://schemas.microsoft.com/office/drawing/2014/main" id="{5F235738-6856-49A7-B3F0-8D4C11894223}"/>
                  </a:ext>
                </a:extLst>
              </p:cNvPr>
              <p:cNvSpPr/>
              <p:nvPr/>
            </p:nvSpPr>
            <p:spPr bwMode="auto">
              <a:xfrm>
                <a:off x="6293851" y="3022165"/>
                <a:ext cx="2797105" cy="2464236"/>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ts val="1200"/>
                  </a:spcBef>
                  <a:spcAft>
                    <a:spcPct val="0"/>
                  </a:spcAft>
                </a:pPr>
                <a:r>
                  <a:rPr lang="en-GB" sz="2200" dirty="0">
                    <a:solidFill>
                      <a:schemeClr val="tx2"/>
                    </a:solidFill>
                    <a:latin typeface="+mj-lt"/>
                    <a:cs typeface="Segoe UI" pitchFamily="34" charset="0"/>
                  </a:rPr>
                  <a:t>Virtual networks</a:t>
                </a:r>
              </a:p>
              <a:p>
                <a:pPr defTabSz="932472" fontAlgn="base">
                  <a:spcBef>
                    <a:spcPts val="1200"/>
                  </a:spcBef>
                  <a:spcAft>
                    <a:spcPct val="0"/>
                  </a:spcAft>
                </a:pPr>
                <a:r>
                  <a:rPr lang="en-GB" sz="2200" dirty="0">
                    <a:solidFill>
                      <a:schemeClr val="tx2"/>
                    </a:solidFill>
                    <a:latin typeface="+mj-lt"/>
                    <a:cs typeface="Segoe UI" pitchFamily="34" charset="0"/>
                  </a:rPr>
                  <a:t>VPN, ExpressRoute</a:t>
                </a:r>
              </a:p>
              <a:p>
                <a:pPr defTabSz="932472" fontAlgn="base">
                  <a:spcBef>
                    <a:spcPts val="1200"/>
                  </a:spcBef>
                  <a:spcAft>
                    <a:spcPct val="0"/>
                  </a:spcAft>
                </a:pPr>
                <a:r>
                  <a:rPr lang="en-GB" sz="2200" dirty="0">
                    <a:solidFill>
                      <a:schemeClr val="tx2"/>
                    </a:solidFill>
                    <a:latin typeface="+mj-lt"/>
                    <a:cs typeface="Segoe UI" pitchFamily="34" charset="0"/>
                  </a:rPr>
                  <a:t>Load Balancer </a:t>
                </a:r>
              </a:p>
              <a:p>
                <a:pPr defTabSz="932472" fontAlgn="base">
                  <a:spcBef>
                    <a:spcPts val="1200"/>
                  </a:spcBef>
                  <a:spcAft>
                    <a:spcPct val="0"/>
                  </a:spcAft>
                </a:pPr>
                <a:r>
                  <a:rPr lang="en-GB" sz="2200" dirty="0">
                    <a:solidFill>
                      <a:schemeClr val="tx2"/>
                    </a:solidFill>
                    <a:latin typeface="+mj-lt"/>
                    <a:cs typeface="Segoe UI" pitchFamily="34" charset="0"/>
                  </a:rPr>
                  <a:t>DNS, Traffic Manager</a:t>
                </a:r>
              </a:p>
              <a:p>
                <a:pPr defTabSz="932472" fontAlgn="base">
                  <a:spcBef>
                    <a:spcPts val="1200"/>
                  </a:spcBef>
                  <a:spcAft>
                    <a:spcPct val="0"/>
                  </a:spcAft>
                </a:pPr>
                <a:r>
                  <a:rPr lang="en-GB" sz="2200" dirty="0">
                    <a:solidFill>
                      <a:schemeClr val="tx2"/>
                    </a:solidFill>
                    <a:latin typeface="+mj-lt"/>
                    <a:cs typeface="Segoe UI" pitchFamily="34" charset="0"/>
                  </a:rPr>
                  <a:t>Etc.</a:t>
                </a:r>
              </a:p>
            </p:txBody>
          </p:sp>
          <p:sp>
            <p:nvSpPr>
              <p:cNvPr id="65" name="Rectangle 64">
                <a:extLst>
                  <a:ext uri="{FF2B5EF4-FFF2-40B4-BE49-F238E27FC236}">
                    <a16:creationId xmlns:a16="http://schemas.microsoft.com/office/drawing/2014/main" id="{C4253A2C-8F95-468C-8B8B-6D145DAE7FF4}"/>
                  </a:ext>
                </a:extLst>
              </p:cNvPr>
              <p:cNvSpPr/>
              <p:nvPr/>
            </p:nvSpPr>
            <p:spPr bwMode="auto">
              <a:xfrm>
                <a:off x="6293851" y="2564964"/>
                <a:ext cx="2797105" cy="45720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r>
                  <a:rPr lang="en-IN" sz="2400" b="1" dirty="0">
                    <a:solidFill>
                      <a:schemeClr val="tx1"/>
                    </a:solidFill>
                    <a:cs typeface="Segoe UI Semibold" panose="020B0702040204020203" pitchFamily="34" charset="0"/>
                  </a:rPr>
                  <a:t>Networking</a:t>
                </a:r>
              </a:p>
            </p:txBody>
          </p:sp>
        </p:grpSp>
        <p:grpSp>
          <p:nvGrpSpPr>
            <p:cNvPr id="20" name="Group 19">
              <a:extLst>
                <a:ext uri="{FF2B5EF4-FFF2-40B4-BE49-F238E27FC236}">
                  <a16:creationId xmlns:a16="http://schemas.microsoft.com/office/drawing/2014/main" id="{F69273AD-F0B4-4673-8F16-61C4E6D6C26A}"/>
                </a:ext>
              </a:extLst>
            </p:cNvPr>
            <p:cNvGrpSpPr/>
            <p:nvPr/>
          </p:nvGrpSpPr>
          <p:grpSpPr>
            <a:xfrm>
              <a:off x="6483849" y="1447800"/>
              <a:ext cx="936587" cy="936585"/>
              <a:chOff x="6293851" y="1447800"/>
              <a:chExt cx="936587" cy="936585"/>
            </a:xfrm>
          </p:grpSpPr>
          <p:sp>
            <p:nvSpPr>
              <p:cNvPr id="48" name="Oval 47">
                <a:extLst>
                  <a:ext uri="{FF2B5EF4-FFF2-40B4-BE49-F238E27FC236}">
                    <a16:creationId xmlns:a16="http://schemas.microsoft.com/office/drawing/2014/main" id="{6BA24CFD-F125-4004-AED8-443C403AC45E}"/>
                  </a:ext>
                </a:extLst>
              </p:cNvPr>
              <p:cNvSpPr/>
              <p:nvPr/>
            </p:nvSpPr>
            <p:spPr bwMode="auto">
              <a:xfrm>
                <a:off x="6293851" y="1447800"/>
                <a:ext cx="936587" cy="936585"/>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pitchFamily="34" charset="0"/>
                </a:endParaRPr>
              </a:p>
            </p:txBody>
          </p:sp>
          <p:sp>
            <p:nvSpPr>
              <p:cNvPr id="146" name="Oval 46">
                <a:extLst>
                  <a:ext uri="{FF2B5EF4-FFF2-40B4-BE49-F238E27FC236}">
                    <a16:creationId xmlns:a16="http://schemas.microsoft.com/office/drawing/2014/main" id="{48F4B797-FC34-4553-BBC6-395D72A31C8E}"/>
                  </a:ext>
                </a:extLst>
              </p:cNvPr>
              <p:cNvSpPr/>
              <p:nvPr/>
            </p:nvSpPr>
            <p:spPr>
              <a:xfrm>
                <a:off x="6514022" y="1668460"/>
                <a:ext cx="496244" cy="495265"/>
              </a:xfrm>
              <a:custGeom>
                <a:avLst/>
                <a:gdLst/>
                <a:ahLst/>
                <a:cxnLst/>
                <a:rect l="l" t="t" r="r" b="b"/>
                <a:pathLst>
                  <a:path w="3893062" h="3885378">
                    <a:moveTo>
                      <a:pt x="1257971" y="2179459"/>
                    </a:moveTo>
                    <a:lnTo>
                      <a:pt x="770851" y="2249233"/>
                    </a:lnTo>
                    <a:cubicBezTo>
                      <a:pt x="767528" y="2352254"/>
                      <a:pt x="723562" y="2444927"/>
                      <a:pt x="654423" y="2511881"/>
                    </a:cubicBezTo>
                    <a:lnTo>
                      <a:pt x="1861568" y="3326111"/>
                    </a:lnTo>
                    <a:cubicBezTo>
                      <a:pt x="1899424" y="3248918"/>
                      <a:pt x="1962681" y="3186692"/>
                      <a:pt x="2041980" y="3153125"/>
                    </a:cubicBezTo>
                    <a:lnTo>
                      <a:pt x="1703804" y="2393570"/>
                    </a:lnTo>
                    <a:cubicBezTo>
                      <a:pt x="1673698" y="2402446"/>
                      <a:pt x="1641844" y="2406537"/>
                      <a:pt x="1609035" y="2406537"/>
                    </a:cubicBezTo>
                    <a:cubicBezTo>
                      <a:pt x="1452610" y="2406537"/>
                      <a:pt x="1317907" y="2313534"/>
                      <a:pt x="1257971" y="2179459"/>
                    </a:cubicBezTo>
                    <a:close/>
                    <a:moveTo>
                      <a:pt x="1973445" y="2143042"/>
                    </a:moveTo>
                    <a:cubicBezTo>
                      <a:pt x="1952315" y="2208194"/>
                      <a:pt x="1914102" y="2265531"/>
                      <a:pt x="1861545" y="2307073"/>
                    </a:cubicBezTo>
                    <a:lnTo>
                      <a:pt x="2221097" y="3114639"/>
                    </a:lnTo>
                    <a:cubicBezTo>
                      <a:pt x="2301768" y="3117443"/>
                      <a:pt x="2376050" y="3145180"/>
                      <a:pt x="2436089" y="3191021"/>
                    </a:cubicBezTo>
                    <a:lnTo>
                      <a:pt x="3241281" y="2515384"/>
                    </a:lnTo>
                    <a:cubicBezTo>
                      <a:pt x="3168709" y="2447047"/>
                      <a:pt x="3123192" y="2350608"/>
                      <a:pt x="3121471" y="2243481"/>
                    </a:cubicBezTo>
                    <a:close/>
                    <a:moveTo>
                      <a:pt x="3301689" y="829469"/>
                    </a:moveTo>
                    <a:cubicBezTo>
                      <a:pt x="3270843" y="839047"/>
                      <a:pt x="3238085" y="843382"/>
                      <a:pt x="3204314" y="843382"/>
                    </a:cubicBezTo>
                    <a:cubicBezTo>
                      <a:pt x="3172960" y="843382"/>
                      <a:pt x="3142479" y="839646"/>
                      <a:pt x="3113605" y="831319"/>
                    </a:cubicBezTo>
                    <a:lnTo>
                      <a:pt x="1931716" y="1808964"/>
                    </a:lnTo>
                    <a:cubicBezTo>
                      <a:pt x="1962241" y="1854824"/>
                      <a:pt x="1982962" y="1907684"/>
                      <a:pt x="1991087" y="1964615"/>
                    </a:cubicBezTo>
                    <a:lnTo>
                      <a:pt x="3161262" y="2066992"/>
                    </a:lnTo>
                    <a:cubicBezTo>
                      <a:pt x="3216276" y="1951252"/>
                      <a:pt x="3328377" y="1868693"/>
                      <a:pt x="3461198" y="1854297"/>
                    </a:cubicBezTo>
                    <a:close/>
                    <a:moveTo>
                      <a:pt x="957252" y="759133"/>
                    </a:moveTo>
                    <a:cubicBezTo>
                      <a:pt x="926543" y="768102"/>
                      <a:pt x="894074" y="772358"/>
                      <a:pt x="860610" y="772358"/>
                    </a:cubicBezTo>
                    <a:lnTo>
                      <a:pt x="836144" y="769892"/>
                    </a:lnTo>
                    <a:lnTo>
                      <a:pt x="475295" y="1859454"/>
                    </a:lnTo>
                    <a:cubicBezTo>
                      <a:pt x="591806" y="1886355"/>
                      <a:pt x="687848" y="1966347"/>
                      <a:pt x="735741" y="2073147"/>
                    </a:cubicBezTo>
                    <a:lnTo>
                      <a:pt x="1224995" y="2003068"/>
                    </a:lnTo>
                    <a:cubicBezTo>
                      <a:pt x="1228713" y="1879350"/>
                      <a:pt x="1292338" y="1770840"/>
                      <a:pt x="1387747" y="1704564"/>
                    </a:cubicBezTo>
                    <a:close/>
                    <a:moveTo>
                      <a:pt x="1218093" y="531176"/>
                    </a:moveTo>
                    <a:cubicBezTo>
                      <a:pt x="1195805" y="586605"/>
                      <a:pt x="1160978" y="635612"/>
                      <a:pt x="1114448" y="671725"/>
                    </a:cubicBezTo>
                    <a:lnTo>
                      <a:pt x="1555167" y="1639610"/>
                    </a:lnTo>
                    <a:cubicBezTo>
                      <a:pt x="1572611" y="1635461"/>
                      <a:pt x="1590673" y="1634179"/>
                      <a:pt x="1609035" y="1634179"/>
                    </a:cubicBezTo>
                    <a:cubicBezTo>
                      <a:pt x="1678449" y="1634179"/>
                      <a:pt x="1743585" y="1652493"/>
                      <a:pt x="1799019" y="1686057"/>
                    </a:cubicBezTo>
                    <a:lnTo>
                      <a:pt x="2943085" y="739698"/>
                    </a:lnTo>
                    <a:cubicBezTo>
                      <a:pt x="2886968" y="689349"/>
                      <a:pt x="2846872" y="622014"/>
                      <a:pt x="2829379" y="545979"/>
                    </a:cubicBezTo>
                    <a:lnTo>
                      <a:pt x="1218093" y="545979"/>
                    </a:lnTo>
                    <a:close/>
                    <a:moveTo>
                      <a:pt x="860610" y="0"/>
                    </a:moveTo>
                    <a:cubicBezTo>
                      <a:pt x="1067920" y="0"/>
                      <a:pt x="1237076" y="163352"/>
                      <a:pt x="1244999" y="368426"/>
                    </a:cubicBezTo>
                    <a:lnTo>
                      <a:pt x="2829379" y="368426"/>
                    </a:lnTo>
                    <a:cubicBezTo>
                      <a:pt x="2868629" y="197827"/>
                      <a:pt x="3021663" y="71024"/>
                      <a:pt x="3204314" y="71024"/>
                    </a:cubicBezTo>
                    <a:cubicBezTo>
                      <a:pt x="3417595" y="71024"/>
                      <a:pt x="3590493" y="243922"/>
                      <a:pt x="3590493" y="457203"/>
                    </a:cubicBezTo>
                    <a:cubicBezTo>
                      <a:pt x="3590493" y="567840"/>
                      <a:pt x="3543969" y="667610"/>
                      <a:pt x="3468796" y="737359"/>
                    </a:cubicBezTo>
                    <a:lnTo>
                      <a:pt x="3646113" y="1876597"/>
                    </a:lnTo>
                    <a:cubicBezTo>
                      <a:pt x="3790759" y="1931645"/>
                      <a:pt x="3893062" y="2071810"/>
                      <a:pt x="3893062" y="2235870"/>
                    </a:cubicBezTo>
                    <a:cubicBezTo>
                      <a:pt x="3893062" y="2449151"/>
                      <a:pt x="3720164" y="2622049"/>
                      <a:pt x="3506883" y="2622049"/>
                    </a:cubicBezTo>
                    <a:cubicBezTo>
                      <a:pt x="3473157" y="2622049"/>
                      <a:pt x="3440440" y="2617726"/>
                      <a:pt x="3409637" y="2608157"/>
                    </a:cubicBezTo>
                    <a:lnTo>
                      <a:pt x="2550166" y="3329340"/>
                    </a:lnTo>
                    <a:cubicBezTo>
                      <a:pt x="2576964" y="3380048"/>
                      <a:pt x="2591219" y="3437959"/>
                      <a:pt x="2591219" y="3499199"/>
                    </a:cubicBezTo>
                    <a:cubicBezTo>
                      <a:pt x="2591219" y="3712480"/>
                      <a:pt x="2418321" y="3885378"/>
                      <a:pt x="2205040" y="3885378"/>
                    </a:cubicBezTo>
                    <a:cubicBezTo>
                      <a:pt x="1996937" y="3885378"/>
                      <a:pt x="1827279" y="3720773"/>
                      <a:pt x="1820415" y="3514609"/>
                    </a:cubicBezTo>
                    <a:lnTo>
                      <a:pt x="477038" y="2608490"/>
                    </a:lnTo>
                    <a:cubicBezTo>
                      <a:pt x="448098" y="2616715"/>
                      <a:pt x="417576" y="2620462"/>
                      <a:pt x="386179" y="2620462"/>
                    </a:cubicBezTo>
                    <a:cubicBezTo>
                      <a:pt x="172898" y="2620462"/>
                      <a:pt x="0" y="2447564"/>
                      <a:pt x="0" y="2234283"/>
                    </a:cubicBezTo>
                    <a:cubicBezTo>
                      <a:pt x="0" y="2055343"/>
                      <a:pt x="121703" y="1904829"/>
                      <a:pt x="287249" y="1862500"/>
                    </a:cubicBezTo>
                    <a:lnTo>
                      <a:pt x="666256" y="718109"/>
                    </a:lnTo>
                    <a:cubicBezTo>
                      <a:pt x="551163" y="652425"/>
                      <a:pt x="474431" y="528263"/>
                      <a:pt x="474431" y="386179"/>
                    </a:cubicBezTo>
                    <a:cubicBezTo>
                      <a:pt x="474431" y="172898"/>
                      <a:pt x="647329" y="0"/>
                      <a:pt x="86061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200"/>
              </a:p>
            </p:txBody>
          </p:sp>
        </p:grpSp>
      </p:grpSp>
      <p:grpSp>
        <p:nvGrpSpPr>
          <p:cNvPr id="37" name="Group 36">
            <a:extLst>
              <a:ext uri="{FF2B5EF4-FFF2-40B4-BE49-F238E27FC236}">
                <a16:creationId xmlns:a16="http://schemas.microsoft.com/office/drawing/2014/main" id="{BF31B3F1-5F51-4A7D-9483-8FD59017C30C}"/>
              </a:ext>
            </a:extLst>
          </p:cNvPr>
          <p:cNvGrpSpPr/>
          <p:nvPr/>
        </p:nvGrpSpPr>
        <p:grpSpPr>
          <a:xfrm>
            <a:off x="9386772" y="1447800"/>
            <a:ext cx="2493655" cy="4272280"/>
            <a:chOff x="9386772" y="1447800"/>
            <a:chExt cx="2493655" cy="4272280"/>
          </a:xfrm>
        </p:grpSpPr>
        <p:grpSp>
          <p:nvGrpSpPr>
            <p:cNvPr id="26" name="Group 25">
              <a:extLst>
                <a:ext uri="{FF2B5EF4-FFF2-40B4-BE49-F238E27FC236}">
                  <a16:creationId xmlns:a16="http://schemas.microsoft.com/office/drawing/2014/main" id="{04153160-97E0-4A8B-A324-9AEE2390EBB4}"/>
                </a:ext>
              </a:extLst>
            </p:cNvPr>
            <p:cNvGrpSpPr/>
            <p:nvPr/>
          </p:nvGrpSpPr>
          <p:grpSpPr>
            <a:xfrm>
              <a:off x="9386772" y="2564964"/>
              <a:ext cx="2493655" cy="3155116"/>
              <a:chOff x="9196775" y="2564964"/>
              <a:chExt cx="2797105" cy="3155116"/>
            </a:xfrm>
          </p:grpSpPr>
          <p:sp>
            <p:nvSpPr>
              <p:cNvPr id="62" name="Rectangle 61">
                <a:extLst>
                  <a:ext uri="{FF2B5EF4-FFF2-40B4-BE49-F238E27FC236}">
                    <a16:creationId xmlns:a16="http://schemas.microsoft.com/office/drawing/2014/main" id="{6CDA4B31-5C7E-4919-B7DF-3B02509B3B24}"/>
                  </a:ext>
                </a:extLst>
              </p:cNvPr>
              <p:cNvSpPr/>
              <p:nvPr/>
            </p:nvSpPr>
            <p:spPr bwMode="auto">
              <a:xfrm>
                <a:off x="9196775" y="3022165"/>
                <a:ext cx="2797105" cy="2697915"/>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ts val="1200"/>
                  </a:spcBef>
                  <a:spcAft>
                    <a:spcPct val="0"/>
                  </a:spcAft>
                </a:pPr>
                <a:r>
                  <a:rPr lang="en-IN" sz="2200" dirty="0">
                    <a:solidFill>
                      <a:schemeClr val="tx2"/>
                    </a:solidFill>
                    <a:latin typeface="+mj-lt"/>
                    <a:cs typeface="Segoe UI" pitchFamily="34" charset="0"/>
                  </a:rPr>
                  <a:t>Azure Resource Manager (ARM)</a:t>
                </a:r>
              </a:p>
              <a:p>
                <a:pPr defTabSz="932472" fontAlgn="base">
                  <a:spcBef>
                    <a:spcPts val="1200"/>
                  </a:spcBef>
                  <a:spcAft>
                    <a:spcPct val="0"/>
                  </a:spcAft>
                </a:pPr>
                <a:r>
                  <a:rPr lang="en-IN" sz="2200" dirty="0">
                    <a:solidFill>
                      <a:schemeClr val="tx2"/>
                    </a:solidFill>
                    <a:latin typeface="+mj-lt"/>
                    <a:cs typeface="Segoe UI" pitchFamily="34" charset="0"/>
                  </a:rPr>
                  <a:t>Azure Active Directory</a:t>
                </a:r>
              </a:p>
              <a:p>
                <a:pPr defTabSz="932472" fontAlgn="base">
                  <a:spcBef>
                    <a:spcPts val="1200"/>
                  </a:spcBef>
                  <a:spcAft>
                    <a:spcPct val="0"/>
                  </a:spcAft>
                </a:pPr>
                <a:r>
                  <a:rPr lang="en-IN" sz="2200" dirty="0">
                    <a:solidFill>
                      <a:schemeClr val="tx2"/>
                    </a:solidFill>
                    <a:latin typeface="+mj-lt"/>
                    <a:cs typeface="Segoe UI" pitchFamily="34" charset="0"/>
                  </a:rPr>
                  <a:t>Portal</a:t>
                </a:r>
              </a:p>
              <a:p>
                <a:pPr defTabSz="932472" fontAlgn="base">
                  <a:spcBef>
                    <a:spcPts val="1200"/>
                  </a:spcBef>
                  <a:spcAft>
                    <a:spcPct val="0"/>
                  </a:spcAft>
                </a:pPr>
                <a:r>
                  <a:rPr lang="en-IN" sz="2200" dirty="0" err="1">
                    <a:solidFill>
                      <a:schemeClr val="tx2"/>
                    </a:solidFill>
                    <a:latin typeface="+mj-lt"/>
                    <a:cs typeface="Segoe UI" pitchFamily="34" charset="0"/>
                  </a:rPr>
                  <a:t>KeyVault</a:t>
                </a:r>
                <a:r>
                  <a:rPr lang="en-IN" sz="2200" dirty="0">
                    <a:solidFill>
                      <a:schemeClr val="tx2"/>
                    </a:solidFill>
                    <a:latin typeface="+mj-lt"/>
                    <a:cs typeface="Segoe UI" pitchFamily="34" charset="0"/>
                  </a:rPr>
                  <a:t> etc.</a:t>
                </a:r>
              </a:p>
            </p:txBody>
          </p:sp>
          <p:sp>
            <p:nvSpPr>
              <p:cNvPr id="63" name="Rectangle 62">
                <a:extLst>
                  <a:ext uri="{FF2B5EF4-FFF2-40B4-BE49-F238E27FC236}">
                    <a16:creationId xmlns:a16="http://schemas.microsoft.com/office/drawing/2014/main" id="{BF5872D9-F570-47C1-899A-97BEE15CDC2A}"/>
                  </a:ext>
                </a:extLst>
              </p:cNvPr>
              <p:cNvSpPr/>
              <p:nvPr/>
            </p:nvSpPr>
            <p:spPr bwMode="auto">
              <a:xfrm>
                <a:off x="9196775" y="2564964"/>
                <a:ext cx="2797105" cy="45720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r>
                  <a:rPr lang="en-IN" sz="2400" b="1" dirty="0">
                    <a:solidFill>
                      <a:schemeClr val="tx1"/>
                    </a:solidFill>
                    <a:cs typeface="Segoe UI Semibold" panose="020B0702040204020203" pitchFamily="34" charset="0"/>
                  </a:rPr>
                  <a:t>Management</a:t>
                </a:r>
              </a:p>
            </p:txBody>
          </p:sp>
        </p:grpSp>
        <p:grpSp>
          <p:nvGrpSpPr>
            <p:cNvPr id="21" name="Group 20">
              <a:extLst>
                <a:ext uri="{FF2B5EF4-FFF2-40B4-BE49-F238E27FC236}">
                  <a16:creationId xmlns:a16="http://schemas.microsoft.com/office/drawing/2014/main" id="{B7433D0F-A6F6-4A02-9544-3714960A2ED4}"/>
                </a:ext>
              </a:extLst>
            </p:cNvPr>
            <p:cNvGrpSpPr/>
            <p:nvPr/>
          </p:nvGrpSpPr>
          <p:grpSpPr>
            <a:xfrm>
              <a:off x="9386772" y="1447800"/>
              <a:ext cx="936587" cy="936585"/>
              <a:chOff x="9196775" y="1447800"/>
              <a:chExt cx="936587" cy="936585"/>
            </a:xfrm>
          </p:grpSpPr>
          <p:sp>
            <p:nvSpPr>
              <p:cNvPr id="45" name="Oval 44">
                <a:extLst>
                  <a:ext uri="{FF2B5EF4-FFF2-40B4-BE49-F238E27FC236}">
                    <a16:creationId xmlns:a16="http://schemas.microsoft.com/office/drawing/2014/main" id="{0C99EF11-8170-46F6-A537-8F8026412CAC}"/>
                  </a:ext>
                </a:extLst>
              </p:cNvPr>
              <p:cNvSpPr/>
              <p:nvPr/>
            </p:nvSpPr>
            <p:spPr bwMode="auto">
              <a:xfrm>
                <a:off x="9196775" y="1447800"/>
                <a:ext cx="936587" cy="936585"/>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6B553BF1-07E0-4323-BB36-E14AA5D1B98D}"/>
                  </a:ext>
                </a:extLst>
              </p:cNvPr>
              <p:cNvGrpSpPr/>
              <p:nvPr/>
            </p:nvGrpSpPr>
            <p:grpSpPr>
              <a:xfrm>
                <a:off x="9383776" y="1702013"/>
                <a:ext cx="562584" cy="428158"/>
                <a:chOff x="9383776" y="1702013"/>
                <a:chExt cx="562584" cy="428158"/>
              </a:xfrm>
            </p:grpSpPr>
            <p:sp>
              <p:nvSpPr>
                <p:cNvPr id="150" name="Rounded Rectangle 352">
                  <a:extLst>
                    <a:ext uri="{FF2B5EF4-FFF2-40B4-BE49-F238E27FC236}">
                      <a16:creationId xmlns:a16="http://schemas.microsoft.com/office/drawing/2014/main" id="{14D7AC19-FC2D-4FAD-88EA-A0F75EA2C2EF}"/>
                    </a:ext>
                  </a:extLst>
                </p:cNvPr>
                <p:cNvSpPr/>
                <p:nvPr/>
              </p:nvSpPr>
              <p:spPr>
                <a:xfrm>
                  <a:off x="9383776" y="1702013"/>
                  <a:ext cx="562584" cy="428158"/>
                </a:xfrm>
                <a:prstGeom prst="roundRect">
                  <a:avLst>
                    <a:gd name="adj" fmla="val 88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51" name="Round Same Side Corner Rectangle 353">
                  <a:extLst>
                    <a:ext uri="{FF2B5EF4-FFF2-40B4-BE49-F238E27FC236}">
                      <a16:creationId xmlns:a16="http://schemas.microsoft.com/office/drawing/2014/main" id="{D6E26E98-30F0-4F2F-8BB5-5AF0B0FFF6CE}"/>
                    </a:ext>
                  </a:extLst>
                </p:cNvPr>
                <p:cNvSpPr/>
                <p:nvPr/>
              </p:nvSpPr>
              <p:spPr>
                <a:xfrm>
                  <a:off x="9428886" y="1743103"/>
                  <a:ext cx="28750" cy="336235"/>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52" name="Round Same Side Corner Rectangle 354">
                  <a:extLst>
                    <a:ext uri="{FF2B5EF4-FFF2-40B4-BE49-F238E27FC236}">
                      <a16:creationId xmlns:a16="http://schemas.microsoft.com/office/drawing/2014/main" id="{3649777A-FF88-42A6-8434-CA688216BB47}"/>
                    </a:ext>
                  </a:extLst>
                </p:cNvPr>
                <p:cNvSpPr/>
                <p:nvPr/>
              </p:nvSpPr>
              <p:spPr>
                <a:xfrm rot="5400000">
                  <a:off x="9634443" y="1845030"/>
                  <a:ext cx="28750" cy="439864"/>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grpSp>
              <p:nvGrpSpPr>
                <p:cNvPr id="153" name="Group 152">
                  <a:extLst>
                    <a:ext uri="{FF2B5EF4-FFF2-40B4-BE49-F238E27FC236}">
                      <a16:creationId xmlns:a16="http://schemas.microsoft.com/office/drawing/2014/main" id="{D9D1D531-C4BE-4C55-A0A9-3D83FB05620C}"/>
                    </a:ext>
                  </a:extLst>
                </p:cNvPr>
                <p:cNvGrpSpPr/>
                <p:nvPr/>
              </p:nvGrpSpPr>
              <p:grpSpPr>
                <a:xfrm>
                  <a:off x="9474705" y="1814031"/>
                  <a:ext cx="345881" cy="218141"/>
                  <a:chOff x="3505200" y="4105275"/>
                  <a:chExt cx="1676400" cy="1057275"/>
                </a:xfrm>
                <a:noFill/>
              </p:grpSpPr>
              <p:sp>
                <p:nvSpPr>
                  <p:cNvPr id="154" name="Freeform 356">
                    <a:extLst>
                      <a:ext uri="{FF2B5EF4-FFF2-40B4-BE49-F238E27FC236}">
                        <a16:creationId xmlns:a16="http://schemas.microsoft.com/office/drawing/2014/main" id="{726EF360-FA09-4834-9EBB-059253D4C650}"/>
                      </a:ext>
                    </a:extLst>
                  </p:cNvPr>
                  <p:cNvSpPr/>
                  <p:nvPr/>
                </p:nvSpPr>
                <p:spPr>
                  <a:xfrm>
                    <a:off x="3505200" y="4105275"/>
                    <a:ext cx="1476375" cy="990600"/>
                  </a:xfrm>
                  <a:custGeom>
                    <a:avLst/>
                    <a:gdLst>
                      <a:gd name="connsiteX0" fmla="*/ 0 w 1476375"/>
                      <a:gd name="connsiteY0" fmla="*/ 990600 h 990600"/>
                      <a:gd name="connsiteX1" fmla="*/ 390525 w 1476375"/>
                      <a:gd name="connsiteY1" fmla="*/ 295275 h 990600"/>
                      <a:gd name="connsiteX2" fmla="*/ 819150 w 1476375"/>
                      <a:gd name="connsiteY2" fmla="*/ 885825 h 990600"/>
                      <a:gd name="connsiteX3" fmla="*/ 1476375 w 1476375"/>
                      <a:gd name="connsiteY3" fmla="*/ 0 h 990600"/>
                    </a:gdLst>
                    <a:ahLst/>
                    <a:cxnLst>
                      <a:cxn ang="0">
                        <a:pos x="connsiteX0" y="connsiteY0"/>
                      </a:cxn>
                      <a:cxn ang="0">
                        <a:pos x="connsiteX1" y="connsiteY1"/>
                      </a:cxn>
                      <a:cxn ang="0">
                        <a:pos x="connsiteX2" y="connsiteY2"/>
                      </a:cxn>
                      <a:cxn ang="0">
                        <a:pos x="connsiteX3" y="connsiteY3"/>
                      </a:cxn>
                    </a:cxnLst>
                    <a:rect l="l" t="t" r="r" b="b"/>
                    <a:pathLst>
                      <a:path w="1476375" h="990600">
                        <a:moveTo>
                          <a:pt x="0" y="990600"/>
                        </a:moveTo>
                        <a:lnTo>
                          <a:pt x="390525" y="295275"/>
                        </a:lnTo>
                        <a:lnTo>
                          <a:pt x="819150" y="885825"/>
                        </a:lnTo>
                        <a:lnTo>
                          <a:pt x="1476375" y="0"/>
                        </a:lnTo>
                      </a:path>
                    </a:pathLst>
                  </a:custGeom>
                  <a:grpFill/>
                  <a:ln w="25400">
                    <a:solidFill>
                      <a:schemeClr val="accent1"/>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55" name="Freeform 357">
                    <a:extLst>
                      <a:ext uri="{FF2B5EF4-FFF2-40B4-BE49-F238E27FC236}">
                        <a16:creationId xmlns:a16="http://schemas.microsoft.com/office/drawing/2014/main" id="{DE31ACCD-5F10-414D-91F7-FCAA8F815FEE}"/>
                      </a:ext>
                    </a:extLst>
                  </p:cNvPr>
                  <p:cNvSpPr/>
                  <p:nvPr/>
                </p:nvSpPr>
                <p:spPr>
                  <a:xfrm>
                    <a:off x="3667125" y="4155923"/>
                    <a:ext cx="1514475" cy="1006627"/>
                  </a:xfrm>
                  <a:custGeom>
                    <a:avLst/>
                    <a:gdLst>
                      <a:gd name="connsiteX0" fmla="*/ 0 w 1514475"/>
                      <a:gd name="connsiteY0" fmla="*/ 962025 h 962025"/>
                      <a:gd name="connsiteX1" fmla="*/ 533400 w 1514475"/>
                      <a:gd name="connsiteY1" fmla="*/ 0 h 962025"/>
                      <a:gd name="connsiteX2" fmla="*/ 1076325 w 1514475"/>
                      <a:gd name="connsiteY2" fmla="*/ 676275 h 962025"/>
                      <a:gd name="connsiteX3" fmla="*/ 1514475 w 1514475"/>
                      <a:gd name="connsiteY3" fmla="*/ 95250 h 962025"/>
                    </a:gdLst>
                    <a:ahLst/>
                    <a:cxnLst>
                      <a:cxn ang="0">
                        <a:pos x="connsiteX0" y="connsiteY0"/>
                      </a:cxn>
                      <a:cxn ang="0">
                        <a:pos x="connsiteX1" y="connsiteY1"/>
                      </a:cxn>
                      <a:cxn ang="0">
                        <a:pos x="connsiteX2" y="connsiteY2"/>
                      </a:cxn>
                      <a:cxn ang="0">
                        <a:pos x="connsiteX3" y="connsiteY3"/>
                      </a:cxn>
                    </a:cxnLst>
                    <a:rect l="l" t="t" r="r" b="b"/>
                    <a:pathLst>
                      <a:path w="1514475" h="962025">
                        <a:moveTo>
                          <a:pt x="0" y="962025"/>
                        </a:moveTo>
                        <a:lnTo>
                          <a:pt x="533400" y="0"/>
                        </a:lnTo>
                        <a:lnTo>
                          <a:pt x="1076325" y="676275"/>
                        </a:lnTo>
                        <a:lnTo>
                          <a:pt x="1514475" y="95250"/>
                        </a:lnTo>
                      </a:path>
                    </a:pathLst>
                  </a:custGeom>
                  <a:grpFill/>
                  <a:ln w="25400">
                    <a:solidFill>
                      <a:schemeClr val="accent1"/>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grpSp>
          </p:grpSp>
        </p:grpSp>
      </p:grpSp>
      <p:sp>
        <p:nvSpPr>
          <p:cNvPr id="27" name="Rectangle 26">
            <a:extLst>
              <a:ext uri="{FF2B5EF4-FFF2-40B4-BE49-F238E27FC236}">
                <a16:creationId xmlns:a16="http://schemas.microsoft.com/office/drawing/2014/main" id="{BEE6C953-F957-47BF-9CBF-951CBCB4C997}"/>
              </a:ext>
            </a:extLst>
          </p:cNvPr>
          <p:cNvSpPr/>
          <p:nvPr/>
        </p:nvSpPr>
        <p:spPr bwMode="auto">
          <a:xfrm>
            <a:off x="465139" y="1235075"/>
            <a:ext cx="8597838" cy="472588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1263454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nodeType="withEffect">
                                  <p:stCondLst>
                                    <p:cond delay="0"/>
                                  </p:stCondLst>
                                  <p:childTnLst>
                                    <p:animMotion origin="layout" path="M -0.02451 4.92056E-6 L -2.25172E-6 4.92056E-6 " pathEditMode="relative" rAng="0" ptsTypes="AA">
                                      <p:cBhvr>
                                        <p:cTn id="9" dur="1000" fill="hold"/>
                                        <p:tgtEl>
                                          <p:spTgt spid="30"/>
                                        </p:tgtEl>
                                        <p:attrNameLst>
                                          <p:attrName>ppt_x</p:attrName>
                                          <p:attrName>ppt_y</p:attrName>
                                        </p:attrNameLst>
                                      </p:cBhvr>
                                      <p:rCtr x="1225" y="0"/>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nodeType="withEffect">
                                  <p:stCondLst>
                                    <p:cond delay="1000"/>
                                  </p:stCondLst>
                                  <p:childTnLst>
                                    <p:set>
                                      <p:cBhvr>
                                        <p:cTn id="15" dur="1" fill="hold">
                                          <p:stCondLst>
                                            <p:cond delay="0"/>
                                          </p:stCondLst>
                                        </p:cTn>
                                        <p:tgtEl>
                                          <p:spTgt spid="33"/>
                                        </p:tgtEl>
                                        <p:attrNameLst>
                                          <p:attrName>style.visibility</p:attrName>
                                        </p:attrNameLst>
                                      </p:cBhvr>
                                      <p:to>
                                        <p:strVal val="visible"/>
                                      </p:to>
                                    </p:set>
                                    <p:animEffect transition="in" filter="fade">
                                      <p:cBhvr>
                                        <p:cTn id="16" dur="500"/>
                                        <p:tgtEl>
                                          <p:spTgt spid="33"/>
                                        </p:tgtEl>
                                      </p:cBhvr>
                                    </p:animEffect>
                                  </p:childTnLst>
                                </p:cTn>
                              </p:par>
                              <p:par>
                                <p:cTn id="17" presetID="42" presetClass="path" presetSubtype="0" decel="100000" fill="hold" nodeType="withEffect">
                                  <p:stCondLst>
                                    <p:cond delay="500"/>
                                  </p:stCondLst>
                                  <p:childTnLst>
                                    <p:animMotion origin="layout" path="M -0.02451 2.30141E-6 L -3.80393E-7 2.30141E-6 " pathEditMode="relative" rAng="0" ptsTypes="AA">
                                      <p:cBhvr>
                                        <p:cTn id="18" dur="1000" fill="hold"/>
                                        <p:tgtEl>
                                          <p:spTgt spid="33"/>
                                        </p:tgtEl>
                                        <p:attrNameLst>
                                          <p:attrName>ppt_x</p:attrName>
                                          <p:attrName>ppt_y</p:attrName>
                                        </p:attrNameLst>
                                      </p:cBhvr>
                                      <p:rCtr x="1225" y="0"/>
                                    </p:animMotion>
                                  </p:childTnLst>
                                </p:cTn>
                              </p:par>
                            </p:childTnLst>
                          </p:cTn>
                        </p:par>
                        <p:par>
                          <p:cTn id="19" fill="hold">
                            <p:stCondLst>
                              <p:cond delay="2500"/>
                            </p:stCondLst>
                            <p:childTnLst>
                              <p:par>
                                <p:cTn id="20" presetID="10" presetClass="entr" presetSubtype="0" fill="hold" nodeType="afterEffect">
                                  <p:stCondLst>
                                    <p:cond delay="0"/>
                                  </p:stCondLst>
                                  <p:childTnLst>
                                    <p:set>
                                      <p:cBhvr>
                                        <p:cTn id="21" dur="1" fill="hold">
                                          <p:stCondLst>
                                            <p:cond delay="0"/>
                                          </p:stCondLst>
                                        </p:cTn>
                                        <p:tgtEl>
                                          <p:spTgt spid="131"/>
                                        </p:tgtEl>
                                        <p:attrNameLst>
                                          <p:attrName>style.visibility</p:attrName>
                                        </p:attrNameLst>
                                      </p:cBhvr>
                                      <p:to>
                                        <p:strVal val="visible"/>
                                      </p:to>
                                    </p:set>
                                    <p:animEffect transition="in" filter="fade">
                                      <p:cBhvr>
                                        <p:cTn id="22" dur="500"/>
                                        <p:tgtEl>
                                          <p:spTgt spid="131"/>
                                        </p:tgtEl>
                                      </p:cBhvr>
                                    </p:animEffect>
                                  </p:childTnLst>
                                </p:cTn>
                              </p:par>
                              <p:par>
                                <p:cTn id="23" presetID="10" presetClass="entr" presetSubtype="0" fill="hold" nodeType="withEffect">
                                  <p:stCondLst>
                                    <p:cond delay="1500"/>
                                  </p:stCondLst>
                                  <p:childTnLst>
                                    <p:set>
                                      <p:cBhvr>
                                        <p:cTn id="24" dur="1" fill="hold">
                                          <p:stCondLst>
                                            <p:cond delay="0"/>
                                          </p:stCondLst>
                                        </p:cTn>
                                        <p:tgtEl>
                                          <p:spTgt spid="34"/>
                                        </p:tgtEl>
                                        <p:attrNameLst>
                                          <p:attrName>style.visibility</p:attrName>
                                        </p:attrNameLst>
                                      </p:cBhvr>
                                      <p:to>
                                        <p:strVal val="visible"/>
                                      </p:to>
                                    </p:set>
                                    <p:animEffect transition="in" filter="fade">
                                      <p:cBhvr>
                                        <p:cTn id="25" dur="500"/>
                                        <p:tgtEl>
                                          <p:spTgt spid="34"/>
                                        </p:tgtEl>
                                      </p:cBhvr>
                                    </p:animEffect>
                                  </p:childTnLst>
                                </p:cTn>
                              </p:par>
                              <p:par>
                                <p:cTn id="26" presetID="42" presetClass="path" presetSubtype="0" decel="100000" fill="hold" nodeType="withEffect">
                                  <p:stCondLst>
                                    <p:cond delay="1000"/>
                                  </p:stCondLst>
                                  <p:childTnLst>
                                    <p:animMotion origin="layout" path="M -0.02451 -2.04267E-7 L -1.26883E-6 -2.04267E-7 " pathEditMode="relative" rAng="0" ptsTypes="AA">
                                      <p:cBhvr>
                                        <p:cTn id="27" dur="1000" fill="hold"/>
                                        <p:tgtEl>
                                          <p:spTgt spid="34"/>
                                        </p:tgtEl>
                                        <p:attrNameLst>
                                          <p:attrName>ppt_x</p:attrName>
                                          <p:attrName>ppt_y</p:attrName>
                                        </p:attrNameLst>
                                      </p:cBhvr>
                                      <p:rCtr x="1225" y="0"/>
                                    </p:animMotion>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500"/>
                                        <p:tgtEl>
                                          <p:spTgt spid="27"/>
                                        </p:tgtEl>
                                      </p:cBhvr>
                                    </p:animEffect>
                                  </p:childTnLst>
                                </p:cTn>
                              </p:par>
                              <p:par>
                                <p:cTn id="33" presetID="10" presetClass="entr" presetSubtype="0" fill="hold" nodeType="withEffect">
                                  <p:stCondLst>
                                    <p:cond delay="2000"/>
                                  </p:stCondLst>
                                  <p:childTnLst>
                                    <p:set>
                                      <p:cBhvr>
                                        <p:cTn id="34" dur="1" fill="hold">
                                          <p:stCondLst>
                                            <p:cond delay="0"/>
                                          </p:stCondLst>
                                        </p:cTn>
                                        <p:tgtEl>
                                          <p:spTgt spid="37"/>
                                        </p:tgtEl>
                                        <p:attrNameLst>
                                          <p:attrName>style.visibility</p:attrName>
                                        </p:attrNameLst>
                                      </p:cBhvr>
                                      <p:to>
                                        <p:strVal val="visible"/>
                                      </p:to>
                                    </p:set>
                                    <p:animEffect transition="in" filter="fade">
                                      <p:cBhvr>
                                        <p:cTn id="35" dur="500"/>
                                        <p:tgtEl>
                                          <p:spTgt spid="37"/>
                                        </p:tgtEl>
                                      </p:cBhvr>
                                    </p:animEffect>
                                  </p:childTnLst>
                                </p:cTn>
                              </p:par>
                              <p:par>
                                <p:cTn id="36" presetID="42" presetClass="path" presetSubtype="0" decel="100000" fill="hold" nodeType="withEffect">
                                  <p:stCondLst>
                                    <p:cond delay="1500"/>
                                  </p:stCondLst>
                                  <p:childTnLst>
                                    <p:animMotion origin="layout" path="M -0.02451 3.78121E-6 L 5.74419E-7 3.78121E-6 " pathEditMode="relative" rAng="0" ptsTypes="AA">
                                      <p:cBhvr>
                                        <p:cTn id="37" dur="1000" fill="hold"/>
                                        <p:tgtEl>
                                          <p:spTgt spid="37"/>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193A0-5E06-4073-B898-F55264EF61C8}"/>
              </a:ext>
            </a:extLst>
          </p:cNvPr>
          <p:cNvSpPr>
            <a:spLocks noGrp="1"/>
          </p:cNvSpPr>
          <p:nvPr>
            <p:ph type="title"/>
          </p:nvPr>
        </p:nvSpPr>
        <p:spPr/>
        <p:txBody>
          <a:bodyPr/>
          <a:lstStyle/>
          <a:p>
            <a:r>
              <a:rPr lang="en-IN" dirty="0"/>
              <a:t>Virtual Machines</a:t>
            </a:r>
          </a:p>
        </p:txBody>
      </p:sp>
      <p:sp>
        <p:nvSpPr>
          <p:cNvPr id="18" name="Rectangle 17">
            <a:extLst>
              <a:ext uri="{FF2B5EF4-FFF2-40B4-BE49-F238E27FC236}">
                <a16:creationId xmlns:a16="http://schemas.microsoft.com/office/drawing/2014/main" id="{A271C7B6-E7B4-49AC-A3EC-716C385C5EC9}"/>
              </a:ext>
            </a:extLst>
          </p:cNvPr>
          <p:cNvSpPr/>
          <p:nvPr/>
        </p:nvSpPr>
        <p:spPr bwMode="auto">
          <a:xfrm>
            <a:off x="7589520" y="1367444"/>
            <a:ext cx="4381763" cy="4358005"/>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91000D58-C570-4F79-8DCF-9704BC2F6574}"/>
              </a:ext>
            </a:extLst>
          </p:cNvPr>
          <p:cNvGrpSpPr/>
          <p:nvPr/>
        </p:nvGrpSpPr>
        <p:grpSpPr>
          <a:xfrm>
            <a:off x="9100338" y="3854663"/>
            <a:ext cx="1360126" cy="1259954"/>
            <a:chOff x="9100338" y="3854663"/>
            <a:chExt cx="1360126" cy="1259954"/>
          </a:xfrm>
        </p:grpSpPr>
        <p:sp>
          <p:nvSpPr>
            <p:cNvPr id="3" name="Rectangle 2">
              <a:extLst>
                <a:ext uri="{FF2B5EF4-FFF2-40B4-BE49-F238E27FC236}">
                  <a16:creationId xmlns:a16="http://schemas.microsoft.com/office/drawing/2014/main" id="{C98F0632-D515-454C-AE32-1854346E6B03}"/>
                </a:ext>
              </a:extLst>
            </p:cNvPr>
            <p:cNvSpPr/>
            <p:nvPr/>
          </p:nvSpPr>
          <p:spPr bwMode="auto">
            <a:xfrm>
              <a:off x="9200992" y="4468800"/>
              <a:ext cx="1162049" cy="2756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Freeform 75">
              <a:extLst>
                <a:ext uri="{FF2B5EF4-FFF2-40B4-BE49-F238E27FC236}">
                  <a16:creationId xmlns:a16="http://schemas.microsoft.com/office/drawing/2014/main" id="{3E86C8BD-1311-4A55-A505-F858C6B5ED51}"/>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a:solidFill>
                  <a:srgbClr val="000000"/>
                </a:solidFill>
                <a:latin typeface="Segoe UI"/>
              </a:endParaRPr>
            </a:p>
          </p:txBody>
        </p:sp>
      </p:grpSp>
      <p:grpSp>
        <p:nvGrpSpPr>
          <p:cNvPr id="10" name="Group 9">
            <a:extLst>
              <a:ext uri="{FF2B5EF4-FFF2-40B4-BE49-F238E27FC236}">
                <a16:creationId xmlns:a16="http://schemas.microsoft.com/office/drawing/2014/main" id="{22049106-E9B7-4AE6-9842-17D60B6BF59F}"/>
              </a:ext>
            </a:extLst>
          </p:cNvPr>
          <p:cNvGrpSpPr/>
          <p:nvPr/>
        </p:nvGrpSpPr>
        <p:grpSpPr>
          <a:xfrm>
            <a:off x="365138" y="1367444"/>
            <a:ext cx="7002614" cy="4413728"/>
            <a:chOff x="365138" y="1367444"/>
            <a:chExt cx="7002614" cy="4413728"/>
          </a:xfrm>
        </p:grpSpPr>
        <p:sp>
          <p:nvSpPr>
            <p:cNvPr id="20" name="Rectangle 19">
              <a:extLst>
                <a:ext uri="{FF2B5EF4-FFF2-40B4-BE49-F238E27FC236}">
                  <a16:creationId xmlns:a16="http://schemas.microsoft.com/office/drawing/2014/main" id="{2BEB954A-6883-419C-A75C-21CD03256D3E}"/>
                </a:ext>
              </a:extLst>
            </p:cNvPr>
            <p:cNvSpPr/>
            <p:nvPr/>
          </p:nvSpPr>
          <p:spPr>
            <a:xfrm>
              <a:off x="868680" y="1367444"/>
              <a:ext cx="6499072" cy="441372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ct val="0"/>
                </a:spcBef>
                <a:spcAft>
                  <a:spcPts val="2400"/>
                </a:spcAft>
              </a:pPr>
              <a:r>
                <a:rPr lang="en-US" sz="2800" dirty="0">
                  <a:solidFill>
                    <a:schemeClr val="accent1"/>
                  </a:solidFill>
                  <a:latin typeface="+mj-lt"/>
                </a:rPr>
                <a:t>Ubuntu, Red Hat, Windows, SUSE, CoreOS</a:t>
              </a:r>
            </a:p>
            <a:p>
              <a:pPr lvl="0" defTabSz="444500">
                <a:spcBef>
                  <a:spcPct val="0"/>
                </a:spcBef>
                <a:spcAft>
                  <a:spcPts val="2400"/>
                </a:spcAft>
              </a:pPr>
              <a:r>
                <a:rPr lang="en-US" sz="2800" dirty="0">
                  <a:solidFill>
                    <a:schemeClr val="accent1"/>
                  </a:solidFill>
                  <a:latin typeface="+mj-lt"/>
                </a:rPr>
                <a:t>Quick resize through reboot</a:t>
              </a:r>
            </a:p>
            <a:p>
              <a:pPr lvl="0" defTabSz="444500">
                <a:spcBef>
                  <a:spcPct val="0"/>
                </a:spcBef>
                <a:spcAft>
                  <a:spcPts val="2400"/>
                </a:spcAft>
              </a:pPr>
              <a:r>
                <a:rPr lang="en-US" sz="2800" dirty="0">
                  <a:solidFill>
                    <a:schemeClr val="accent1"/>
                  </a:solidFill>
                  <a:latin typeface="+mj-lt"/>
                </a:rPr>
                <a:t>Local temp storage (HDD or SSD)</a:t>
              </a:r>
            </a:p>
            <a:p>
              <a:pPr lvl="0" defTabSz="444500">
                <a:spcBef>
                  <a:spcPct val="0"/>
                </a:spcBef>
                <a:spcAft>
                  <a:spcPts val="2400"/>
                </a:spcAft>
              </a:pPr>
              <a:r>
                <a:rPr lang="en-US" sz="2800" dirty="0">
                  <a:solidFill>
                    <a:schemeClr val="accent1"/>
                  </a:solidFill>
                  <a:latin typeface="+mj-lt"/>
                </a:rPr>
                <a:t>Azure Storage for OS and data disks</a:t>
              </a:r>
            </a:p>
            <a:p>
              <a:pPr lvl="0" defTabSz="444500">
                <a:spcBef>
                  <a:spcPct val="0"/>
                </a:spcBef>
                <a:spcAft>
                  <a:spcPts val="2400"/>
                </a:spcAft>
              </a:pPr>
              <a:r>
                <a:rPr lang="en-US" sz="2800" dirty="0">
                  <a:solidFill>
                    <a:schemeClr val="accent1"/>
                  </a:solidFill>
                  <a:latin typeface="+mj-lt"/>
                </a:rPr>
                <a:t>Hundreds of items in marketplace</a:t>
              </a:r>
            </a:p>
          </p:txBody>
        </p:sp>
        <p:sp>
          <p:nvSpPr>
            <p:cNvPr id="79" name="Graphic 8">
              <a:extLst>
                <a:ext uri="{FF2B5EF4-FFF2-40B4-BE49-F238E27FC236}">
                  <a16:creationId xmlns:a16="http://schemas.microsoft.com/office/drawing/2014/main" id="{195AB7D9-4BCC-4252-A31D-52780BA62B86}"/>
                </a:ext>
              </a:extLst>
            </p:cNvPr>
            <p:cNvSpPr/>
            <p:nvPr/>
          </p:nvSpPr>
          <p:spPr>
            <a:xfrm rot="10800000">
              <a:off x="365138" y="1470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80" name="Graphic 8">
              <a:extLst>
                <a:ext uri="{FF2B5EF4-FFF2-40B4-BE49-F238E27FC236}">
                  <a16:creationId xmlns:a16="http://schemas.microsoft.com/office/drawing/2014/main" id="{104AF5A9-18FA-425C-A0BE-161B0C54F632}"/>
                </a:ext>
              </a:extLst>
            </p:cNvPr>
            <p:cNvSpPr/>
            <p:nvPr/>
          </p:nvSpPr>
          <p:spPr>
            <a:xfrm rot="10800000">
              <a:off x="365138" y="2200711"/>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81" name="Graphic 8">
              <a:extLst>
                <a:ext uri="{FF2B5EF4-FFF2-40B4-BE49-F238E27FC236}">
                  <a16:creationId xmlns:a16="http://schemas.microsoft.com/office/drawing/2014/main" id="{9ACFAD85-F606-4FB8-9C2F-E593EC630B1C}"/>
                </a:ext>
              </a:extLst>
            </p:cNvPr>
            <p:cNvSpPr/>
            <p:nvPr/>
          </p:nvSpPr>
          <p:spPr>
            <a:xfrm rot="10800000">
              <a:off x="365138" y="2930618"/>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82" name="Graphic 8">
              <a:extLst>
                <a:ext uri="{FF2B5EF4-FFF2-40B4-BE49-F238E27FC236}">
                  <a16:creationId xmlns:a16="http://schemas.microsoft.com/office/drawing/2014/main" id="{CE4841F9-7376-4EED-813C-1FD05AF18CCE}"/>
                </a:ext>
              </a:extLst>
            </p:cNvPr>
            <p:cNvSpPr/>
            <p:nvPr/>
          </p:nvSpPr>
          <p:spPr>
            <a:xfrm rot="10800000">
              <a:off x="365138" y="3660525"/>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83" name="Graphic 8">
              <a:extLst>
                <a:ext uri="{FF2B5EF4-FFF2-40B4-BE49-F238E27FC236}">
                  <a16:creationId xmlns:a16="http://schemas.microsoft.com/office/drawing/2014/main" id="{550217B9-1451-445E-94D1-DF4154391543}"/>
                </a:ext>
              </a:extLst>
            </p:cNvPr>
            <p:cNvSpPr/>
            <p:nvPr/>
          </p:nvSpPr>
          <p:spPr>
            <a:xfrm rot="10800000">
              <a:off x="365138" y="4390432"/>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grpSp>
      <p:sp>
        <p:nvSpPr>
          <p:cNvPr id="84" name="Freeform 5">
            <a:extLst>
              <a:ext uri="{FF2B5EF4-FFF2-40B4-BE49-F238E27FC236}">
                <a16:creationId xmlns:a16="http://schemas.microsoft.com/office/drawing/2014/main" id="{FC2D8B82-307E-4CB6-8137-64F049AEC86C}"/>
              </a:ext>
            </a:extLst>
          </p:cNvPr>
          <p:cNvSpPr>
            <a:spLocks/>
          </p:cNvSpPr>
          <p:nvPr/>
        </p:nvSpPr>
        <p:spPr bwMode="auto">
          <a:xfrm>
            <a:off x="7870371" y="1498986"/>
            <a:ext cx="3796910" cy="2011488"/>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383582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35" presetClass="path" presetSubtype="0" decel="100000" fill="hold" nodeType="withEffect">
                                  <p:stCondLst>
                                    <p:cond delay="0"/>
                                  </p:stCondLst>
                                  <p:childTnLst>
                                    <p:animMotion origin="layout" path="M 4.99106E-6 -4.23513E-6 L -0.05285 -4.23513E-6 " pathEditMode="relative" rAng="0" ptsTypes="AA">
                                      <p:cBhvr>
                                        <p:cTn id="9" dur="750" spd="-100000" fill="hold"/>
                                        <p:tgtEl>
                                          <p:spTgt spid="10"/>
                                        </p:tgtEl>
                                        <p:attrNameLst>
                                          <p:attrName>ppt_x</p:attrName>
                                          <p:attrName>ppt_y</p:attrName>
                                        </p:attrNameLst>
                                      </p:cBhvr>
                                      <p:rCtr x="-2642" y="0"/>
                                    </p:animMotion>
                                  </p:childTnLst>
                                </p:cTn>
                              </p:par>
                            </p:childTnLst>
                          </p:cTn>
                        </p:par>
                        <p:par>
                          <p:cTn id="10" fill="hold">
                            <p:stCondLst>
                              <p:cond delay="750"/>
                            </p:stCondLst>
                            <p:childTnLst>
                              <p:par>
                                <p:cTn id="11" presetID="10" presetClass="entr" presetSubtype="0"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childTnLst>
                          </p:cTn>
                        </p:par>
                        <p:par>
                          <p:cTn id="14" fill="hold">
                            <p:stCondLst>
                              <p:cond delay="1250"/>
                            </p:stCondLst>
                            <p:childTnLst>
                              <p:par>
                                <p:cTn id="15" presetID="10" presetClass="entr" presetSubtype="0" fill="hold" grpId="0" nodeType="afterEffect">
                                  <p:stCondLst>
                                    <p:cond delay="0"/>
                                  </p:stCondLst>
                                  <p:childTnLst>
                                    <p:set>
                                      <p:cBhvr>
                                        <p:cTn id="16" dur="1" fill="hold">
                                          <p:stCondLst>
                                            <p:cond delay="0"/>
                                          </p:stCondLst>
                                        </p:cTn>
                                        <p:tgtEl>
                                          <p:spTgt spid="84"/>
                                        </p:tgtEl>
                                        <p:attrNameLst>
                                          <p:attrName>style.visibility</p:attrName>
                                        </p:attrNameLst>
                                      </p:cBhvr>
                                      <p:to>
                                        <p:strVal val="visible"/>
                                      </p:to>
                                    </p:set>
                                    <p:animEffect transition="in" filter="fade">
                                      <p:cBhvr>
                                        <p:cTn id="17" dur="500"/>
                                        <p:tgtEl>
                                          <p:spTgt spid="84"/>
                                        </p:tgtEl>
                                      </p:cBhvr>
                                    </p:animEffect>
                                  </p:childTnLst>
                                </p:cTn>
                              </p:par>
                            </p:childTnLst>
                          </p:cTn>
                        </p:par>
                        <p:par>
                          <p:cTn id="18" fill="hold">
                            <p:stCondLst>
                              <p:cond delay="1750"/>
                            </p:stCondLst>
                            <p:childTnLst>
                              <p:par>
                                <p:cTn id="19" presetID="42"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1000"/>
                                        <p:tgtEl>
                                          <p:spTgt spid="6"/>
                                        </p:tgtEl>
                                      </p:cBhvr>
                                    </p:animEffect>
                                    <p:anim calcmode="lin" valueType="num">
                                      <p:cBhvr>
                                        <p:cTn id="22" dur="1000" fill="hold"/>
                                        <p:tgtEl>
                                          <p:spTgt spid="6"/>
                                        </p:tgtEl>
                                        <p:attrNameLst>
                                          <p:attrName>ppt_x</p:attrName>
                                        </p:attrNameLst>
                                      </p:cBhvr>
                                      <p:tavLst>
                                        <p:tav tm="0">
                                          <p:val>
                                            <p:strVal val="#ppt_x"/>
                                          </p:val>
                                        </p:tav>
                                        <p:tav tm="100000">
                                          <p:val>
                                            <p:strVal val="#ppt_x"/>
                                          </p:val>
                                        </p:tav>
                                      </p:tavLst>
                                    </p:anim>
                                    <p:anim calcmode="lin" valueType="num">
                                      <p:cBhvr>
                                        <p:cTn id="2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8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A9BB4-BA6D-423B-9B7A-AE3CBF7E2A33}"/>
              </a:ext>
            </a:extLst>
          </p:cNvPr>
          <p:cNvSpPr>
            <a:spLocks noGrp="1"/>
          </p:cNvSpPr>
          <p:nvPr>
            <p:ph type="title"/>
          </p:nvPr>
        </p:nvSpPr>
        <p:spPr/>
        <p:txBody>
          <a:bodyPr/>
          <a:lstStyle/>
          <a:p>
            <a:r>
              <a:rPr lang="en-US"/>
              <a:t>Compute Options for all Types of Apps</a:t>
            </a:r>
            <a:endParaRPr lang="en-US" dirty="0"/>
          </a:p>
        </p:txBody>
      </p:sp>
      <p:sp>
        <p:nvSpPr>
          <p:cNvPr id="102" name="Rectangle 101">
            <a:extLst>
              <a:ext uri="{FF2B5EF4-FFF2-40B4-BE49-F238E27FC236}">
                <a16:creationId xmlns:a16="http://schemas.microsoft.com/office/drawing/2014/main" id="{6740A7D8-FBC3-4CA4-A5DD-E7931BACAF04}"/>
              </a:ext>
            </a:extLst>
          </p:cNvPr>
          <p:cNvSpPr/>
          <p:nvPr/>
        </p:nvSpPr>
        <p:spPr bwMode="auto">
          <a:xfrm>
            <a:off x="2720963" y="1922363"/>
            <a:ext cx="1498795" cy="117965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a:solidFill>
                  <a:schemeClr val="accent1"/>
                </a:solidFill>
                <a:ea typeface="Segoe UI" pitchFamily="34" charset="0"/>
                <a:cs typeface="Segoe UI Semibold" panose="020B0702040204020203" pitchFamily="34" charset="0"/>
              </a:rPr>
              <a:t>Burstable</a:t>
            </a:r>
          </a:p>
        </p:txBody>
      </p:sp>
      <p:sp>
        <p:nvSpPr>
          <p:cNvPr id="9" name="Rectangle 8">
            <a:extLst>
              <a:ext uri="{FF2B5EF4-FFF2-40B4-BE49-F238E27FC236}">
                <a16:creationId xmlns:a16="http://schemas.microsoft.com/office/drawing/2014/main" id="{68517F6A-6867-48EB-8AAA-A74F57CA8AC3}"/>
              </a:ext>
            </a:extLst>
          </p:cNvPr>
          <p:cNvSpPr/>
          <p:nvPr/>
        </p:nvSpPr>
        <p:spPr bwMode="auto">
          <a:xfrm>
            <a:off x="457856" y="1922363"/>
            <a:ext cx="2156379" cy="117965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a:solidFill>
                  <a:schemeClr val="accent1"/>
                </a:solidFill>
                <a:ea typeface="Segoe UI" pitchFamily="34" charset="0"/>
                <a:cs typeface="Segoe UI Semibold" panose="020B0702040204020203" pitchFamily="34" charset="0"/>
              </a:rPr>
              <a:t>Entry level</a:t>
            </a:r>
          </a:p>
        </p:txBody>
      </p:sp>
      <p:sp>
        <p:nvSpPr>
          <p:cNvPr id="115" name="Rectangle 114">
            <a:extLst>
              <a:ext uri="{FF2B5EF4-FFF2-40B4-BE49-F238E27FC236}">
                <a16:creationId xmlns:a16="http://schemas.microsoft.com/office/drawing/2014/main" id="{6EF36271-476A-44A1-8AA0-92DCD3C2446E}"/>
              </a:ext>
            </a:extLst>
          </p:cNvPr>
          <p:cNvSpPr/>
          <p:nvPr/>
        </p:nvSpPr>
        <p:spPr bwMode="auto">
          <a:xfrm>
            <a:off x="4326486" y="1922363"/>
            <a:ext cx="3248635" cy="117965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a:solidFill>
                  <a:schemeClr val="accent1"/>
                </a:solidFill>
                <a:ea typeface="Segoe UI" pitchFamily="34" charset="0"/>
                <a:cs typeface="Segoe UI Semibold" panose="020B0702040204020203" pitchFamily="34" charset="0"/>
              </a:rPr>
              <a:t>General Purpose</a:t>
            </a:r>
          </a:p>
        </p:txBody>
      </p:sp>
      <p:sp>
        <p:nvSpPr>
          <p:cNvPr id="134" name="Rectangle 133">
            <a:extLst>
              <a:ext uri="{FF2B5EF4-FFF2-40B4-BE49-F238E27FC236}">
                <a16:creationId xmlns:a16="http://schemas.microsoft.com/office/drawing/2014/main" id="{828783BF-6685-4705-8CDD-236A0B796D6E}"/>
              </a:ext>
            </a:extLst>
          </p:cNvPr>
          <p:cNvSpPr/>
          <p:nvPr/>
        </p:nvSpPr>
        <p:spPr bwMode="auto">
          <a:xfrm>
            <a:off x="10055666" y="1922362"/>
            <a:ext cx="1915672" cy="117965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73152" rIns="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dirty="0">
                <a:solidFill>
                  <a:schemeClr val="accent1"/>
                </a:solidFill>
                <a:ea typeface="Segoe UI" pitchFamily="34" charset="0"/>
                <a:cs typeface="Segoe UI Semibold" panose="020B0702040204020203" pitchFamily="34" charset="0"/>
              </a:rPr>
              <a:t>Storage Optimized</a:t>
            </a:r>
          </a:p>
        </p:txBody>
      </p:sp>
      <p:sp>
        <p:nvSpPr>
          <p:cNvPr id="127" name="Rectangle 126">
            <a:extLst>
              <a:ext uri="{FF2B5EF4-FFF2-40B4-BE49-F238E27FC236}">
                <a16:creationId xmlns:a16="http://schemas.microsoft.com/office/drawing/2014/main" id="{DAD5FE71-B8D1-4559-999C-6CFF6B862AB9}"/>
              </a:ext>
            </a:extLst>
          </p:cNvPr>
          <p:cNvSpPr/>
          <p:nvPr/>
        </p:nvSpPr>
        <p:spPr bwMode="auto">
          <a:xfrm>
            <a:off x="7681849" y="1922362"/>
            <a:ext cx="2267089" cy="117965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a:solidFill>
                  <a:schemeClr val="accent1"/>
                </a:solidFill>
                <a:ea typeface="Segoe UI" pitchFamily="34" charset="0"/>
                <a:cs typeface="Segoe UI Semibold" panose="020B0702040204020203" pitchFamily="34" charset="0"/>
              </a:rPr>
              <a:t>Compute Intensive</a:t>
            </a:r>
          </a:p>
        </p:txBody>
      </p:sp>
      <p:sp>
        <p:nvSpPr>
          <p:cNvPr id="166" name="Freeform: Shape 165">
            <a:extLst>
              <a:ext uri="{FF2B5EF4-FFF2-40B4-BE49-F238E27FC236}">
                <a16:creationId xmlns:a16="http://schemas.microsoft.com/office/drawing/2014/main" id="{F9A6BC9A-6396-40A2-BFE6-30E38F416DCA}"/>
              </a:ext>
            </a:extLst>
          </p:cNvPr>
          <p:cNvSpPr>
            <a:spLocks/>
          </p:cNvSpPr>
          <p:nvPr/>
        </p:nvSpPr>
        <p:spPr bwMode="auto">
          <a:xfrm>
            <a:off x="717925" y="237531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67" name="Freeform: Shape 166">
            <a:extLst>
              <a:ext uri="{FF2B5EF4-FFF2-40B4-BE49-F238E27FC236}">
                <a16:creationId xmlns:a16="http://schemas.microsoft.com/office/drawing/2014/main" id="{7CA208EA-A5F9-4040-9599-D50C6EFEAD6A}"/>
              </a:ext>
            </a:extLst>
          </p:cNvPr>
          <p:cNvSpPr>
            <a:spLocks/>
          </p:cNvSpPr>
          <p:nvPr/>
        </p:nvSpPr>
        <p:spPr bwMode="auto">
          <a:xfrm>
            <a:off x="1678624" y="237531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68" name="Freeform: Shape 167">
            <a:extLst>
              <a:ext uri="{FF2B5EF4-FFF2-40B4-BE49-F238E27FC236}">
                <a16:creationId xmlns:a16="http://schemas.microsoft.com/office/drawing/2014/main" id="{F8087573-22AA-44DC-A352-0ED585CDA5C7}"/>
              </a:ext>
            </a:extLst>
          </p:cNvPr>
          <p:cNvSpPr>
            <a:spLocks/>
          </p:cNvSpPr>
          <p:nvPr/>
        </p:nvSpPr>
        <p:spPr bwMode="auto">
          <a:xfrm>
            <a:off x="3132589" y="237531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69" name="Freeform: Shape 168">
            <a:extLst>
              <a:ext uri="{FF2B5EF4-FFF2-40B4-BE49-F238E27FC236}">
                <a16:creationId xmlns:a16="http://schemas.microsoft.com/office/drawing/2014/main" id="{C32D5F7A-2526-40CE-A9DB-C05AA2B4DA5D}"/>
              </a:ext>
            </a:extLst>
          </p:cNvPr>
          <p:cNvSpPr>
            <a:spLocks/>
          </p:cNvSpPr>
          <p:nvPr/>
        </p:nvSpPr>
        <p:spPr bwMode="auto">
          <a:xfrm>
            <a:off x="4634190" y="237531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70" name="Freeform: Shape 169">
            <a:extLst>
              <a:ext uri="{FF2B5EF4-FFF2-40B4-BE49-F238E27FC236}">
                <a16:creationId xmlns:a16="http://schemas.microsoft.com/office/drawing/2014/main" id="{8C57FD94-7EE8-4FE2-B596-0525906CC30C}"/>
              </a:ext>
            </a:extLst>
          </p:cNvPr>
          <p:cNvSpPr>
            <a:spLocks/>
          </p:cNvSpPr>
          <p:nvPr/>
        </p:nvSpPr>
        <p:spPr bwMode="auto">
          <a:xfrm>
            <a:off x="5613033" y="237531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71" name="Freeform: Shape 170">
            <a:extLst>
              <a:ext uri="{FF2B5EF4-FFF2-40B4-BE49-F238E27FC236}">
                <a16:creationId xmlns:a16="http://schemas.microsoft.com/office/drawing/2014/main" id="{4F7D98AE-8EB5-4D0F-9DA5-F12CE5B1F36B}"/>
              </a:ext>
            </a:extLst>
          </p:cNvPr>
          <p:cNvSpPr>
            <a:spLocks/>
          </p:cNvSpPr>
          <p:nvPr/>
        </p:nvSpPr>
        <p:spPr bwMode="auto">
          <a:xfrm>
            <a:off x="6591875" y="237531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72" name="Freeform: Shape 171">
            <a:extLst>
              <a:ext uri="{FF2B5EF4-FFF2-40B4-BE49-F238E27FC236}">
                <a16:creationId xmlns:a16="http://schemas.microsoft.com/office/drawing/2014/main" id="{5B519324-3E09-482D-8DA6-D8E2DF6863F6}"/>
              </a:ext>
            </a:extLst>
          </p:cNvPr>
          <p:cNvSpPr>
            <a:spLocks/>
          </p:cNvSpPr>
          <p:nvPr/>
        </p:nvSpPr>
        <p:spPr bwMode="auto">
          <a:xfrm>
            <a:off x="7997273" y="237531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73" name="Freeform: Shape 172">
            <a:extLst>
              <a:ext uri="{FF2B5EF4-FFF2-40B4-BE49-F238E27FC236}">
                <a16:creationId xmlns:a16="http://schemas.microsoft.com/office/drawing/2014/main" id="{C006D03E-8590-455B-8DC2-EA687DE5BAD0}"/>
              </a:ext>
            </a:extLst>
          </p:cNvPr>
          <p:cNvSpPr>
            <a:spLocks/>
          </p:cNvSpPr>
          <p:nvPr/>
        </p:nvSpPr>
        <p:spPr bwMode="auto">
          <a:xfrm>
            <a:off x="8957972" y="237531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74" name="Freeform: Shape 173">
            <a:extLst>
              <a:ext uri="{FF2B5EF4-FFF2-40B4-BE49-F238E27FC236}">
                <a16:creationId xmlns:a16="http://schemas.microsoft.com/office/drawing/2014/main" id="{67AE8950-C03E-4109-86A8-BDF947B36248}"/>
              </a:ext>
            </a:extLst>
          </p:cNvPr>
          <p:cNvSpPr>
            <a:spLocks/>
          </p:cNvSpPr>
          <p:nvPr/>
        </p:nvSpPr>
        <p:spPr bwMode="auto">
          <a:xfrm>
            <a:off x="10675731" y="237531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75" name="TextBox 174">
            <a:extLst>
              <a:ext uri="{FF2B5EF4-FFF2-40B4-BE49-F238E27FC236}">
                <a16:creationId xmlns:a16="http://schemas.microsoft.com/office/drawing/2014/main" id="{711803C6-DD94-492A-B6EE-3B80301C65A9}"/>
              </a:ext>
            </a:extLst>
          </p:cNvPr>
          <p:cNvSpPr txBox="1"/>
          <p:nvPr/>
        </p:nvSpPr>
        <p:spPr>
          <a:xfrm>
            <a:off x="3402217" y="2527718"/>
            <a:ext cx="136286" cy="215444"/>
          </a:xfrm>
          <a:prstGeom prst="rect">
            <a:avLst/>
          </a:prstGeom>
          <a:noFill/>
        </p:spPr>
        <p:txBody>
          <a:bodyPr wrap="square" lIns="0" tIns="0" rIns="0" bIns="0" rtlCol="0">
            <a:spAutoFit/>
          </a:bodyPr>
          <a:lstStyle/>
          <a:p>
            <a:pPr defTabSz="932563">
              <a:spcAft>
                <a:spcPts val="600"/>
              </a:spcAft>
              <a:defRPr/>
            </a:pPr>
            <a:r>
              <a:rPr lang="en-US" sz="1400" b="1">
                <a:cs typeface="Segoe UI Semibold" panose="020B0702040204020203" pitchFamily="34" charset="0"/>
              </a:rPr>
              <a:t>B</a:t>
            </a:r>
          </a:p>
        </p:txBody>
      </p:sp>
      <p:sp>
        <p:nvSpPr>
          <p:cNvPr id="176" name="TextBox 175">
            <a:extLst>
              <a:ext uri="{FF2B5EF4-FFF2-40B4-BE49-F238E27FC236}">
                <a16:creationId xmlns:a16="http://schemas.microsoft.com/office/drawing/2014/main" id="{C5F25BDA-D175-4D6A-8A5B-A28F40308DC8}"/>
              </a:ext>
            </a:extLst>
          </p:cNvPr>
          <p:cNvSpPr txBox="1"/>
          <p:nvPr/>
        </p:nvSpPr>
        <p:spPr>
          <a:xfrm>
            <a:off x="980528" y="2527718"/>
            <a:ext cx="150336"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A</a:t>
            </a:r>
          </a:p>
        </p:txBody>
      </p:sp>
      <p:sp>
        <p:nvSpPr>
          <p:cNvPr id="177" name="TextBox 176">
            <a:extLst>
              <a:ext uri="{FF2B5EF4-FFF2-40B4-BE49-F238E27FC236}">
                <a16:creationId xmlns:a16="http://schemas.microsoft.com/office/drawing/2014/main" id="{3841894A-9D42-4761-9427-4300BD4D72D3}"/>
              </a:ext>
            </a:extLst>
          </p:cNvPr>
          <p:cNvSpPr txBox="1"/>
          <p:nvPr/>
        </p:nvSpPr>
        <p:spPr>
          <a:xfrm>
            <a:off x="1792510" y="2527718"/>
            <a:ext cx="447770" cy="215444"/>
          </a:xfrm>
          <a:prstGeom prst="rect">
            <a:avLst/>
          </a:prstGeom>
          <a:noFill/>
        </p:spPr>
        <p:txBody>
          <a:bodyPr wrap="square" lIns="0" tIns="0" rIns="0" bIns="0" rtlCol="0">
            <a:spAutoFit/>
          </a:bodyPr>
          <a:lstStyle/>
          <a:p>
            <a:pPr algn="ctr" defTabSz="932563">
              <a:spcAft>
                <a:spcPts val="600"/>
              </a:spcAft>
              <a:defRPr/>
            </a:pPr>
            <a:r>
              <a:rPr lang="en-US" sz="1400" b="1">
                <a:cs typeface="Segoe UI Semibold" panose="020B0702040204020203" pitchFamily="34" charset="0"/>
              </a:rPr>
              <a:t>Av2</a:t>
            </a:r>
          </a:p>
        </p:txBody>
      </p:sp>
      <p:sp>
        <p:nvSpPr>
          <p:cNvPr id="178" name="TextBox 177">
            <a:extLst>
              <a:ext uri="{FF2B5EF4-FFF2-40B4-BE49-F238E27FC236}">
                <a16:creationId xmlns:a16="http://schemas.microsoft.com/office/drawing/2014/main" id="{A6C48434-DBBB-4440-A4C0-49F1C4D0F26F}"/>
              </a:ext>
            </a:extLst>
          </p:cNvPr>
          <p:cNvSpPr txBox="1"/>
          <p:nvPr/>
        </p:nvSpPr>
        <p:spPr>
          <a:xfrm>
            <a:off x="4891173" y="2527718"/>
            <a:ext cx="161576" cy="215444"/>
          </a:xfrm>
          <a:prstGeom prst="rect">
            <a:avLst/>
          </a:prstGeom>
          <a:noFill/>
        </p:spPr>
        <p:txBody>
          <a:bodyPr wrap="square" lIns="0" tIns="0" rIns="0" bIns="0" rtlCol="0">
            <a:spAutoFit/>
          </a:bodyPr>
          <a:lstStyle/>
          <a:p>
            <a:pPr algn="ctr" defTabSz="932563">
              <a:spcAft>
                <a:spcPts val="600"/>
              </a:spcAft>
              <a:defRPr/>
            </a:pPr>
            <a:r>
              <a:rPr lang="en-US" sz="1400" b="1">
                <a:cs typeface="Segoe UI Semibold" panose="020B0702040204020203" pitchFamily="34" charset="0"/>
              </a:rPr>
              <a:t>D</a:t>
            </a:r>
          </a:p>
        </p:txBody>
      </p:sp>
      <p:sp>
        <p:nvSpPr>
          <p:cNvPr id="179" name="TextBox 178">
            <a:extLst>
              <a:ext uri="{FF2B5EF4-FFF2-40B4-BE49-F238E27FC236}">
                <a16:creationId xmlns:a16="http://schemas.microsoft.com/office/drawing/2014/main" id="{D00371FE-366F-4C0F-B178-A061C684CC05}"/>
              </a:ext>
            </a:extLst>
          </p:cNvPr>
          <p:cNvSpPr txBox="1"/>
          <p:nvPr/>
        </p:nvSpPr>
        <p:spPr>
          <a:xfrm>
            <a:off x="5717557" y="2527718"/>
            <a:ext cx="466494"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Dv2</a:t>
            </a:r>
          </a:p>
        </p:txBody>
      </p:sp>
      <p:sp>
        <p:nvSpPr>
          <p:cNvPr id="180" name="TextBox 179">
            <a:extLst>
              <a:ext uri="{FF2B5EF4-FFF2-40B4-BE49-F238E27FC236}">
                <a16:creationId xmlns:a16="http://schemas.microsoft.com/office/drawing/2014/main" id="{96C195F4-FB78-4AA3-892D-2D770F6A267E}"/>
              </a:ext>
            </a:extLst>
          </p:cNvPr>
          <p:cNvSpPr txBox="1"/>
          <p:nvPr/>
        </p:nvSpPr>
        <p:spPr>
          <a:xfrm>
            <a:off x="6696399" y="2527718"/>
            <a:ext cx="466494"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Dv3</a:t>
            </a:r>
          </a:p>
        </p:txBody>
      </p:sp>
      <p:sp>
        <p:nvSpPr>
          <p:cNvPr id="181" name="TextBox 180">
            <a:extLst>
              <a:ext uri="{FF2B5EF4-FFF2-40B4-BE49-F238E27FC236}">
                <a16:creationId xmlns:a16="http://schemas.microsoft.com/office/drawing/2014/main" id="{12FD8CF0-2F0A-439F-9A97-32D0D7DCF2BE}"/>
              </a:ext>
            </a:extLst>
          </p:cNvPr>
          <p:cNvSpPr txBox="1"/>
          <p:nvPr/>
        </p:nvSpPr>
        <p:spPr>
          <a:xfrm>
            <a:off x="10958707" y="2527718"/>
            <a:ext cx="109590" cy="215444"/>
          </a:xfrm>
          <a:prstGeom prst="rect">
            <a:avLst/>
          </a:prstGeom>
          <a:noFill/>
        </p:spPr>
        <p:txBody>
          <a:bodyPr wrap="squar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defTabSz="932563">
              <a:lnSpc>
                <a:spcPct val="100000"/>
              </a:lnSpc>
              <a:defRPr/>
            </a:pPr>
            <a:r>
              <a:rPr lang="en-US">
                <a:solidFill>
                  <a:schemeClr val="tx1"/>
                </a:solidFill>
                <a:latin typeface="+mn-lt"/>
                <a:cs typeface="Segoe UI Semibold" panose="020B0702040204020203" pitchFamily="34" charset="0"/>
              </a:rPr>
              <a:t>L</a:t>
            </a:r>
          </a:p>
        </p:txBody>
      </p:sp>
      <p:sp>
        <p:nvSpPr>
          <p:cNvPr id="182" name="TextBox 181">
            <a:extLst>
              <a:ext uri="{FF2B5EF4-FFF2-40B4-BE49-F238E27FC236}">
                <a16:creationId xmlns:a16="http://schemas.microsoft.com/office/drawing/2014/main" id="{84A02288-C331-4CAA-9AD3-A56572D4BA4E}"/>
              </a:ext>
            </a:extLst>
          </p:cNvPr>
          <p:cNvSpPr txBox="1"/>
          <p:nvPr/>
        </p:nvSpPr>
        <p:spPr>
          <a:xfrm>
            <a:off x="8278844" y="2527718"/>
            <a:ext cx="112400" cy="215444"/>
          </a:xfrm>
          <a:prstGeom prst="rect">
            <a:avLst/>
          </a:prstGeom>
          <a:noFill/>
        </p:spPr>
        <p:txBody>
          <a:bodyPr wrap="square" lIns="0" tIns="0" rIns="0" bIns="0" rtlCol="0">
            <a:spAutoFit/>
          </a:bodyPr>
          <a:lstStyle/>
          <a:p>
            <a:pPr algn="ctr" defTabSz="932563">
              <a:spcAft>
                <a:spcPts val="600"/>
              </a:spcAft>
              <a:defRPr/>
            </a:pPr>
            <a:r>
              <a:rPr lang="en-US" sz="1400" b="1">
                <a:cs typeface="Segoe UI Semibold" panose="020B0702040204020203" pitchFamily="34" charset="0"/>
              </a:rPr>
              <a:t>F</a:t>
            </a:r>
          </a:p>
        </p:txBody>
      </p:sp>
      <p:sp>
        <p:nvSpPr>
          <p:cNvPr id="183" name="TextBox 182">
            <a:extLst>
              <a:ext uri="{FF2B5EF4-FFF2-40B4-BE49-F238E27FC236}">
                <a16:creationId xmlns:a16="http://schemas.microsoft.com/office/drawing/2014/main" id="{85498521-E36E-4E7F-8E9A-C1EAE06957B6}"/>
              </a:ext>
            </a:extLst>
          </p:cNvPr>
          <p:cNvSpPr txBox="1"/>
          <p:nvPr/>
        </p:nvSpPr>
        <p:spPr>
          <a:xfrm>
            <a:off x="9036006" y="2527718"/>
            <a:ext cx="519474"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Fv2</a:t>
            </a:r>
          </a:p>
        </p:txBody>
      </p:sp>
      <p:sp>
        <p:nvSpPr>
          <p:cNvPr id="184" name="Oval 183">
            <a:extLst>
              <a:ext uri="{FF2B5EF4-FFF2-40B4-BE49-F238E27FC236}">
                <a16:creationId xmlns:a16="http://schemas.microsoft.com/office/drawing/2014/main" id="{CD5CD20F-D0A8-4074-88E4-6143DBECB789}"/>
              </a:ext>
            </a:extLst>
          </p:cNvPr>
          <p:cNvSpPr/>
          <p:nvPr/>
        </p:nvSpPr>
        <p:spPr bwMode="auto">
          <a:xfrm>
            <a:off x="1220668" y="1181654"/>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latin typeface="Segoe UI Semibold" panose="020B0702040204020203" pitchFamily="34" charset="0"/>
              <a:ea typeface="Segoe UI" pitchFamily="34" charset="0"/>
              <a:cs typeface="Segoe UI Semibold" panose="020B0702040204020203" pitchFamily="34" charset="0"/>
            </a:endParaRPr>
          </a:p>
        </p:txBody>
      </p:sp>
      <p:sp>
        <p:nvSpPr>
          <p:cNvPr id="185" name="Oval 184">
            <a:extLst>
              <a:ext uri="{FF2B5EF4-FFF2-40B4-BE49-F238E27FC236}">
                <a16:creationId xmlns:a16="http://schemas.microsoft.com/office/drawing/2014/main" id="{F1D73310-F5C8-4171-A8B4-52DC32FECDE1}"/>
              </a:ext>
            </a:extLst>
          </p:cNvPr>
          <p:cNvSpPr/>
          <p:nvPr/>
        </p:nvSpPr>
        <p:spPr bwMode="auto">
          <a:xfrm>
            <a:off x="3154983" y="1181654"/>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latin typeface="Segoe UI Semibold" panose="020B0702040204020203" pitchFamily="34" charset="0"/>
              <a:ea typeface="Segoe UI" pitchFamily="34" charset="0"/>
              <a:cs typeface="Segoe UI Semibold" panose="020B0702040204020203" pitchFamily="34" charset="0"/>
            </a:endParaRPr>
          </a:p>
        </p:txBody>
      </p:sp>
      <p:sp>
        <p:nvSpPr>
          <p:cNvPr id="186" name="Oval 185">
            <a:extLst>
              <a:ext uri="{FF2B5EF4-FFF2-40B4-BE49-F238E27FC236}">
                <a16:creationId xmlns:a16="http://schemas.microsoft.com/office/drawing/2014/main" id="{FC220FB3-BD57-44DF-91A7-546D4180ADD1}"/>
              </a:ext>
            </a:extLst>
          </p:cNvPr>
          <p:cNvSpPr/>
          <p:nvPr/>
        </p:nvSpPr>
        <p:spPr bwMode="auto">
          <a:xfrm>
            <a:off x="5635426" y="1181654"/>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latin typeface="Segoe UI Semibold" panose="020B0702040204020203" pitchFamily="34" charset="0"/>
              <a:ea typeface="Segoe UI" pitchFamily="34" charset="0"/>
              <a:cs typeface="Segoe UI Semibold" panose="020B0702040204020203" pitchFamily="34" charset="0"/>
            </a:endParaRPr>
          </a:p>
        </p:txBody>
      </p:sp>
      <p:sp>
        <p:nvSpPr>
          <p:cNvPr id="187" name="Oval 186">
            <a:extLst>
              <a:ext uri="{FF2B5EF4-FFF2-40B4-BE49-F238E27FC236}">
                <a16:creationId xmlns:a16="http://schemas.microsoft.com/office/drawing/2014/main" id="{4F27C088-2BBC-453B-A79A-C5D5EF1D20D6}"/>
              </a:ext>
            </a:extLst>
          </p:cNvPr>
          <p:cNvSpPr/>
          <p:nvPr/>
        </p:nvSpPr>
        <p:spPr bwMode="auto">
          <a:xfrm>
            <a:off x="8500016" y="1181654"/>
            <a:ext cx="630754" cy="630752"/>
          </a:xfrm>
          <a:prstGeom prst="ellipse">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latin typeface="Segoe UI Semibold" panose="020B0702040204020203" pitchFamily="34" charset="0"/>
              <a:ea typeface="Segoe UI" pitchFamily="34" charset="0"/>
              <a:cs typeface="Segoe UI Semibold" panose="020B0702040204020203" pitchFamily="34" charset="0"/>
            </a:endParaRPr>
          </a:p>
        </p:txBody>
      </p:sp>
      <p:sp>
        <p:nvSpPr>
          <p:cNvPr id="188" name="Oval 187">
            <a:extLst>
              <a:ext uri="{FF2B5EF4-FFF2-40B4-BE49-F238E27FC236}">
                <a16:creationId xmlns:a16="http://schemas.microsoft.com/office/drawing/2014/main" id="{897D531A-891E-4D48-A842-C15D08DB13B3}"/>
              </a:ext>
            </a:extLst>
          </p:cNvPr>
          <p:cNvSpPr/>
          <p:nvPr/>
        </p:nvSpPr>
        <p:spPr bwMode="auto">
          <a:xfrm>
            <a:off x="10698125" y="1181654"/>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latin typeface="Segoe UI Semibold" panose="020B0702040204020203" pitchFamily="34" charset="0"/>
              <a:ea typeface="Segoe UI" pitchFamily="34" charset="0"/>
              <a:cs typeface="Segoe UI Semibold" panose="020B0702040204020203" pitchFamily="34" charset="0"/>
            </a:endParaRPr>
          </a:p>
        </p:txBody>
      </p:sp>
      <p:grpSp>
        <p:nvGrpSpPr>
          <p:cNvPr id="69" name="Group 68">
            <a:extLst>
              <a:ext uri="{FF2B5EF4-FFF2-40B4-BE49-F238E27FC236}">
                <a16:creationId xmlns:a16="http://schemas.microsoft.com/office/drawing/2014/main" id="{468BAB93-DE12-4727-8F91-40394D6EF6FC}"/>
              </a:ext>
            </a:extLst>
          </p:cNvPr>
          <p:cNvGrpSpPr/>
          <p:nvPr/>
        </p:nvGrpSpPr>
        <p:grpSpPr>
          <a:xfrm>
            <a:off x="1324150" y="1359156"/>
            <a:ext cx="423790" cy="275748"/>
            <a:chOff x="-1068897" y="4454889"/>
            <a:chExt cx="827088" cy="538163"/>
          </a:xfrm>
          <a:solidFill>
            <a:schemeClr val="bg1"/>
          </a:solidFill>
        </p:grpSpPr>
        <p:sp>
          <p:nvSpPr>
            <p:cNvPr id="193" name="Laptop Part 6">
              <a:extLst>
                <a:ext uri="{FF2B5EF4-FFF2-40B4-BE49-F238E27FC236}">
                  <a16:creationId xmlns:a16="http://schemas.microsoft.com/office/drawing/2014/main" id="{716212EA-CD03-4411-8A08-38F09564B6C0}"/>
                </a:ext>
              </a:extLst>
            </p:cNvPr>
            <p:cNvSpPr>
              <a:spLocks/>
            </p:cNvSpPr>
            <p:nvPr/>
          </p:nvSpPr>
          <p:spPr bwMode="auto">
            <a:xfrm>
              <a:off x="-1068897" y="4932727"/>
              <a:ext cx="827088" cy="60325"/>
            </a:xfrm>
            <a:custGeom>
              <a:avLst/>
              <a:gdLst>
                <a:gd name="T0" fmla="*/ 2735 w 2735"/>
                <a:gd name="T1" fmla="*/ 91 h 198"/>
                <a:gd name="T2" fmla="*/ 2645 w 2735"/>
                <a:gd name="T3" fmla="*/ 198 h 198"/>
                <a:gd name="T4" fmla="*/ 91 w 2735"/>
                <a:gd name="T5" fmla="*/ 198 h 198"/>
                <a:gd name="T6" fmla="*/ 0 w 2735"/>
                <a:gd name="T7" fmla="*/ 91 h 198"/>
                <a:gd name="T8" fmla="*/ 91 w 2735"/>
                <a:gd name="T9" fmla="*/ 0 h 198"/>
                <a:gd name="T10" fmla="*/ 2647 w 2735"/>
                <a:gd name="T11" fmla="*/ 0 h 198"/>
                <a:gd name="T12" fmla="*/ 2735 w 2735"/>
                <a:gd name="T13" fmla="*/ 91 h 198"/>
              </a:gdLst>
              <a:ahLst/>
              <a:cxnLst>
                <a:cxn ang="0">
                  <a:pos x="T0" y="T1"/>
                </a:cxn>
                <a:cxn ang="0">
                  <a:pos x="T2" y="T3"/>
                </a:cxn>
                <a:cxn ang="0">
                  <a:pos x="T4" y="T5"/>
                </a:cxn>
                <a:cxn ang="0">
                  <a:pos x="T6" y="T7"/>
                </a:cxn>
                <a:cxn ang="0">
                  <a:pos x="T8" y="T9"/>
                </a:cxn>
                <a:cxn ang="0">
                  <a:pos x="T10" y="T11"/>
                </a:cxn>
                <a:cxn ang="0">
                  <a:pos x="T12" y="T13"/>
                </a:cxn>
              </a:cxnLst>
              <a:rect l="0" t="0" r="r" b="b"/>
              <a:pathLst>
                <a:path w="2735" h="198">
                  <a:moveTo>
                    <a:pt x="2735" y="91"/>
                  </a:moveTo>
                  <a:cubicBezTo>
                    <a:pt x="2735" y="142"/>
                    <a:pt x="2695" y="181"/>
                    <a:pt x="2645" y="198"/>
                  </a:cubicBezTo>
                  <a:lnTo>
                    <a:pt x="91" y="198"/>
                  </a:lnTo>
                  <a:cubicBezTo>
                    <a:pt x="40" y="184"/>
                    <a:pt x="0" y="142"/>
                    <a:pt x="0" y="91"/>
                  </a:cubicBezTo>
                  <a:cubicBezTo>
                    <a:pt x="0" y="40"/>
                    <a:pt x="40" y="0"/>
                    <a:pt x="91" y="0"/>
                  </a:cubicBezTo>
                  <a:lnTo>
                    <a:pt x="2647" y="0"/>
                  </a:lnTo>
                  <a:cubicBezTo>
                    <a:pt x="2695" y="0"/>
                    <a:pt x="2735" y="43"/>
                    <a:pt x="2735" y="91"/>
                  </a:cubicBezTo>
                  <a:close/>
                </a:path>
              </a:pathLst>
            </a:custGeom>
            <a:grp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400">
                <a:latin typeface="Segoe UI Semibold" panose="020B0702040204020203" pitchFamily="34" charset="0"/>
                <a:cs typeface="Segoe UI Semibold" panose="020B0702040204020203" pitchFamily="34" charset="0"/>
              </a:endParaRPr>
            </a:p>
          </p:txBody>
        </p:sp>
        <p:sp>
          <p:nvSpPr>
            <p:cNvPr id="194" name="Laptop Part 5">
              <a:extLst>
                <a:ext uri="{FF2B5EF4-FFF2-40B4-BE49-F238E27FC236}">
                  <a16:creationId xmlns:a16="http://schemas.microsoft.com/office/drawing/2014/main" id="{14C3BD04-BE9E-4698-927B-1E773813C58B}"/>
                </a:ext>
              </a:extLst>
            </p:cNvPr>
            <p:cNvSpPr>
              <a:spLocks/>
            </p:cNvSpPr>
            <p:nvPr/>
          </p:nvSpPr>
          <p:spPr bwMode="auto">
            <a:xfrm>
              <a:off x="-1018097" y="4454889"/>
              <a:ext cx="727075" cy="477838"/>
            </a:xfrm>
            <a:custGeom>
              <a:avLst/>
              <a:gdLst>
                <a:gd name="T0" fmla="*/ 2263 w 2401"/>
                <a:gd name="T1" fmla="*/ 1583 h 1583"/>
                <a:gd name="T2" fmla="*/ 135 w 2401"/>
                <a:gd name="T3" fmla="*/ 1583 h 1583"/>
                <a:gd name="T4" fmla="*/ 0 w 2401"/>
                <a:gd name="T5" fmla="*/ 1448 h 1583"/>
                <a:gd name="T6" fmla="*/ 0 w 2401"/>
                <a:gd name="T7" fmla="*/ 136 h 1583"/>
                <a:gd name="T8" fmla="*/ 135 w 2401"/>
                <a:gd name="T9" fmla="*/ 0 h 1583"/>
                <a:gd name="T10" fmla="*/ 2266 w 2401"/>
                <a:gd name="T11" fmla="*/ 0 h 1583"/>
                <a:gd name="T12" fmla="*/ 2401 w 2401"/>
                <a:gd name="T13" fmla="*/ 136 h 1583"/>
                <a:gd name="T14" fmla="*/ 2401 w 2401"/>
                <a:gd name="T15" fmla="*/ 1448 h 1583"/>
                <a:gd name="T16" fmla="*/ 2263 w 2401"/>
                <a:gd name="T17" fmla="*/ 1583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1" h="1583">
                  <a:moveTo>
                    <a:pt x="2263" y="1583"/>
                  </a:moveTo>
                  <a:lnTo>
                    <a:pt x="135" y="1583"/>
                  </a:lnTo>
                  <a:cubicBezTo>
                    <a:pt x="62" y="1583"/>
                    <a:pt x="0" y="1524"/>
                    <a:pt x="0" y="1448"/>
                  </a:cubicBezTo>
                  <a:lnTo>
                    <a:pt x="0" y="136"/>
                  </a:lnTo>
                  <a:cubicBezTo>
                    <a:pt x="0" y="62"/>
                    <a:pt x="59" y="0"/>
                    <a:pt x="135" y="0"/>
                  </a:cubicBezTo>
                  <a:lnTo>
                    <a:pt x="2266" y="0"/>
                  </a:lnTo>
                  <a:cubicBezTo>
                    <a:pt x="2339" y="0"/>
                    <a:pt x="2401" y="59"/>
                    <a:pt x="2401" y="136"/>
                  </a:cubicBezTo>
                  <a:lnTo>
                    <a:pt x="2401" y="1448"/>
                  </a:lnTo>
                  <a:cubicBezTo>
                    <a:pt x="2401" y="1522"/>
                    <a:pt x="2326" y="1582"/>
                    <a:pt x="2263" y="1583"/>
                  </a:cubicBezTo>
                  <a:close/>
                </a:path>
              </a:pathLst>
            </a:custGeom>
            <a:grp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400">
                <a:latin typeface="Segoe UI Semibold" panose="020B0702040204020203" pitchFamily="34" charset="0"/>
                <a:cs typeface="Segoe UI Semibold" panose="020B0702040204020203" pitchFamily="34" charset="0"/>
              </a:endParaRPr>
            </a:p>
          </p:txBody>
        </p:sp>
        <p:sp>
          <p:nvSpPr>
            <p:cNvPr id="195" name="Laptop Part 4">
              <a:extLst>
                <a:ext uri="{FF2B5EF4-FFF2-40B4-BE49-F238E27FC236}">
                  <a16:creationId xmlns:a16="http://schemas.microsoft.com/office/drawing/2014/main" id="{120AF68D-52F2-4A48-A094-0BC9DBA89019}"/>
                </a:ext>
              </a:extLst>
            </p:cNvPr>
            <p:cNvSpPr>
              <a:spLocks noChangeArrowheads="1"/>
            </p:cNvSpPr>
            <p:nvPr/>
          </p:nvSpPr>
          <p:spPr bwMode="auto">
            <a:xfrm>
              <a:off x="-983172" y="4497752"/>
              <a:ext cx="647700" cy="393700"/>
            </a:xfrm>
            <a:prstGeom prst="rect">
              <a:avLst/>
            </a:prstGeom>
            <a:solidFill>
              <a:schemeClr val="accent1"/>
            </a:solidFill>
            <a:ln w="0">
              <a:noFill/>
              <a:prstDash val="solid"/>
              <a:miter lim="800000"/>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400">
                <a:latin typeface="Segoe UI Semibold" panose="020B0702040204020203" pitchFamily="34" charset="0"/>
                <a:cs typeface="Segoe UI Semibold" panose="020B0702040204020203" pitchFamily="34" charset="0"/>
              </a:endParaRPr>
            </a:p>
          </p:txBody>
        </p:sp>
        <p:sp>
          <p:nvSpPr>
            <p:cNvPr id="196" name="Laptop Part 3">
              <a:extLst>
                <a:ext uri="{FF2B5EF4-FFF2-40B4-BE49-F238E27FC236}">
                  <a16:creationId xmlns:a16="http://schemas.microsoft.com/office/drawing/2014/main" id="{B4F41E9A-EC4A-45B4-85E4-C5768E075CAA}"/>
                </a:ext>
              </a:extLst>
            </p:cNvPr>
            <p:cNvSpPr>
              <a:spLocks/>
            </p:cNvSpPr>
            <p:nvPr/>
          </p:nvSpPr>
          <p:spPr bwMode="auto">
            <a:xfrm>
              <a:off x="-1068897" y="4924789"/>
              <a:ext cx="827088" cy="50800"/>
            </a:xfrm>
            <a:custGeom>
              <a:avLst/>
              <a:gdLst>
                <a:gd name="T0" fmla="*/ 2738 w 2738"/>
                <a:gd name="T1" fmla="*/ 85 h 170"/>
                <a:gd name="T2" fmla="*/ 2653 w 2738"/>
                <a:gd name="T3" fmla="*/ 170 h 170"/>
                <a:gd name="T4" fmla="*/ 85 w 2738"/>
                <a:gd name="T5" fmla="*/ 170 h 170"/>
                <a:gd name="T6" fmla="*/ 0 w 2738"/>
                <a:gd name="T7" fmla="*/ 85 h 170"/>
                <a:gd name="T8" fmla="*/ 85 w 2738"/>
                <a:gd name="T9" fmla="*/ 0 h 170"/>
                <a:gd name="T10" fmla="*/ 2653 w 2738"/>
                <a:gd name="T11" fmla="*/ 0 h 170"/>
                <a:gd name="T12" fmla="*/ 2738 w 2738"/>
                <a:gd name="T13" fmla="*/ 85 h 170"/>
              </a:gdLst>
              <a:ahLst/>
              <a:cxnLst>
                <a:cxn ang="0">
                  <a:pos x="T0" y="T1"/>
                </a:cxn>
                <a:cxn ang="0">
                  <a:pos x="T2" y="T3"/>
                </a:cxn>
                <a:cxn ang="0">
                  <a:pos x="T4" y="T5"/>
                </a:cxn>
                <a:cxn ang="0">
                  <a:pos x="T6" y="T7"/>
                </a:cxn>
                <a:cxn ang="0">
                  <a:pos x="T8" y="T9"/>
                </a:cxn>
                <a:cxn ang="0">
                  <a:pos x="T10" y="T11"/>
                </a:cxn>
                <a:cxn ang="0">
                  <a:pos x="T12" y="T13"/>
                </a:cxn>
              </a:cxnLst>
              <a:rect l="0" t="0" r="r" b="b"/>
              <a:pathLst>
                <a:path w="2738" h="170">
                  <a:moveTo>
                    <a:pt x="2738" y="85"/>
                  </a:moveTo>
                  <a:cubicBezTo>
                    <a:pt x="2738" y="133"/>
                    <a:pt x="2701" y="170"/>
                    <a:pt x="2653" y="170"/>
                  </a:cubicBezTo>
                  <a:lnTo>
                    <a:pt x="85" y="170"/>
                  </a:lnTo>
                  <a:cubicBezTo>
                    <a:pt x="37" y="170"/>
                    <a:pt x="0" y="133"/>
                    <a:pt x="0" y="85"/>
                  </a:cubicBezTo>
                  <a:cubicBezTo>
                    <a:pt x="0" y="37"/>
                    <a:pt x="37" y="0"/>
                    <a:pt x="85" y="0"/>
                  </a:cubicBezTo>
                  <a:lnTo>
                    <a:pt x="2653" y="0"/>
                  </a:lnTo>
                  <a:cubicBezTo>
                    <a:pt x="2701" y="0"/>
                    <a:pt x="2738" y="37"/>
                    <a:pt x="2738" y="85"/>
                  </a:cubicBezTo>
                  <a:close/>
                </a:path>
              </a:pathLst>
            </a:custGeom>
            <a:solidFill>
              <a:schemeClr val="accent1"/>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400">
                <a:latin typeface="Segoe UI Semibold" panose="020B0702040204020203" pitchFamily="34" charset="0"/>
                <a:cs typeface="Segoe UI Semibold" panose="020B0702040204020203" pitchFamily="34" charset="0"/>
              </a:endParaRPr>
            </a:p>
          </p:txBody>
        </p:sp>
        <p:sp>
          <p:nvSpPr>
            <p:cNvPr id="197" name="Laptop Part 2">
              <a:extLst>
                <a:ext uri="{FF2B5EF4-FFF2-40B4-BE49-F238E27FC236}">
                  <a16:creationId xmlns:a16="http://schemas.microsoft.com/office/drawing/2014/main" id="{3E0079D4-6374-4DB5-A0B3-7A9E5629670C}"/>
                </a:ext>
              </a:extLst>
            </p:cNvPr>
            <p:cNvSpPr>
              <a:spLocks/>
            </p:cNvSpPr>
            <p:nvPr/>
          </p:nvSpPr>
          <p:spPr bwMode="auto">
            <a:xfrm>
              <a:off x="-716472" y="4926377"/>
              <a:ext cx="139700" cy="15875"/>
            </a:xfrm>
            <a:custGeom>
              <a:avLst/>
              <a:gdLst>
                <a:gd name="T0" fmla="*/ 463 w 463"/>
                <a:gd name="T1" fmla="*/ 0 h 51"/>
                <a:gd name="T2" fmla="*/ 412 w 463"/>
                <a:gd name="T3" fmla="*/ 51 h 51"/>
                <a:gd name="T4" fmla="*/ 51 w 463"/>
                <a:gd name="T5" fmla="*/ 51 h 51"/>
                <a:gd name="T6" fmla="*/ 0 w 463"/>
                <a:gd name="T7" fmla="*/ 0 h 51"/>
              </a:gdLst>
              <a:ahLst/>
              <a:cxnLst>
                <a:cxn ang="0">
                  <a:pos x="T0" y="T1"/>
                </a:cxn>
                <a:cxn ang="0">
                  <a:pos x="T2" y="T3"/>
                </a:cxn>
                <a:cxn ang="0">
                  <a:pos x="T4" y="T5"/>
                </a:cxn>
                <a:cxn ang="0">
                  <a:pos x="T6" y="T7"/>
                </a:cxn>
              </a:cxnLst>
              <a:rect l="0" t="0" r="r" b="b"/>
              <a:pathLst>
                <a:path w="463" h="51">
                  <a:moveTo>
                    <a:pt x="463" y="0"/>
                  </a:moveTo>
                  <a:cubicBezTo>
                    <a:pt x="463" y="29"/>
                    <a:pt x="437" y="50"/>
                    <a:pt x="412" y="51"/>
                  </a:cubicBezTo>
                  <a:lnTo>
                    <a:pt x="51" y="51"/>
                  </a:lnTo>
                  <a:cubicBezTo>
                    <a:pt x="22" y="51"/>
                    <a:pt x="0" y="28"/>
                    <a:pt x="0" y="0"/>
                  </a:cubicBezTo>
                </a:path>
              </a:pathLst>
            </a:custGeom>
            <a:grp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400">
                <a:latin typeface="Segoe UI Semibold" panose="020B0702040204020203" pitchFamily="34" charset="0"/>
                <a:cs typeface="Segoe UI Semibold" panose="020B0702040204020203" pitchFamily="34" charset="0"/>
              </a:endParaRPr>
            </a:p>
          </p:txBody>
        </p:sp>
      </p:grpSp>
      <p:sp>
        <p:nvSpPr>
          <p:cNvPr id="199" name="Freeform 63">
            <a:extLst>
              <a:ext uri="{FF2B5EF4-FFF2-40B4-BE49-F238E27FC236}">
                <a16:creationId xmlns:a16="http://schemas.microsoft.com/office/drawing/2014/main" id="{F9D5D01A-8807-4FC1-B50E-74EBD87FF039}"/>
              </a:ext>
            </a:extLst>
          </p:cNvPr>
          <p:cNvSpPr/>
          <p:nvPr/>
        </p:nvSpPr>
        <p:spPr bwMode="auto">
          <a:xfrm rot="18858197" flipH="1" flipV="1">
            <a:off x="5797419" y="1352127"/>
            <a:ext cx="306768" cy="289806"/>
          </a:xfrm>
          <a:custGeom>
            <a:avLst/>
            <a:gdLst>
              <a:gd name="connsiteX0" fmla="*/ 330611 w 893478"/>
              <a:gd name="connsiteY0" fmla="*/ 445441 h 844074"/>
              <a:gd name="connsiteX1" fmla="*/ 248731 w 893478"/>
              <a:gd name="connsiteY1" fmla="*/ 527321 h 844074"/>
              <a:gd name="connsiteX2" fmla="*/ 248731 w 893478"/>
              <a:gd name="connsiteY2" fmla="*/ 486381 h 844074"/>
              <a:gd name="connsiteX3" fmla="*/ 0 w 893478"/>
              <a:gd name="connsiteY3" fmla="*/ 486381 h 844074"/>
              <a:gd name="connsiteX4" fmla="*/ 0 w 893478"/>
              <a:gd name="connsiteY4" fmla="*/ 404500 h 844074"/>
              <a:gd name="connsiteX5" fmla="*/ 248731 w 893478"/>
              <a:gd name="connsiteY5" fmla="*/ 404500 h 844074"/>
              <a:gd name="connsiteX6" fmla="*/ 248731 w 893478"/>
              <a:gd name="connsiteY6" fmla="*/ 363560 h 844074"/>
              <a:gd name="connsiteX7" fmla="*/ 546618 w 893478"/>
              <a:gd name="connsiteY7" fmla="*/ 348667 h 844074"/>
              <a:gd name="connsiteX8" fmla="*/ 398071 w 893478"/>
              <a:gd name="connsiteY8" fmla="*/ 346860 h 844074"/>
              <a:gd name="connsiteX9" fmla="*/ 396265 w 893478"/>
              <a:gd name="connsiteY9" fmla="*/ 495407 h 844074"/>
              <a:gd name="connsiteX10" fmla="*/ 544811 w 893478"/>
              <a:gd name="connsiteY10" fmla="*/ 497213 h 844074"/>
              <a:gd name="connsiteX11" fmla="*/ 546618 w 893478"/>
              <a:gd name="connsiteY11" fmla="*/ 348667 h 844074"/>
              <a:gd name="connsiteX12" fmla="*/ 600557 w 893478"/>
              <a:gd name="connsiteY12" fmla="*/ 296023 h 844074"/>
              <a:gd name="connsiteX13" fmla="*/ 597455 w 893478"/>
              <a:gd name="connsiteY13" fmla="*/ 551153 h 844074"/>
              <a:gd name="connsiteX14" fmla="*/ 342325 w 893478"/>
              <a:gd name="connsiteY14" fmla="*/ 548050 h 844074"/>
              <a:gd name="connsiteX15" fmla="*/ 303422 w 893478"/>
              <a:gd name="connsiteY15" fmla="*/ 487890 h 844074"/>
              <a:gd name="connsiteX16" fmla="*/ 303254 w 893478"/>
              <a:gd name="connsiteY16" fmla="*/ 486968 h 844074"/>
              <a:gd name="connsiteX17" fmla="*/ 348821 w 893478"/>
              <a:gd name="connsiteY17" fmla="*/ 444836 h 844074"/>
              <a:gd name="connsiteX18" fmla="*/ 295983 w 893478"/>
              <a:gd name="connsiteY18" fmla="*/ 395981 h 844074"/>
              <a:gd name="connsiteX19" fmla="*/ 305073 w 893478"/>
              <a:gd name="connsiteY19" fmla="*/ 352117 h 844074"/>
              <a:gd name="connsiteX20" fmla="*/ 345428 w 893478"/>
              <a:gd name="connsiteY20" fmla="*/ 292921 h 844074"/>
              <a:gd name="connsiteX21" fmla="*/ 600557 w 893478"/>
              <a:gd name="connsiteY21" fmla="*/ 296023 h 844074"/>
              <a:gd name="connsiteX22" fmla="*/ 682546 w 893478"/>
              <a:gd name="connsiteY22" fmla="*/ 216005 h 844074"/>
              <a:gd name="connsiteX23" fmla="*/ 677473 w 893478"/>
              <a:gd name="connsiteY23" fmla="*/ 633141 h 844074"/>
              <a:gd name="connsiteX24" fmla="*/ 260337 w 893478"/>
              <a:gd name="connsiteY24" fmla="*/ 628069 h 844074"/>
              <a:gd name="connsiteX25" fmla="*/ 196730 w 893478"/>
              <a:gd name="connsiteY25" fmla="*/ 529706 h 844074"/>
              <a:gd name="connsiteX26" fmla="*/ 187355 w 893478"/>
              <a:gd name="connsiteY26" fmla="*/ 496601 h 844074"/>
              <a:gd name="connsiteX27" fmla="*/ 236852 w 893478"/>
              <a:gd name="connsiteY27" fmla="*/ 496601 h 844074"/>
              <a:gd name="connsiteX28" fmla="*/ 236853 w 893478"/>
              <a:gd name="connsiteY28" fmla="*/ 548364 h 844074"/>
              <a:gd name="connsiteX29" fmla="*/ 278622 w 893478"/>
              <a:gd name="connsiteY29" fmla="*/ 509744 h 844074"/>
              <a:gd name="connsiteX30" fmla="*/ 292464 w 893478"/>
              <a:gd name="connsiteY30" fmla="*/ 536845 h 844074"/>
              <a:gd name="connsiteX31" fmla="*/ 319299 w 893478"/>
              <a:gd name="connsiteY31" fmla="*/ 570524 h 844074"/>
              <a:gd name="connsiteX32" fmla="*/ 619929 w 893478"/>
              <a:gd name="connsiteY32" fmla="*/ 574180 h 844074"/>
              <a:gd name="connsiteX33" fmla="*/ 623584 w 893478"/>
              <a:gd name="connsiteY33" fmla="*/ 273550 h 844074"/>
              <a:gd name="connsiteX34" fmla="*/ 322954 w 893478"/>
              <a:gd name="connsiteY34" fmla="*/ 269894 h 844074"/>
              <a:gd name="connsiteX35" fmla="*/ 275402 w 893478"/>
              <a:gd name="connsiteY35" fmla="*/ 339648 h 844074"/>
              <a:gd name="connsiteX36" fmla="*/ 268915 w 893478"/>
              <a:gd name="connsiteY36" fmla="*/ 370952 h 844074"/>
              <a:gd name="connsiteX37" fmla="*/ 236854 w 893478"/>
              <a:gd name="connsiteY37" fmla="*/ 341307 h 844074"/>
              <a:gd name="connsiteX38" fmla="*/ 236853 w 893478"/>
              <a:gd name="connsiteY38" fmla="*/ 393071 h 844074"/>
              <a:gd name="connsiteX39" fmla="*/ 179226 w 893478"/>
              <a:gd name="connsiteY39" fmla="*/ 393071 h 844074"/>
              <a:gd name="connsiteX40" fmla="*/ 182566 w 893478"/>
              <a:gd name="connsiteY40" fmla="*/ 362180 h 844074"/>
              <a:gd name="connsiteX41" fmla="*/ 265409 w 893478"/>
              <a:gd name="connsiteY41" fmla="*/ 210932 h 844074"/>
              <a:gd name="connsiteX42" fmla="*/ 682546 w 893478"/>
              <a:gd name="connsiteY42" fmla="*/ 216005 h 844074"/>
              <a:gd name="connsiteX43" fmla="*/ 773473 w 893478"/>
              <a:gd name="connsiteY43" fmla="*/ 127262 h 844074"/>
              <a:gd name="connsiteX44" fmla="*/ 766216 w 893478"/>
              <a:gd name="connsiteY44" fmla="*/ 724069 h 844074"/>
              <a:gd name="connsiteX45" fmla="*/ 169409 w 893478"/>
              <a:gd name="connsiteY45" fmla="*/ 716811 h 844074"/>
              <a:gd name="connsiteX46" fmla="*/ 56180 w 893478"/>
              <a:gd name="connsiteY46" fmla="*/ 497599 h 844074"/>
              <a:gd name="connsiteX47" fmla="*/ 56097 w 893478"/>
              <a:gd name="connsiteY47" fmla="*/ 496601 h 844074"/>
              <a:gd name="connsiteX48" fmla="*/ 145195 w 893478"/>
              <a:gd name="connsiteY48" fmla="*/ 496601 h 844074"/>
              <a:gd name="connsiteX49" fmla="*/ 158781 w 893478"/>
              <a:gd name="connsiteY49" fmla="*/ 544580 h 844074"/>
              <a:gd name="connsiteX50" fmla="*/ 231175 w 893478"/>
              <a:gd name="connsiteY50" fmla="*/ 656529 h 844074"/>
              <a:gd name="connsiteX51" fmla="*/ 705934 w 893478"/>
              <a:gd name="connsiteY51" fmla="*/ 662303 h 844074"/>
              <a:gd name="connsiteX52" fmla="*/ 711707 w 893478"/>
              <a:gd name="connsiteY52" fmla="*/ 187544 h 844074"/>
              <a:gd name="connsiteX53" fmla="*/ 236949 w 893478"/>
              <a:gd name="connsiteY53" fmla="*/ 181771 h 844074"/>
              <a:gd name="connsiteX54" fmla="*/ 142661 w 893478"/>
              <a:gd name="connsiteY54" fmla="*/ 353911 h 844074"/>
              <a:gd name="connsiteX55" fmla="*/ 138427 w 893478"/>
              <a:gd name="connsiteY55" fmla="*/ 393072 h 844074"/>
              <a:gd name="connsiteX56" fmla="*/ 52013 w 893478"/>
              <a:gd name="connsiteY56" fmla="*/ 393072 h 844074"/>
              <a:gd name="connsiteX57" fmla="*/ 58141 w 893478"/>
              <a:gd name="connsiteY57" fmla="*/ 336399 h 844074"/>
              <a:gd name="connsiteX58" fmla="*/ 176667 w 893478"/>
              <a:gd name="connsiteY58" fmla="*/ 120005 h 844074"/>
              <a:gd name="connsiteX59" fmla="*/ 773473 w 893478"/>
              <a:gd name="connsiteY59" fmla="*/ 127262 h 844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93478" h="844074">
                <a:moveTo>
                  <a:pt x="330611" y="445441"/>
                </a:moveTo>
                <a:lnTo>
                  <a:pt x="248731" y="527321"/>
                </a:lnTo>
                <a:lnTo>
                  <a:pt x="248731" y="486381"/>
                </a:lnTo>
                <a:lnTo>
                  <a:pt x="0" y="486381"/>
                </a:lnTo>
                <a:lnTo>
                  <a:pt x="0" y="404500"/>
                </a:lnTo>
                <a:lnTo>
                  <a:pt x="248731" y="404500"/>
                </a:lnTo>
                <a:lnTo>
                  <a:pt x="248731" y="363560"/>
                </a:lnTo>
                <a:close/>
                <a:moveTo>
                  <a:pt x="546618" y="348667"/>
                </a:moveTo>
                <a:cubicBezTo>
                  <a:pt x="506097" y="307148"/>
                  <a:pt x="439590" y="306339"/>
                  <a:pt x="398071" y="346860"/>
                </a:cubicBezTo>
                <a:cubicBezTo>
                  <a:pt x="356553" y="387381"/>
                  <a:pt x="355744" y="453888"/>
                  <a:pt x="396265" y="495407"/>
                </a:cubicBezTo>
                <a:cubicBezTo>
                  <a:pt x="436787" y="536926"/>
                  <a:pt x="503293" y="537734"/>
                  <a:pt x="544811" y="497213"/>
                </a:cubicBezTo>
                <a:cubicBezTo>
                  <a:pt x="586330" y="456692"/>
                  <a:pt x="587139" y="390186"/>
                  <a:pt x="546618" y="348667"/>
                </a:cubicBezTo>
                <a:close/>
                <a:moveTo>
                  <a:pt x="600557" y="296023"/>
                </a:moveTo>
                <a:cubicBezTo>
                  <a:pt x="670153" y="367332"/>
                  <a:pt x="668763" y="481558"/>
                  <a:pt x="597455" y="551153"/>
                </a:cubicBezTo>
                <a:cubicBezTo>
                  <a:pt x="526146" y="620747"/>
                  <a:pt x="411921" y="619359"/>
                  <a:pt x="342325" y="548050"/>
                </a:cubicBezTo>
                <a:cubicBezTo>
                  <a:pt x="324927" y="530223"/>
                  <a:pt x="311965" y="509714"/>
                  <a:pt x="303422" y="487890"/>
                </a:cubicBezTo>
                <a:lnTo>
                  <a:pt x="303254" y="486968"/>
                </a:lnTo>
                <a:lnTo>
                  <a:pt x="348821" y="444836"/>
                </a:lnTo>
                <a:lnTo>
                  <a:pt x="295983" y="395981"/>
                </a:lnTo>
                <a:lnTo>
                  <a:pt x="305073" y="352117"/>
                </a:lnTo>
                <a:cubicBezTo>
                  <a:pt x="314144" y="330508"/>
                  <a:pt x="327601" y="310319"/>
                  <a:pt x="345428" y="292921"/>
                </a:cubicBezTo>
                <a:cubicBezTo>
                  <a:pt x="416736" y="223326"/>
                  <a:pt x="530962" y="224715"/>
                  <a:pt x="600557" y="296023"/>
                </a:cubicBezTo>
                <a:close/>
                <a:moveTo>
                  <a:pt x="682546" y="216005"/>
                </a:moveTo>
                <a:cubicBezTo>
                  <a:pt x="796334" y="332595"/>
                  <a:pt x="794063" y="519353"/>
                  <a:pt x="677473" y="633141"/>
                </a:cubicBezTo>
                <a:cubicBezTo>
                  <a:pt x="560884" y="746930"/>
                  <a:pt x="374125" y="744659"/>
                  <a:pt x="260337" y="628069"/>
                </a:cubicBezTo>
                <a:cubicBezTo>
                  <a:pt x="231890" y="598922"/>
                  <a:pt x="210697" y="565388"/>
                  <a:pt x="196730" y="529706"/>
                </a:cubicBezTo>
                <a:lnTo>
                  <a:pt x="187355" y="496601"/>
                </a:lnTo>
                <a:lnTo>
                  <a:pt x="236852" y="496601"/>
                </a:lnTo>
                <a:lnTo>
                  <a:pt x="236853" y="548364"/>
                </a:lnTo>
                <a:lnTo>
                  <a:pt x="278622" y="509744"/>
                </a:lnTo>
                <a:lnTo>
                  <a:pt x="292464" y="536845"/>
                </a:lnTo>
                <a:cubicBezTo>
                  <a:pt x="300104" y="548727"/>
                  <a:pt x="309048" y="560021"/>
                  <a:pt x="319299" y="570524"/>
                </a:cubicBezTo>
                <a:cubicBezTo>
                  <a:pt x="401306" y="654550"/>
                  <a:pt x="535903" y="656187"/>
                  <a:pt x="619929" y="574180"/>
                </a:cubicBezTo>
                <a:cubicBezTo>
                  <a:pt x="703955" y="492173"/>
                  <a:pt x="705591" y="357576"/>
                  <a:pt x="623584" y="273550"/>
                </a:cubicBezTo>
                <a:cubicBezTo>
                  <a:pt x="541577" y="189524"/>
                  <a:pt x="406981" y="187887"/>
                  <a:pt x="322954" y="269894"/>
                </a:cubicBezTo>
                <a:cubicBezTo>
                  <a:pt x="301948" y="290396"/>
                  <a:pt x="286090" y="314185"/>
                  <a:pt x="275402" y="339648"/>
                </a:cubicBezTo>
                <a:lnTo>
                  <a:pt x="268915" y="370952"/>
                </a:lnTo>
                <a:lnTo>
                  <a:pt x="236854" y="341307"/>
                </a:lnTo>
                <a:lnTo>
                  <a:pt x="236853" y="393071"/>
                </a:lnTo>
                <a:lnTo>
                  <a:pt x="179226" y="393071"/>
                </a:lnTo>
                <a:lnTo>
                  <a:pt x="182566" y="362180"/>
                </a:lnTo>
                <a:cubicBezTo>
                  <a:pt x="194043" y="306535"/>
                  <a:pt x="221688" y="253603"/>
                  <a:pt x="265409" y="210932"/>
                </a:cubicBezTo>
                <a:cubicBezTo>
                  <a:pt x="381999" y="97144"/>
                  <a:pt x="568758" y="99415"/>
                  <a:pt x="682546" y="216005"/>
                </a:cubicBezTo>
                <a:close/>
                <a:moveTo>
                  <a:pt x="773473" y="127262"/>
                </a:moveTo>
                <a:cubicBezTo>
                  <a:pt x="936273" y="294070"/>
                  <a:pt x="933024" y="561269"/>
                  <a:pt x="766216" y="724069"/>
                </a:cubicBezTo>
                <a:cubicBezTo>
                  <a:pt x="599408" y="886868"/>
                  <a:pt x="332209" y="883619"/>
                  <a:pt x="169409" y="716811"/>
                </a:cubicBezTo>
                <a:cubicBezTo>
                  <a:pt x="108360" y="654259"/>
                  <a:pt x="70660" y="577588"/>
                  <a:pt x="56180" y="497599"/>
                </a:cubicBezTo>
                <a:lnTo>
                  <a:pt x="56097" y="496601"/>
                </a:lnTo>
                <a:lnTo>
                  <a:pt x="145195" y="496601"/>
                </a:lnTo>
                <a:lnTo>
                  <a:pt x="158781" y="544580"/>
                </a:lnTo>
                <a:cubicBezTo>
                  <a:pt x="174677" y="585191"/>
                  <a:pt x="198799" y="623356"/>
                  <a:pt x="231175" y="656529"/>
                </a:cubicBezTo>
                <a:cubicBezTo>
                  <a:pt x="360682" y="789225"/>
                  <a:pt x="573239" y="791810"/>
                  <a:pt x="705934" y="662303"/>
                </a:cubicBezTo>
                <a:cubicBezTo>
                  <a:pt x="838630" y="532796"/>
                  <a:pt x="841215" y="320240"/>
                  <a:pt x="711707" y="187544"/>
                </a:cubicBezTo>
                <a:cubicBezTo>
                  <a:pt x="582200" y="54848"/>
                  <a:pt x="369644" y="52264"/>
                  <a:pt x="236949" y="181771"/>
                </a:cubicBezTo>
                <a:cubicBezTo>
                  <a:pt x="187188" y="230336"/>
                  <a:pt x="155724" y="290579"/>
                  <a:pt x="142661" y="353911"/>
                </a:cubicBezTo>
                <a:lnTo>
                  <a:pt x="138427" y="393072"/>
                </a:lnTo>
                <a:lnTo>
                  <a:pt x="52013" y="393072"/>
                </a:lnTo>
                <a:lnTo>
                  <a:pt x="58141" y="336399"/>
                </a:lnTo>
                <a:cubicBezTo>
                  <a:pt x="74562" y="256786"/>
                  <a:pt x="114114" y="181055"/>
                  <a:pt x="176667" y="120005"/>
                </a:cubicBezTo>
                <a:cubicBezTo>
                  <a:pt x="343475" y="-42795"/>
                  <a:pt x="610674" y="-39545"/>
                  <a:pt x="773473" y="127262"/>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213" name="binary">
            <a:extLst>
              <a:ext uri="{FF2B5EF4-FFF2-40B4-BE49-F238E27FC236}">
                <a16:creationId xmlns:a16="http://schemas.microsoft.com/office/drawing/2014/main" id="{DE3AD273-B3E8-4E77-9580-09637F56CC6C}"/>
              </a:ext>
            </a:extLst>
          </p:cNvPr>
          <p:cNvSpPr>
            <a:spLocks noChangeAspect="1" noEditPoints="1"/>
          </p:cNvSpPr>
          <p:nvPr/>
        </p:nvSpPr>
        <p:spPr bwMode="auto">
          <a:xfrm>
            <a:off x="8641269" y="1346674"/>
            <a:ext cx="348248" cy="300712"/>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solidFill>
            <a:schemeClr val="accent1"/>
          </a:solidFill>
          <a:ln w="15875" cap="sq">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bold" panose="020B0702040204020203" pitchFamily="34" charset="0"/>
              <a:cs typeface="Segoe UI Semibold" panose="020B0702040204020203" pitchFamily="34" charset="0"/>
            </a:endParaRPr>
          </a:p>
        </p:txBody>
      </p:sp>
      <p:sp>
        <p:nvSpPr>
          <p:cNvPr id="214" name="Freeform 186">
            <a:extLst>
              <a:ext uri="{FF2B5EF4-FFF2-40B4-BE49-F238E27FC236}">
                <a16:creationId xmlns:a16="http://schemas.microsoft.com/office/drawing/2014/main" id="{5F1034FA-C346-47BE-B11E-B9115778020A}"/>
              </a:ext>
            </a:extLst>
          </p:cNvPr>
          <p:cNvSpPr/>
          <p:nvPr/>
        </p:nvSpPr>
        <p:spPr>
          <a:xfrm flipH="1">
            <a:off x="10914921" y="1352787"/>
            <a:ext cx="197162" cy="288486"/>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latin typeface="Segoe UI Semibold" panose="020B0702040204020203" pitchFamily="34" charset="0"/>
              <a:cs typeface="Segoe UI Semibold" panose="020B0702040204020203" pitchFamily="34" charset="0"/>
            </a:endParaRPr>
          </a:p>
        </p:txBody>
      </p:sp>
      <p:sp>
        <p:nvSpPr>
          <p:cNvPr id="221" name="Rectangle 220">
            <a:extLst>
              <a:ext uri="{FF2B5EF4-FFF2-40B4-BE49-F238E27FC236}">
                <a16:creationId xmlns:a16="http://schemas.microsoft.com/office/drawing/2014/main" id="{A42524FC-B732-4A6A-933F-567BB4B023F2}"/>
              </a:ext>
            </a:extLst>
          </p:cNvPr>
          <p:cNvSpPr/>
          <p:nvPr/>
        </p:nvSpPr>
        <p:spPr bwMode="auto">
          <a:xfrm>
            <a:off x="457856" y="4363657"/>
            <a:ext cx="2810024" cy="228098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dirty="0">
                <a:solidFill>
                  <a:schemeClr val="accent1"/>
                </a:solidFill>
                <a:ea typeface="Segoe UI" pitchFamily="34" charset="0"/>
                <a:cs typeface="Segoe UI Semibold" panose="020B0702040204020203" pitchFamily="34" charset="0"/>
              </a:rPr>
              <a:t>Memory Optimized</a:t>
            </a:r>
          </a:p>
        </p:txBody>
      </p:sp>
      <p:sp>
        <p:nvSpPr>
          <p:cNvPr id="222" name="Rectangle 221">
            <a:extLst>
              <a:ext uri="{FF2B5EF4-FFF2-40B4-BE49-F238E27FC236}">
                <a16:creationId xmlns:a16="http://schemas.microsoft.com/office/drawing/2014/main" id="{B6603A96-C880-4E84-9035-786CB0DEBA0A}"/>
              </a:ext>
            </a:extLst>
          </p:cNvPr>
          <p:cNvSpPr/>
          <p:nvPr/>
        </p:nvSpPr>
        <p:spPr bwMode="auto">
          <a:xfrm>
            <a:off x="3374608" y="4363657"/>
            <a:ext cx="4538953" cy="228098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dirty="0">
                <a:solidFill>
                  <a:schemeClr val="accent1"/>
                </a:solidFill>
                <a:ea typeface="Segoe UI" pitchFamily="34" charset="0"/>
                <a:cs typeface="Segoe UI Semibold" panose="020B0702040204020203" pitchFamily="34" charset="0"/>
              </a:rPr>
              <a:t>Graphics Intensive</a:t>
            </a:r>
          </a:p>
        </p:txBody>
      </p:sp>
      <p:sp>
        <p:nvSpPr>
          <p:cNvPr id="223" name="Rectangle 222">
            <a:extLst>
              <a:ext uri="{FF2B5EF4-FFF2-40B4-BE49-F238E27FC236}">
                <a16:creationId xmlns:a16="http://schemas.microsoft.com/office/drawing/2014/main" id="{71824198-4621-4B57-9C24-97802BA14730}"/>
              </a:ext>
            </a:extLst>
          </p:cNvPr>
          <p:cNvSpPr/>
          <p:nvPr/>
        </p:nvSpPr>
        <p:spPr bwMode="auto">
          <a:xfrm>
            <a:off x="10055666" y="4363656"/>
            <a:ext cx="1920240" cy="228098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dirty="0">
                <a:solidFill>
                  <a:schemeClr val="accent1"/>
                </a:solidFill>
                <a:ea typeface="Segoe UI" pitchFamily="34" charset="0"/>
                <a:cs typeface="Segoe UI Semibold" panose="020B0702040204020203" pitchFamily="34" charset="0"/>
              </a:rPr>
              <a:t>Purpose-built SAP HANA</a:t>
            </a:r>
          </a:p>
        </p:txBody>
      </p:sp>
      <p:sp>
        <p:nvSpPr>
          <p:cNvPr id="224" name="Rectangle 223">
            <a:extLst>
              <a:ext uri="{FF2B5EF4-FFF2-40B4-BE49-F238E27FC236}">
                <a16:creationId xmlns:a16="http://schemas.microsoft.com/office/drawing/2014/main" id="{FD0D72DC-86EC-4355-9F56-71E79699E5C9}"/>
              </a:ext>
            </a:extLst>
          </p:cNvPr>
          <p:cNvSpPr/>
          <p:nvPr/>
        </p:nvSpPr>
        <p:spPr bwMode="auto">
          <a:xfrm>
            <a:off x="8028698" y="4363656"/>
            <a:ext cx="1920240" cy="228098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73152" rIns="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dirty="0">
                <a:solidFill>
                  <a:schemeClr val="accent1"/>
                </a:solidFill>
                <a:ea typeface="Segoe UI" pitchFamily="34" charset="0"/>
                <a:cs typeface="Segoe UI Semibold" panose="020B0702040204020203" pitchFamily="34" charset="0"/>
              </a:rPr>
              <a:t>High Performance Computing</a:t>
            </a:r>
          </a:p>
        </p:txBody>
      </p:sp>
      <p:sp>
        <p:nvSpPr>
          <p:cNvPr id="232" name="Freeform: Shape 231">
            <a:extLst>
              <a:ext uri="{FF2B5EF4-FFF2-40B4-BE49-F238E27FC236}">
                <a16:creationId xmlns:a16="http://schemas.microsoft.com/office/drawing/2014/main" id="{5046ACD2-1147-4821-9E73-AC5C3518FF2A}"/>
              </a:ext>
            </a:extLst>
          </p:cNvPr>
          <p:cNvSpPr>
            <a:spLocks/>
          </p:cNvSpPr>
          <p:nvPr/>
        </p:nvSpPr>
        <p:spPr bwMode="auto">
          <a:xfrm>
            <a:off x="8651047" y="4969084"/>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33" name="Freeform: Shape 232">
            <a:extLst>
              <a:ext uri="{FF2B5EF4-FFF2-40B4-BE49-F238E27FC236}">
                <a16:creationId xmlns:a16="http://schemas.microsoft.com/office/drawing/2014/main" id="{0B536EE7-5D45-420D-B8EE-FC641BA2AD9F}"/>
              </a:ext>
            </a:extLst>
          </p:cNvPr>
          <p:cNvSpPr>
            <a:spLocks/>
          </p:cNvSpPr>
          <p:nvPr/>
        </p:nvSpPr>
        <p:spPr bwMode="auto">
          <a:xfrm>
            <a:off x="10675731" y="4969084"/>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764" b="1" dirty="0">
              <a:solidFill>
                <a:srgbClr val="000000"/>
              </a:solidFill>
              <a:cs typeface="Segoe UI Semibold" panose="020B0702040204020203" pitchFamily="34" charset="0"/>
            </a:endParaRPr>
          </a:p>
        </p:txBody>
      </p:sp>
      <p:grpSp>
        <p:nvGrpSpPr>
          <p:cNvPr id="70" name="Group 69">
            <a:extLst>
              <a:ext uri="{FF2B5EF4-FFF2-40B4-BE49-F238E27FC236}">
                <a16:creationId xmlns:a16="http://schemas.microsoft.com/office/drawing/2014/main" id="{561EF932-9157-4C6F-9AA9-15F2B6E82564}"/>
              </a:ext>
            </a:extLst>
          </p:cNvPr>
          <p:cNvGrpSpPr/>
          <p:nvPr/>
        </p:nvGrpSpPr>
        <p:grpSpPr>
          <a:xfrm>
            <a:off x="633268" y="4969084"/>
            <a:ext cx="2459201" cy="625790"/>
            <a:chOff x="717925" y="5822138"/>
            <a:chExt cx="2459201" cy="625790"/>
          </a:xfrm>
          <a:solidFill>
            <a:schemeClr val="bg1">
              <a:lumMod val="75000"/>
            </a:schemeClr>
          </a:solidFill>
        </p:grpSpPr>
        <p:sp>
          <p:nvSpPr>
            <p:cNvPr id="225" name="Freeform: Shape 224">
              <a:extLst>
                <a:ext uri="{FF2B5EF4-FFF2-40B4-BE49-F238E27FC236}">
                  <a16:creationId xmlns:a16="http://schemas.microsoft.com/office/drawing/2014/main" id="{650B71AA-9893-40EE-B12C-5278F949E2D0}"/>
                </a:ext>
              </a:extLst>
            </p:cNvPr>
            <p:cNvSpPr>
              <a:spLocks/>
            </p:cNvSpPr>
            <p:nvPr/>
          </p:nvSpPr>
          <p:spPr bwMode="auto">
            <a:xfrm>
              <a:off x="717925" y="582213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26" name="Freeform: Shape 225">
              <a:extLst>
                <a:ext uri="{FF2B5EF4-FFF2-40B4-BE49-F238E27FC236}">
                  <a16:creationId xmlns:a16="http://schemas.microsoft.com/office/drawing/2014/main" id="{1878A9C8-50E0-47DA-94B2-8FF9FB4B7C15}"/>
                </a:ext>
              </a:extLst>
            </p:cNvPr>
            <p:cNvSpPr>
              <a:spLocks/>
            </p:cNvSpPr>
            <p:nvPr/>
          </p:nvSpPr>
          <p:spPr bwMode="auto">
            <a:xfrm>
              <a:off x="1609755" y="582213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62" name="Freeform: Shape 261">
              <a:extLst>
                <a:ext uri="{FF2B5EF4-FFF2-40B4-BE49-F238E27FC236}">
                  <a16:creationId xmlns:a16="http://schemas.microsoft.com/office/drawing/2014/main" id="{F9E02426-E9BB-480E-9EE7-44C30C50FB43}"/>
                </a:ext>
              </a:extLst>
            </p:cNvPr>
            <p:cNvSpPr>
              <a:spLocks/>
            </p:cNvSpPr>
            <p:nvPr/>
          </p:nvSpPr>
          <p:spPr bwMode="auto">
            <a:xfrm>
              <a:off x="2501584" y="582213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grpSp>
      <p:sp>
        <p:nvSpPr>
          <p:cNvPr id="228" name="Freeform: Shape 227">
            <a:extLst>
              <a:ext uri="{FF2B5EF4-FFF2-40B4-BE49-F238E27FC236}">
                <a16:creationId xmlns:a16="http://schemas.microsoft.com/office/drawing/2014/main" id="{4BC379F6-9663-40F7-A13C-D317F21F8FFD}"/>
              </a:ext>
            </a:extLst>
          </p:cNvPr>
          <p:cNvSpPr>
            <a:spLocks/>
          </p:cNvSpPr>
          <p:nvPr/>
        </p:nvSpPr>
        <p:spPr bwMode="auto">
          <a:xfrm>
            <a:off x="3824551" y="4969084"/>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29" name="Freeform: Shape 228">
            <a:extLst>
              <a:ext uri="{FF2B5EF4-FFF2-40B4-BE49-F238E27FC236}">
                <a16:creationId xmlns:a16="http://schemas.microsoft.com/office/drawing/2014/main" id="{04A905E2-F394-4051-9552-76F3933B5288}"/>
              </a:ext>
            </a:extLst>
          </p:cNvPr>
          <p:cNvSpPr>
            <a:spLocks/>
          </p:cNvSpPr>
          <p:nvPr/>
        </p:nvSpPr>
        <p:spPr bwMode="auto">
          <a:xfrm>
            <a:off x="4812393" y="4969084"/>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30" name="Freeform: Shape 229">
            <a:extLst>
              <a:ext uri="{FF2B5EF4-FFF2-40B4-BE49-F238E27FC236}">
                <a16:creationId xmlns:a16="http://schemas.microsoft.com/office/drawing/2014/main" id="{81E12414-5DA5-49CE-8252-0F0818D71C8F}"/>
              </a:ext>
            </a:extLst>
          </p:cNvPr>
          <p:cNvSpPr>
            <a:spLocks/>
          </p:cNvSpPr>
          <p:nvPr/>
        </p:nvSpPr>
        <p:spPr bwMode="auto">
          <a:xfrm>
            <a:off x="5800235" y="4969084"/>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63" name="Freeform: Shape 262">
            <a:extLst>
              <a:ext uri="{FF2B5EF4-FFF2-40B4-BE49-F238E27FC236}">
                <a16:creationId xmlns:a16="http://schemas.microsoft.com/office/drawing/2014/main" id="{B9F4FC54-AB58-49BA-9BB1-E526804253D8}"/>
              </a:ext>
            </a:extLst>
          </p:cNvPr>
          <p:cNvSpPr>
            <a:spLocks/>
          </p:cNvSpPr>
          <p:nvPr/>
        </p:nvSpPr>
        <p:spPr bwMode="auto">
          <a:xfrm>
            <a:off x="6788076" y="4969084"/>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64" name="Freeform: Shape 263">
            <a:extLst>
              <a:ext uri="{FF2B5EF4-FFF2-40B4-BE49-F238E27FC236}">
                <a16:creationId xmlns:a16="http://schemas.microsoft.com/office/drawing/2014/main" id="{06445B00-EAD8-466A-99B5-9A48BC9776F8}"/>
              </a:ext>
            </a:extLst>
          </p:cNvPr>
          <p:cNvSpPr>
            <a:spLocks/>
          </p:cNvSpPr>
          <p:nvPr/>
        </p:nvSpPr>
        <p:spPr bwMode="auto">
          <a:xfrm>
            <a:off x="4812393" y="5785292"/>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65" name="Freeform: Shape 264">
            <a:extLst>
              <a:ext uri="{FF2B5EF4-FFF2-40B4-BE49-F238E27FC236}">
                <a16:creationId xmlns:a16="http://schemas.microsoft.com/office/drawing/2014/main" id="{AE89807B-78E4-4A25-815E-B8958BD20CB9}"/>
              </a:ext>
            </a:extLst>
          </p:cNvPr>
          <p:cNvSpPr>
            <a:spLocks/>
          </p:cNvSpPr>
          <p:nvPr/>
        </p:nvSpPr>
        <p:spPr bwMode="auto">
          <a:xfrm>
            <a:off x="5800235" y="5785292"/>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66" name="Freeform: Shape 265">
            <a:extLst>
              <a:ext uri="{FF2B5EF4-FFF2-40B4-BE49-F238E27FC236}">
                <a16:creationId xmlns:a16="http://schemas.microsoft.com/office/drawing/2014/main" id="{D5FA3E00-E85D-47C8-954E-715114108E9E}"/>
              </a:ext>
            </a:extLst>
          </p:cNvPr>
          <p:cNvSpPr>
            <a:spLocks/>
          </p:cNvSpPr>
          <p:nvPr/>
        </p:nvSpPr>
        <p:spPr bwMode="auto">
          <a:xfrm>
            <a:off x="6788076" y="5785292"/>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67" name="Oval 266">
            <a:extLst>
              <a:ext uri="{FF2B5EF4-FFF2-40B4-BE49-F238E27FC236}">
                <a16:creationId xmlns:a16="http://schemas.microsoft.com/office/drawing/2014/main" id="{9D608DF4-9D03-45C4-B1FE-32F79E478C6E}"/>
              </a:ext>
            </a:extLst>
          </p:cNvPr>
          <p:cNvSpPr/>
          <p:nvPr/>
        </p:nvSpPr>
        <p:spPr bwMode="auto">
          <a:xfrm>
            <a:off x="1547491" y="3647062"/>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Semibold" panose="020B0702040204020203" pitchFamily="34" charset="0"/>
            </a:endParaRPr>
          </a:p>
        </p:txBody>
      </p:sp>
      <p:sp>
        <p:nvSpPr>
          <p:cNvPr id="269" name="Oval 268">
            <a:extLst>
              <a:ext uri="{FF2B5EF4-FFF2-40B4-BE49-F238E27FC236}">
                <a16:creationId xmlns:a16="http://schemas.microsoft.com/office/drawing/2014/main" id="{B211D073-33DE-4C62-AEE9-F30B5BD609B3}"/>
              </a:ext>
            </a:extLst>
          </p:cNvPr>
          <p:cNvSpPr/>
          <p:nvPr/>
        </p:nvSpPr>
        <p:spPr bwMode="auto">
          <a:xfrm>
            <a:off x="5328707" y="3647062"/>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Semibold" panose="020B0702040204020203" pitchFamily="34" charset="0"/>
            </a:endParaRPr>
          </a:p>
        </p:txBody>
      </p:sp>
      <p:sp>
        <p:nvSpPr>
          <p:cNvPr id="270" name="Oval 269">
            <a:extLst>
              <a:ext uri="{FF2B5EF4-FFF2-40B4-BE49-F238E27FC236}">
                <a16:creationId xmlns:a16="http://schemas.microsoft.com/office/drawing/2014/main" id="{36B44F2E-1449-4911-B39D-C0F0D61C27ED}"/>
              </a:ext>
            </a:extLst>
          </p:cNvPr>
          <p:cNvSpPr/>
          <p:nvPr/>
        </p:nvSpPr>
        <p:spPr bwMode="auto">
          <a:xfrm>
            <a:off x="8673441" y="3647062"/>
            <a:ext cx="630754" cy="630752"/>
          </a:xfrm>
          <a:prstGeom prst="ellipse">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Semibold" panose="020B0702040204020203" pitchFamily="34" charset="0"/>
            </a:endParaRPr>
          </a:p>
        </p:txBody>
      </p:sp>
      <p:sp>
        <p:nvSpPr>
          <p:cNvPr id="271" name="Oval 270">
            <a:extLst>
              <a:ext uri="{FF2B5EF4-FFF2-40B4-BE49-F238E27FC236}">
                <a16:creationId xmlns:a16="http://schemas.microsoft.com/office/drawing/2014/main" id="{D4A47424-7586-4E79-B1E9-DB2C3872EB6C}"/>
              </a:ext>
            </a:extLst>
          </p:cNvPr>
          <p:cNvSpPr/>
          <p:nvPr/>
        </p:nvSpPr>
        <p:spPr bwMode="auto">
          <a:xfrm>
            <a:off x="10700409" y="3647062"/>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Semibold" panose="020B0702040204020203" pitchFamily="34" charset="0"/>
            </a:endParaRPr>
          </a:p>
        </p:txBody>
      </p:sp>
      <p:sp>
        <p:nvSpPr>
          <p:cNvPr id="295" name="TextBox 294">
            <a:extLst>
              <a:ext uri="{FF2B5EF4-FFF2-40B4-BE49-F238E27FC236}">
                <a16:creationId xmlns:a16="http://schemas.microsoft.com/office/drawing/2014/main" id="{CC25DC0C-53D7-412F-9ED3-3F6B252D170C}"/>
              </a:ext>
            </a:extLst>
          </p:cNvPr>
          <p:cNvSpPr txBox="1"/>
          <p:nvPr/>
        </p:nvSpPr>
        <p:spPr>
          <a:xfrm>
            <a:off x="876356" y="5125729"/>
            <a:ext cx="150336"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G</a:t>
            </a:r>
          </a:p>
        </p:txBody>
      </p:sp>
      <p:sp>
        <p:nvSpPr>
          <p:cNvPr id="296" name="TextBox 295">
            <a:extLst>
              <a:ext uri="{FF2B5EF4-FFF2-40B4-BE49-F238E27FC236}">
                <a16:creationId xmlns:a16="http://schemas.microsoft.com/office/drawing/2014/main" id="{13821B69-66BB-4BDF-B910-A5210D3FAD62}"/>
              </a:ext>
            </a:extLst>
          </p:cNvPr>
          <p:cNvSpPr txBox="1"/>
          <p:nvPr/>
        </p:nvSpPr>
        <p:spPr>
          <a:xfrm>
            <a:off x="1636830" y="5125729"/>
            <a:ext cx="458188"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Ev3</a:t>
            </a:r>
          </a:p>
        </p:txBody>
      </p:sp>
      <p:sp>
        <p:nvSpPr>
          <p:cNvPr id="297" name="TextBox 296">
            <a:extLst>
              <a:ext uri="{FF2B5EF4-FFF2-40B4-BE49-F238E27FC236}">
                <a16:creationId xmlns:a16="http://schemas.microsoft.com/office/drawing/2014/main" id="{1B7B118C-9B79-466C-A403-174CA86EBE93}"/>
              </a:ext>
            </a:extLst>
          </p:cNvPr>
          <p:cNvSpPr txBox="1"/>
          <p:nvPr/>
        </p:nvSpPr>
        <p:spPr>
          <a:xfrm>
            <a:off x="2528081" y="5125729"/>
            <a:ext cx="458188"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M</a:t>
            </a:r>
          </a:p>
        </p:txBody>
      </p:sp>
      <p:sp>
        <p:nvSpPr>
          <p:cNvPr id="298" name="TextBox 297">
            <a:extLst>
              <a:ext uri="{FF2B5EF4-FFF2-40B4-BE49-F238E27FC236}">
                <a16:creationId xmlns:a16="http://schemas.microsoft.com/office/drawing/2014/main" id="{C1486409-2827-4112-91D2-2F0DFDE21D76}"/>
              </a:ext>
            </a:extLst>
          </p:cNvPr>
          <p:cNvSpPr txBox="1"/>
          <p:nvPr/>
        </p:nvSpPr>
        <p:spPr>
          <a:xfrm>
            <a:off x="3917043" y="5125729"/>
            <a:ext cx="458188"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NC</a:t>
            </a:r>
          </a:p>
        </p:txBody>
      </p:sp>
      <p:sp>
        <p:nvSpPr>
          <p:cNvPr id="299" name="TextBox 298">
            <a:extLst>
              <a:ext uri="{FF2B5EF4-FFF2-40B4-BE49-F238E27FC236}">
                <a16:creationId xmlns:a16="http://schemas.microsoft.com/office/drawing/2014/main" id="{271CC90E-7C1A-4AE5-8B7B-F48185729E16}"/>
              </a:ext>
            </a:extLst>
          </p:cNvPr>
          <p:cNvSpPr txBox="1"/>
          <p:nvPr/>
        </p:nvSpPr>
        <p:spPr>
          <a:xfrm>
            <a:off x="4796720" y="5125729"/>
            <a:ext cx="689680"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NCv2</a:t>
            </a:r>
          </a:p>
        </p:txBody>
      </p:sp>
      <p:sp>
        <p:nvSpPr>
          <p:cNvPr id="300" name="TextBox 299">
            <a:extLst>
              <a:ext uri="{FF2B5EF4-FFF2-40B4-BE49-F238E27FC236}">
                <a16:creationId xmlns:a16="http://schemas.microsoft.com/office/drawing/2014/main" id="{7A0AFF80-FFA3-444D-B443-BAE3F639B3D2}"/>
              </a:ext>
            </a:extLst>
          </p:cNvPr>
          <p:cNvSpPr txBox="1"/>
          <p:nvPr/>
        </p:nvSpPr>
        <p:spPr>
          <a:xfrm>
            <a:off x="5919463" y="5125729"/>
            <a:ext cx="458188"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NV</a:t>
            </a:r>
          </a:p>
        </p:txBody>
      </p:sp>
      <p:sp>
        <p:nvSpPr>
          <p:cNvPr id="301" name="TextBox 300">
            <a:extLst>
              <a:ext uri="{FF2B5EF4-FFF2-40B4-BE49-F238E27FC236}">
                <a16:creationId xmlns:a16="http://schemas.microsoft.com/office/drawing/2014/main" id="{12B64222-5CA9-49A2-A149-07C187F8BF76}"/>
              </a:ext>
            </a:extLst>
          </p:cNvPr>
          <p:cNvSpPr txBox="1"/>
          <p:nvPr/>
        </p:nvSpPr>
        <p:spPr>
          <a:xfrm>
            <a:off x="6926460" y="5125729"/>
            <a:ext cx="458188"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ND</a:t>
            </a:r>
          </a:p>
        </p:txBody>
      </p:sp>
      <p:sp>
        <p:nvSpPr>
          <p:cNvPr id="302" name="TextBox 301">
            <a:extLst>
              <a:ext uri="{FF2B5EF4-FFF2-40B4-BE49-F238E27FC236}">
                <a16:creationId xmlns:a16="http://schemas.microsoft.com/office/drawing/2014/main" id="{E6D7351C-193E-41B1-BB69-91F298AD967E}"/>
              </a:ext>
            </a:extLst>
          </p:cNvPr>
          <p:cNvSpPr txBox="1"/>
          <p:nvPr/>
        </p:nvSpPr>
        <p:spPr>
          <a:xfrm>
            <a:off x="4796720" y="5940320"/>
            <a:ext cx="689680"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NCv3</a:t>
            </a:r>
          </a:p>
        </p:txBody>
      </p:sp>
      <p:sp>
        <p:nvSpPr>
          <p:cNvPr id="303" name="TextBox 302">
            <a:extLst>
              <a:ext uri="{FF2B5EF4-FFF2-40B4-BE49-F238E27FC236}">
                <a16:creationId xmlns:a16="http://schemas.microsoft.com/office/drawing/2014/main" id="{00E629A1-39CD-42A5-872F-90050DCFAF8B}"/>
              </a:ext>
            </a:extLst>
          </p:cNvPr>
          <p:cNvSpPr txBox="1"/>
          <p:nvPr/>
        </p:nvSpPr>
        <p:spPr>
          <a:xfrm>
            <a:off x="5768994" y="5940320"/>
            <a:ext cx="689680"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NCv2</a:t>
            </a:r>
          </a:p>
        </p:txBody>
      </p:sp>
      <p:sp>
        <p:nvSpPr>
          <p:cNvPr id="304" name="TextBox 303">
            <a:extLst>
              <a:ext uri="{FF2B5EF4-FFF2-40B4-BE49-F238E27FC236}">
                <a16:creationId xmlns:a16="http://schemas.microsoft.com/office/drawing/2014/main" id="{A869824F-8DFD-42C0-ABE0-AE75AE3D40D8}"/>
              </a:ext>
            </a:extLst>
          </p:cNvPr>
          <p:cNvSpPr txBox="1"/>
          <p:nvPr/>
        </p:nvSpPr>
        <p:spPr>
          <a:xfrm>
            <a:off x="6767610" y="5940320"/>
            <a:ext cx="689680"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NCv2</a:t>
            </a:r>
          </a:p>
        </p:txBody>
      </p:sp>
      <p:sp>
        <p:nvSpPr>
          <p:cNvPr id="305" name="TextBox 304">
            <a:extLst>
              <a:ext uri="{FF2B5EF4-FFF2-40B4-BE49-F238E27FC236}">
                <a16:creationId xmlns:a16="http://schemas.microsoft.com/office/drawing/2014/main" id="{37FEEA7B-4C63-4D82-8754-7A5007EDC20B}"/>
              </a:ext>
            </a:extLst>
          </p:cNvPr>
          <p:cNvSpPr txBox="1"/>
          <p:nvPr/>
        </p:nvSpPr>
        <p:spPr>
          <a:xfrm>
            <a:off x="8732111" y="5125729"/>
            <a:ext cx="458188"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H</a:t>
            </a:r>
          </a:p>
        </p:txBody>
      </p:sp>
      <p:sp>
        <p:nvSpPr>
          <p:cNvPr id="306" name="TextBox 305">
            <a:extLst>
              <a:ext uri="{FF2B5EF4-FFF2-40B4-BE49-F238E27FC236}">
                <a16:creationId xmlns:a16="http://schemas.microsoft.com/office/drawing/2014/main" id="{DA8FF5FA-27D2-4040-9B55-A99DD7247632}"/>
              </a:ext>
            </a:extLst>
          </p:cNvPr>
          <p:cNvSpPr txBox="1"/>
          <p:nvPr/>
        </p:nvSpPr>
        <p:spPr>
          <a:xfrm>
            <a:off x="10834267" y="5229240"/>
            <a:ext cx="453650" cy="184538"/>
          </a:xfrm>
          <a:prstGeom prst="rect">
            <a:avLst/>
          </a:prstGeom>
          <a:noFill/>
        </p:spPr>
        <p:txBody>
          <a:bodyPr wrap="none" lIns="0" tIns="0" rIns="0" bIns="0" rtlCol="0">
            <a:spAutoFit/>
          </a:bodyPr>
          <a:lstStyle/>
          <a:p>
            <a:pPr defTabSz="932563">
              <a:spcAft>
                <a:spcPts val="600"/>
              </a:spcAft>
              <a:defRPr/>
            </a:pPr>
            <a:r>
              <a:rPr lang="en-US" sz="1199" b="1" dirty="0">
                <a:solidFill>
                  <a:schemeClr val="tx2"/>
                </a:solidFill>
                <a:cs typeface="Segoe UI Semibold" panose="020B0702040204020203" pitchFamily="34" charset="0"/>
              </a:rPr>
              <a:t>HANA</a:t>
            </a:r>
          </a:p>
        </p:txBody>
      </p:sp>
      <p:pic>
        <p:nvPicPr>
          <p:cNvPr id="307" name="Picture 306">
            <a:extLst>
              <a:ext uri="{FF2B5EF4-FFF2-40B4-BE49-F238E27FC236}">
                <a16:creationId xmlns:a16="http://schemas.microsoft.com/office/drawing/2014/main" id="{1DD0BEB8-1E7F-428B-8E77-2ACCD21D5A47}"/>
              </a:ext>
            </a:extLst>
          </p:cNvPr>
          <p:cNvPicPr>
            <a:picLocks noChangeAspect="1"/>
          </p:cNvPicPr>
          <p:nvPr/>
        </p:nvPicPr>
        <p:blipFill>
          <a:blip r:embed="rId3">
            <a:duotone>
              <a:prstClr val="black"/>
              <a:schemeClr val="accent5">
                <a:tint val="45000"/>
                <a:satMod val="400000"/>
              </a:schemeClr>
            </a:duotone>
            <a:lum bright="-40000" contrast="-20000"/>
          </a:blip>
          <a:stretch>
            <a:fillRect/>
          </a:stretch>
        </p:blipFill>
        <p:spPr>
          <a:xfrm>
            <a:off x="10746483" y="5033137"/>
            <a:ext cx="454260" cy="224608"/>
          </a:xfrm>
          <a:prstGeom prst="rect">
            <a:avLst/>
          </a:prstGeom>
        </p:spPr>
      </p:pic>
      <p:sp>
        <p:nvSpPr>
          <p:cNvPr id="308" name="TextBox 307">
            <a:extLst>
              <a:ext uri="{FF2B5EF4-FFF2-40B4-BE49-F238E27FC236}">
                <a16:creationId xmlns:a16="http://schemas.microsoft.com/office/drawing/2014/main" id="{88DD903A-BED7-4025-BED5-06B9431C8FE5}"/>
              </a:ext>
            </a:extLst>
          </p:cNvPr>
          <p:cNvSpPr txBox="1"/>
          <p:nvPr/>
        </p:nvSpPr>
        <p:spPr>
          <a:xfrm>
            <a:off x="5586410" y="6439695"/>
            <a:ext cx="1043555" cy="184538"/>
          </a:xfrm>
          <a:prstGeom prst="rect">
            <a:avLst/>
          </a:prstGeom>
          <a:noFill/>
        </p:spPr>
        <p:txBody>
          <a:bodyPr wrap="none" lIns="0" tIns="0" rIns="0" bIns="0" rtlCol="0">
            <a:spAutoFit/>
          </a:bodyPr>
          <a:lstStyle/>
          <a:p>
            <a:pPr defTabSz="932563">
              <a:spcAft>
                <a:spcPts val="600"/>
              </a:spcAft>
              <a:defRPr/>
            </a:pPr>
            <a:r>
              <a:rPr lang="en-US" sz="1199" b="1" dirty="0">
                <a:solidFill>
                  <a:schemeClr val="tx2"/>
                </a:solidFill>
                <a:cs typeface="Segoe UI Semibold" panose="020B0702040204020203" pitchFamily="34" charset="0"/>
              </a:rPr>
              <a:t>(coming soon)</a:t>
            </a:r>
          </a:p>
        </p:txBody>
      </p:sp>
      <p:sp>
        <p:nvSpPr>
          <p:cNvPr id="309" name="TextBox 308">
            <a:extLst>
              <a:ext uri="{FF2B5EF4-FFF2-40B4-BE49-F238E27FC236}">
                <a16:creationId xmlns:a16="http://schemas.microsoft.com/office/drawing/2014/main" id="{4F32AA7D-08A3-4E74-B069-14FACEC255DE}"/>
              </a:ext>
            </a:extLst>
          </p:cNvPr>
          <p:cNvSpPr txBox="1"/>
          <p:nvPr/>
        </p:nvSpPr>
        <p:spPr>
          <a:xfrm>
            <a:off x="6696399" y="6439695"/>
            <a:ext cx="1043555" cy="184538"/>
          </a:xfrm>
          <a:prstGeom prst="rect">
            <a:avLst/>
          </a:prstGeom>
          <a:noFill/>
        </p:spPr>
        <p:txBody>
          <a:bodyPr wrap="none" lIns="0" tIns="0" rIns="0" bIns="0" rtlCol="0">
            <a:spAutoFit/>
          </a:bodyPr>
          <a:lstStyle/>
          <a:p>
            <a:pPr defTabSz="932563">
              <a:spcAft>
                <a:spcPts val="600"/>
              </a:spcAft>
              <a:defRPr/>
            </a:pPr>
            <a:r>
              <a:rPr lang="en-US" sz="1199" b="1" dirty="0">
                <a:solidFill>
                  <a:schemeClr val="tx2"/>
                </a:solidFill>
                <a:cs typeface="Segoe UI Semibold" panose="020B0702040204020203" pitchFamily="34" charset="0"/>
              </a:rPr>
              <a:t>(coming soon)</a:t>
            </a:r>
          </a:p>
        </p:txBody>
      </p:sp>
      <p:sp>
        <p:nvSpPr>
          <p:cNvPr id="310" name="chip">
            <a:extLst>
              <a:ext uri="{FF2B5EF4-FFF2-40B4-BE49-F238E27FC236}">
                <a16:creationId xmlns:a16="http://schemas.microsoft.com/office/drawing/2014/main" id="{DC15F5C4-D45E-4D39-B9F0-67D9DFD12841}"/>
              </a:ext>
            </a:extLst>
          </p:cNvPr>
          <p:cNvSpPr>
            <a:spLocks noChangeAspect="1" noEditPoints="1"/>
          </p:cNvSpPr>
          <p:nvPr/>
        </p:nvSpPr>
        <p:spPr bwMode="auto">
          <a:xfrm>
            <a:off x="1695843" y="3791962"/>
            <a:ext cx="334050" cy="340952"/>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chemeClr val="bg1"/>
          </a:solidFill>
          <a:ln w="15875" cap="sq">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b="1">
              <a:gradFill>
                <a:gsLst>
                  <a:gs pos="0">
                    <a:srgbClr val="505050"/>
                  </a:gs>
                  <a:gs pos="100000">
                    <a:srgbClr val="505050"/>
                  </a:gs>
                </a:gsLst>
              </a:gradFill>
              <a:cs typeface="Segoe UI Semibold" panose="020B0702040204020203" pitchFamily="34" charset="0"/>
            </a:endParaRPr>
          </a:p>
        </p:txBody>
      </p:sp>
      <p:sp>
        <p:nvSpPr>
          <p:cNvPr id="318" name="Frame 16">
            <a:extLst>
              <a:ext uri="{FF2B5EF4-FFF2-40B4-BE49-F238E27FC236}">
                <a16:creationId xmlns:a16="http://schemas.microsoft.com/office/drawing/2014/main" id="{CEE9E3B8-D3EE-40E8-A8CF-A3B882890915}"/>
              </a:ext>
            </a:extLst>
          </p:cNvPr>
          <p:cNvSpPr/>
          <p:nvPr/>
        </p:nvSpPr>
        <p:spPr>
          <a:xfrm>
            <a:off x="3319943" y="1336572"/>
            <a:ext cx="300834" cy="320916"/>
          </a:xfrm>
          <a:custGeom>
            <a:avLst/>
            <a:gdLst/>
            <a:ahLst/>
            <a:cxnLst/>
            <a:rect l="l" t="t" r="r" b="b"/>
            <a:pathLst>
              <a:path w="2425700" h="2587625">
                <a:moveTo>
                  <a:pt x="160339" y="1527973"/>
                </a:moveTo>
                <a:lnTo>
                  <a:pt x="160339" y="2427286"/>
                </a:lnTo>
                <a:lnTo>
                  <a:pt x="1056477" y="2427286"/>
                </a:lnTo>
                <a:lnTo>
                  <a:pt x="1056477" y="1527973"/>
                </a:lnTo>
                <a:close/>
                <a:moveTo>
                  <a:pt x="1851338" y="1"/>
                </a:moveTo>
                <a:lnTo>
                  <a:pt x="1971674" y="1"/>
                </a:lnTo>
                <a:lnTo>
                  <a:pt x="1971674" y="3"/>
                </a:lnTo>
                <a:lnTo>
                  <a:pt x="2425700" y="3"/>
                </a:lnTo>
                <a:lnTo>
                  <a:pt x="2425700" y="143503"/>
                </a:lnTo>
                <a:lnTo>
                  <a:pt x="2424027" y="143503"/>
                </a:lnTo>
                <a:lnTo>
                  <a:pt x="2424027" y="612773"/>
                </a:lnTo>
                <a:cubicBezTo>
                  <a:pt x="2424027" y="652400"/>
                  <a:pt x="2391903" y="684524"/>
                  <a:pt x="2352276" y="684524"/>
                </a:cubicBezTo>
                <a:lnTo>
                  <a:pt x="2352276" y="684523"/>
                </a:lnTo>
                <a:cubicBezTo>
                  <a:pt x="2312649" y="684523"/>
                  <a:pt x="2280525" y="652399"/>
                  <a:pt x="2280525" y="612772"/>
                </a:cubicBezTo>
                <a:lnTo>
                  <a:pt x="2280525" y="291082"/>
                </a:lnTo>
                <a:lnTo>
                  <a:pt x="1489517" y="1162800"/>
                </a:lnTo>
                <a:cubicBezTo>
                  <a:pt x="1462888" y="1192146"/>
                  <a:pt x="1417511" y="1194349"/>
                  <a:pt x="1388165" y="1167720"/>
                </a:cubicBezTo>
                <a:lnTo>
                  <a:pt x="1388166" y="1167720"/>
                </a:lnTo>
                <a:cubicBezTo>
                  <a:pt x="1358820" y="1141091"/>
                  <a:pt x="1356617" y="1095714"/>
                  <a:pt x="1383246" y="1066368"/>
                </a:cubicBezTo>
                <a:lnTo>
                  <a:pt x="2220666" y="143502"/>
                </a:lnTo>
                <a:lnTo>
                  <a:pt x="1851338" y="143502"/>
                </a:lnTo>
                <a:cubicBezTo>
                  <a:pt x="1811711" y="143502"/>
                  <a:pt x="1779587" y="111378"/>
                  <a:pt x="1779587" y="71752"/>
                </a:cubicBezTo>
                <a:cubicBezTo>
                  <a:pt x="1779587" y="32125"/>
                  <a:pt x="1811711" y="1"/>
                  <a:pt x="1851338" y="1"/>
                </a:cubicBezTo>
                <a:close/>
                <a:moveTo>
                  <a:pt x="0" y="0"/>
                </a:moveTo>
                <a:lnTo>
                  <a:pt x="1584325" y="0"/>
                </a:lnTo>
                <a:lnTo>
                  <a:pt x="1584325" y="160339"/>
                </a:lnTo>
                <a:lnTo>
                  <a:pt x="160339" y="160339"/>
                </a:lnTo>
                <a:lnTo>
                  <a:pt x="160339" y="1371600"/>
                </a:lnTo>
                <a:lnTo>
                  <a:pt x="1212850" y="1371600"/>
                </a:lnTo>
                <a:lnTo>
                  <a:pt x="1212850" y="2427286"/>
                </a:lnTo>
                <a:lnTo>
                  <a:pt x="2265361" y="2427286"/>
                </a:lnTo>
                <a:lnTo>
                  <a:pt x="2265361" y="923926"/>
                </a:lnTo>
                <a:lnTo>
                  <a:pt x="2425700" y="923926"/>
                </a:lnTo>
                <a:lnTo>
                  <a:pt x="2425700" y="2587625"/>
                </a:lnTo>
                <a:lnTo>
                  <a:pt x="1212850" y="2587625"/>
                </a:lnTo>
                <a:lnTo>
                  <a:pt x="0" y="2587625"/>
                </a:lnTo>
                <a:lnTo>
                  <a:pt x="0" y="13716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latin typeface="Segoe UI Semibold" panose="020B0702040204020203" pitchFamily="34" charset="0"/>
              <a:cs typeface="Segoe UI Semibold" panose="020B0702040204020203" pitchFamily="34" charset="0"/>
            </a:endParaRPr>
          </a:p>
        </p:txBody>
      </p:sp>
      <p:grpSp>
        <p:nvGrpSpPr>
          <p:cNvPr id="73" name="Group 72">
            <a:extLst>
              <a:ext uri="{FF2B5EF4-FFF2-40B4-BE49-F238E27FC236}">
                <a16:creationId xmlns:a16="http://schemas.microsoft.com/office/drawing/2014/main" id="{24AFEEFE-CD74-4734-A806-66B8575DDD97}"/>
              </a:ext>
            </a:extLst>
          </p:cNvPr>
          <p:cNvGrpSpPr/>
          <p:nvPr/>
        </p:nvGrpSpPr>
        <p:grpSpPr>
          <a:xfrm>
            <a:off x="5447438" y="3823383"/>
            <a:ext cx="393292" cy="278110"/>
            <a:chOff x="3625197" y="3354490"/>
            <a:chExt cx="699154" cy="494394"/>
          </a:xfrm>
        </p:grpSpPr>
        <p:sp>
          <p:nvSpPr>
            <p:cNvPr id="334" name="Freeform: Shape 333">
              <a:extLst>
                <a:ext uri="{FF2B5EF4-FFF2-40B4-BE49-F238E27FC236}">
                  <a16:creationId xmlns:a16="http://schemas.microsoft.com/office/drawing/2014/main" id="{ED511729-1C25-4B74-BF17-DD0EE2408FA9}"/>
                </a:ext>
              </a:extLst>
            </p:cNvPr>
            <p:cNvSpPr/>
            <p:nvPr/>
          </p:nvSpPr>
          <p:spPr>
            <a:xfrm>
              <a:off x="3769637" y="3459636"/>
              <a:ext cx="410274" cy="284102"/>
            </a:xfrm>
            <a:custGeom>
              <a:avLst/>
              <a:gdLst>
                <a:gd name="connsiteX0" fmla="*/ 318636 w 427150"/>
                <a:gd name="connsiteY0" fmla="*/ 95385 h 295788"/>
                <a:gd name="connsiteX1" fmla="*/ 427150 w 427150"/>
                <a:gd name="connsiteY1" fmla="*/ 270625 h 295788"/>
                <a:gd name="connsiteX2" fmla="*/ 395186 w 427150"/>
                <a:gd name="connsiteY2" fmla="*/ 290043 h 295788"/>
                <a:gd name="connsiteX3" fmla="*/ 387503 w 427150"/>
                <a:gd name="connsiteY3" fmla="*/ 295788 h 295788"/>
                <a:gd name="connsiteX4" fmla="*/ 270100 w 427150"/>
                <a:gd name="connsiteY4" fmla="*/ 295788 h 295788"/>
                <a:gd name="connsiteX5" fmla="*/ 194540 w 427150"/>
                <a:gd name="connsiteY5" fmla="*/ 295788 h 295788"/>
                <a:gd name="connsiteX6" fmla="*/ 21907 w 427150"/>
                <a:gd name="connsiteY6" fmla="*/ 295788 h 295788"/>
                <a:gd name="connsiteX7" fmla="*/ 146003 w 427150"/>
                <a:gd name="connsiteY7" fmla="*/ 174715 h 295788"/>
                <a:gd name="connsiteX8" fmla="*/ 222997 w 427150"/>
                <a:gd name="connsiteY8" fmla="*/ 249833 h 295788"/>
                <a:gd name="connsiteX9" fmla="*/ 73664 w 427150"/>
                <a:gd name="connsiteY9" fmla="*/ 0 h 295788"/>
                <a:gd name="connsiteX10" fmla="*/ 147328 w 427150"/>
                <a:gd name="connsiteY10" fmla="*/ 73663 h 295788"/>
                <a:gd name="connsiteX11" fmla="*/ 73664 w 427150"/>
                <a:gd name="connsiteY11" fmla="*/ 147327 h 295788"/>
                <a:gd name="connsiteX12" fmla="*/ 0 w 427150"/>
                <a:gd name="connsiteY12" fmla="*/ 73663 h 295788"/>
                <a:gd name="connsiteX13" fmla="*/ 73664 w 427150"/>
                <a:gd name="connsiteY13" fmla="*/ 0 h 295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7150" h="295788">
                  <a:moveTo>
                    <a:pt x="318636" y="95385"/>
                  </a:moveTo>
                  <a:lnTo>
                    <a:pt x="427150" y="270625"/>
                  </a:lnTo>
                  <a:lnTo>
                    <a:pt x="395186" y="290043"/>
                  </a:lnTo>
                  <a:lnTo>
                    <a:pt x="387503" y="295788"/>
                  </a:lnTo>
                  <a:lnTo>
                    <a:pt x="270100" y="295788"/>
                  </a:lnTo>
                  <a:lnTo>
                    <a:pt x="194540" y="295788"/>
                  </a:lnTo>
                  <a:lnTo>
                    <a:pt x="21907" y="295788"/>
                  </a:lnTo>
                  <a:lnTo>
                    <a:pt x="146003" y="174715"/>
                  </a:lnTo>
                  <a:lnTo>
                    <a:pt x="222997" y="249833"/>
                  </a:lnTo>
                  <a:close/>
                  <a:moveTo>
                    <a:pt x="73664" y="0"/>
                  </a:moveTo>
                  <a:cubicBezTo>
                    <a:pt x="114347" y="0"/>
                    <a:pt x="147328" y="32980"/>
                    <a:pt x="147328" y="73663"/>
                  </a:cubicBezTo>
                  <a:cubicBezTo>
                    <a:pt x="147328" y="114347"/>
                    <a:pt x="114347" y="147327"/>
                    <a:pt x="73664" y="147327"/>
                  </a:cubicBezTo>
                  <a:cubicBezTo>
                    <a:pt x="32981" y="147327"/>
                    <a:pt x="0" y="114347"/>
                    <a:pt x="0" y="73663"/>
                  </a:cubicBezTo>
                  <a:cubicBezTo>
                    <a:pt x="0" y="32980"/>
                    <a:pt x="32981" y="0"/>
                    <a:pt x="73664" y="0"/>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b="1" dirty="0">
                <a:ln>
                  <a:solidFill>
                    <a:schemeClr val="bg1">
                      <a:alpha val="0"/>
                    </a:schemeClr>
                  </a:solidFill>
                </a:ln>
                <a:cs typeface="Segoe UI Semibold" panose="020B0702040204020203" pitchFamily="34" charset="0"/>
              </a:endParaRPr>
            </a:p>
          </p:txBody>
        </p:sp>
        <p:sp>
          <p:nvSpPr>
            <p:cNvPr id="326" name="Freeform 27">
              <a:extLst>
                <a:ext uri="{FF2B5EF4-FFF2-40B4-BE49-F238E27FC236}">
                  <a16:creationId xmlns:a16="http://schemas.microsoft.com/office/drawing/2014/main" id="{4A9F7F19-31AA-466C-A47F-5FDA477AD956}"/>
                </a:ext>
              </a:extLst>
            </p:cNvPr>
            <p:cNvSpPr>
              <a:spLocks noEditPoints="1"/>
            </p:cNvSpPr>
            <p:nvPr/>
          </p:nvSpPr>
          <p:spPr bwMode="black">
            <a:xfrm>
              <a:off x="3625197" y="3354490"/>
              <a:ext cx="699154" cy="494394"/>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40740"/>
              <a:endParaRPr lang="en-US" b="1" dirty="0">
                <a:solidFill>
                  <a:schemeClr val="tx1">
                    <a:lumMod val="50000"/>
                  </a:schemeClr>
                </a:solidFill>
                <a:cs typeface="Segoe UI Semibold" panose="020B0702040204020203" pitchFamily="34" charset="0"/>
              </a:endParaRPr>
            </a:p>
          </p:txBody>
        </p:sp>
      </p:grpSp>
      <p:sp>
        <p:nvSpPr>
          <p:cNvPr id="339" name="LightningBolt_E945">
            <a:extLst>
              <a:ext uri="{FF2B5EF4-FFF2-40B4-BE49-F238E27FC236}">
                <a16:creationId xmlns:a16="http://schemas.microsoft.com/office/drawing/2014/main" id="{A4F313D5-2836-4B3D-87E4-FF848A1D0B50}"/>
              </a:ext>
            </a:extLst>
          </p:cNvPr>
          <p:cNvSpPr>
            <a:spLocks noChangeAspect="1"/>
          </p:cNvSpPr>
          <p:nvPr/>
        </p:nvSpPr>
        <p:spPr bwMode="auto">
          <a:xfrm>
            <a:off x="8868658" y="3794760"/>
            <a:ext cx="240320" cy="33535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1"/>
          </a:solidFill>
          <a:ln w="15875" cap="sq">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sz="900" b="1">
              <a:gradFill>
                <a:gsLst>
                  <a:gs pos="0">
                    <a:srgbClr val="505050"/>
                  </a:gs>
                  <a:gs pos="100000">
                    <a:srgbClr val="505050"/>
                  </a:gs>
                </a:gsLst>
                <a:lin ang="5400000" scaled="1"/>
              </a:gradFill>
              <a:cs typeface="Segoe UI Semibold" panose="020B0702040204020203" pitchFamily="34" charset="0"/>
            </a:endParaRPr>
          </a:p>
        </p:txBody>
      </p:sp>
      <p:sp>
        <p:nvSpPr>
          <p:cNvPr id="343" name="Freeform: Shape 342">
            <a:extLst>
              <a:ext uri="{FF2B5EF4-FFF2-40B4-BE49-F238E27FC236}">
                <a16:creationId xmlns:a16="http://schemas.microsoft.com/office/drawing/2014/main" id="{AC07EEE4-F9D9-476D-A9B2-E637A4D82890}"/>
              </a:ext>
            </a:extLst>
          </p:cNvPr>
          <p:cNvSpPr/>
          <p:nvPr/>
        </p:nvSpPr>
        <p:spPr>
          <a:xfrm>
            <a:off x="10858878" y="3813407"/>
            <a:ext cx="313816" cy="298062"/>
          </a:xfrm>
          <a:custGeom>
            <a:avLst/>
            <a:gdLst>
              <a:gd name="connsiteX0" fmla="*/ 105912 w 951068"/>
              <a:gd name="connsiteY0" fmla="*/ 724667 h 903325"/>
              <a:gd name="connsiteX1" fmla="*/ 105912 w 951068"/>
              <a:gd name="connsiteY1" fmla="*/ 783348 h 903325"/>
              <a:gd name="connsiteX2" fmla="*/ 842760 w 951068"/>
              <a:gd name="connsiteY2" fmla="*/ 783348 h 903325"/>
              <a:gd name="connsiteX3" fmla="*/ 842760 w 951068"/>
              <a:gd name="connsiteY3" fmla="*/ 724667 h 903325"/>
              <a:gd name="connsiteX4" fmla="*/ 105912 w 951068"/>
              <a:gd name="connsiteY4" fmla="*/ 624825 h 903325"/>
              <a:gd name="connsiteX5" fmla="*/ 105912 w 951068"/>
              <a:gd name="connsiteY5" fmla="*/ 683506 h 903325"/>
              <a:gd name="connsiteX6" fmla="*/ 842760 w 951068"/>
              <a:gd name="connsiteY6" fmla="*/ 683506 h 903325"/>
              <a:gd name="connsiteX7" fmla="*/ 842760 w 951068"/>
              <a:gd name="connsiteY7" fmla="*/ 624825 h 903325"/>
              <a:gd name="connsiteX8" fmla="*/ 105912 w 951068"/>
              <a:gd name="connsiteY8" fmla="*/ 524983 h 903325"/>
              <a:gd name="connsiteX9" fmla="*/ 105912 w 951068"/>
              <a:gd name="connsiteY9" fmla="*/ 583664 h 903325"/>
              <a:gd name="connsiteX10" fmla="*/ 842760 w 951068"/>
              <a:gd name="connsiteY10" fmla="*/ 583664 h 903325"/>
              <a:gd name="connsiteX11" fmla="*/ 842760 w 951068"/>
              <a:gd name="connsiteY11" fmla="*/ 524983 h 903325"/>
              <a:gd name="connsiteX12" fmla="*/ 105912 w 951068"/>
              <a:gd name="connsiteY12" fmla="*/ 425141 h 903325"/>
              <a:gd name="connsiteX13" fmla="*/ 105912 w 951068"/>
              <a:gd name="connsiteY13" fmla="*/ 483822 h 903325"/>
              <a:gd name="connsiteX14" fmla="*/ 842760 w 951068"/>
              <a:gd name="connsiteY14" fmla="*/ 483822 h 903325"/>
              <a:gd name="connsiteX15" fmla="*/ 842760 w 951068"/>
              <a:gd name="connsiteY15" fmla="*/ 425141 h 903325"/>
              <a:gd name="connsiteX16" fmla="*/ 582678 w 951068"/>
              <a:gd name="connsiteY16" fmla="*/ 294282 h 903325"/>
              <a:gd name="connsiteX17" fmla="*/ 582678 w 951068"/>
              <a:gd name="connsiteY17" fmla="*/ 352962 h 903325"/>
              <a:gd name="connsiteX18" fmla="*/ 842760 w 951068"/>
              <a:gd name="connsiteY18" fmla="*/ 352962 h 903325"/>
              <a:gd name="connsiteX19" fmla="*/ 842760 w 951068"/>
              <a:gd name="connsiteY19" fmla="*/ 294282 h 903325"/>
              <a:gd name="connsiteX20" fmla="*/ 582678 w 951068"/>
              <a:gd name="connsiteY20" fmla="*/ 213863 h 903325"/>
              <a:gd name="connsiteX21" fmla="*/ 582678 w 951068"/>
              <a:gd name="connsiteY21" fmla="*/ 272544 h 903325"/>
              <a:gd name="connsiteX22" fmla="*/ 842760 w 951068"/>
              <a:gd name="connsiteY22" fmla="*/ 272544 h 903325"/>
              <a:gd name="connsiteX23" fmla="*/ 842760 w 951068"/>
              <a:gd name="connsiteY23" fmla="*/ 213863 h 903325"/>
              <a:gd name="connsiteX24" fmla="*/ 582678 w 951068"/>
              <a:gd name="connsiteY24" fmla="*/ 133444 h 903325"/>
              <a:gd name="connsiteX25" fmla="*/ 582678 w 951068"/>
              <a:gd name="connsiteY25" fmla="*/ 192124 h 903325"/>
              <a:gd name="connsiteX26" fmla="*/ 842760 w 951068"/>
              <a:gd name="connsiteY26" fmla="*/ 192124 h 903325"/>
              <a:gd name="connsiteX27" fmla="*/ 842760 w 951068"/>
              <a:gd name="connsiteY27" fmla="*/ 133444 h 903325"/>
              <a:gd name="connsiteX28" fmla="*/ 105912 w 951068"/>
              <a:gd name="connsiteY28" fmla="*/ 105331 h 903325"/>
              <a:gd name="connsiteX29" fmla="*/ 105912 w 951068"/>
              <a:gd name="connsiteY29" fmla="*/ 352962 h 903325"/>
              <a:gd name="connsiteX30" fmla="*/ 542463 w 951068"/>
              <a:gd name="connsiteY30" fmla="*/ 352962 h 903325"/>
              <a:gd name="connsiteX31" fmla="*/ 542463 w 951068"/>
              <a:gd name="connsiteY31" fmla="*/ 105331 h 903325"/>
              <a:gd name="connsiteX32" fmla="*/ 63023 w 951068"/>
              <a:gd name="connsiteY32" fmla="*/ 50675 h 903325"/>
              <a:gd name="connsiteX33" fmla="*/ 885649 w 951068"/>
              <a:gd name="connsiteY33" fmla="*/ 50675 h 903325"/>
              <a:gd name="connsiteX34" fmla="*/ 885649 w 951068"/>
              <a:gd name="connsiteY34" fmla="*/ 829140 h 903325"/>
              <a:gd name="connsiteX35" fmla="*/ 63023 w 951068"/>
              <a:gd name="connsiteY35" fmla="*/ 829140 h 903325"/>
              <a:gd name="connsiteX36" fmla="*/ 44490 w 951068"/>
              <a:gd name="connsiteY36" fmla="*/ 24227 h 903325"/>
              <a:gd name="connsiteX37" fmla="*/ 44490 w 951068"/>
              <a:gd name="connsiteY37" fmla="*/ 859360 h 903325"/>
              <a:gd name="connsiteX38" fmla="*/ 906578 w 951068"/>
              <a:gd name="connsiteY38" fmla="*/ 859360 h 903325"/>
              <a:gd name="connsiteX39" fmla="*/ 906578 w 951068"/>
              <a:gd name="connsiteY39" fmla="*/ 24227 h 903325"/>
              <a:gd name="connsiteX40" fmla="*/ 0 w 951068"/>
              <a:gd name="connsiteY40" fmla="*/ 0 h 903325"/>
              <a:gd name="connsiteX41" fmla="*/ 951068 w 951068"/>
              <a:gd name="connsiteY41" fmla="*/ 0 h 903325"/>
              <a:gd name="connsiteX42" fmla="*/ 951068 w 951068"/>
              <a:gd name="connsiteY42" fmla="*/ 903325 h 903325"/>
              <a:gd name="connsiteX43" fmla="*/ 68337 w 951068"/>
              <a:gd name="connsiteY43" fmla="*/ 903325 h 903325"/>
              <a:gd name="connsiteX44" fmla="*/ 25044 w 951068"/>
              <a:gd name="connsiteY44" fmla="*/ 903325 h 903325"/>
              <a:gd name="connsiteX45" fmla="*/ 0 w 951068"/>
              <a:gd name="connsiteY45" fmla="*/ 903325 h 90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951068" h="903325">
                <a:moveTo>
                  <a:pt x="105912" y="724667"/>
                </a:moveTo>
                <a:lnTo>
                  <a:pt x="105912" y="783348"/>
                </a:lnTo>
                <a:lnTo>
                  <a:pt x="842760" y="783348"/>
                </a:lnTo>
                <a:lnTo>
                  <a:pt x="842760" y="724667"/>
                </a:lnTo>
                <a:close/>
                <a:moveTo>
                  <a:pt x="105912" y="624825"/>
                </a:moveTo>
                <a:lnTo>
                  <a:pt x="105912" y="683506"/>
                </a:lnTo>
                <a:lnTo>
                  <a:pt x="842760" y="683506"/>
                </a:lnTo>
                <a:lnTo>
                  <a:pt x="842760" y="624825"/>
                </a:lnTo>
                <a:close/>
                <a:moveTo>
                  <a:pt x="105912" y="524983"/>
                </a:moveTo>
                <a:lnTo>
                  <a:pt x="105912" y="583664"/>
                </a:lnTo>
                <a:lnTo>
                  <a:pt x="842760" y="583664"/>
                </a:lnTo>
                <a:lnTo>
                  <a:pt x="842760" y="524983"/>
                </a:lnTo>
                <a:close/>
                <a:moveTo>
                  <a:pt x="105912" y="425141"/>
                </a:moveTo>
                <a:lnTo>
                  <a:pt x="105912" y="483822"/>
                </a:lnTo>
                <a:lnTo>
                  <a:pt x="842760" y="483822"/>
                </a:lnTo>
                <a:lnTo>
                  <a:pt x="842760" y="425141"/>
                </a:lnTo>
                <a:close/>
                <a:moveTo>
                  <a:pt x="582678" y="294282"/>
                </a:moveTo>
                <a:lnTo>
                  <a:pt x="582678" y="352962"/>
                </a:lnTo>
                <a:lnTo>
                  <a:pt x="842760" y="352962"/>
                </a:lnTo>
                <a:lnTo>
                  <a:pt x="842760" y="294282"/>
                </a:lnTo>
                <a:close/>
                <a:moveTo>
                  <a:pt x="582678" y="213863"/>
                </a:moveTo>
                <a:lnTo>
                  <a:pt x="582678" y="272544"/>
                </a:lnTo>
                <a:lnTo>
                  <a:pt x="842760" y="272544"/>
                </a:lnTo>
                <a:lnTo>
                  <a:pt x="842760" y="213863"/>
                </a:lnTo>
                <a:close/>
                <a:moveTo>
                  <a:pt x="582678" y="133444"/>
                </a:moveTo>
                <a:lnTo>
                  <a:pt x="582678" y="192124"/>
                </a:lnTo>
                <a:lnTo>
                  <a:pt x="842760" y="192124"/>
                </a:lnTo>
                <a:lnTo>
                  <a:pt x="842760" y="133444"/>
                </a:lnTo>
                <a:close/>
                <a:moveTo>
                  <a:pt x="105912" y="105331"/>
                </a:moveTo>
                <a:lnTo>
                  <a:pt x="105912" y="352962"/>
                </a:lnTo>
                <a:lnTo>
                  <a:pt x="542463" y="352962"/>
                </a:lnTo>
                <a:lnTo>
                  <a:pt x="542463" y="105331"/>
                </a:lnTo>
                <a:close/>
                <a:moveTo>
                  <a:pt x="63023" y="50675"/>
                </a:moveTo>
                <a:lnTo>
                  <a:pt x="885649" y="50675"/>
                </a:lnTo>
                <a:lnTo>
                  <a:pt x="885649" y="829140"/>
                </a:lnTo>
                <a:lnTo>
                  <a:pt x="63023" y="829140"/>
                </a:lnTo>
                <a:close/>
                <a:moveTo>
                  <a:pt x="44490" y="24227"/>
                </a:moveTo>
                <a:lnTo>
                  <a:pt x="44490" y="859360"/>
                </a:lnTo>
                <a:lnTo>
                  <a:pt x="906578" y="859360"/>
                </a:lnTo>
                <a:lnTo>
                  <a:pt x="906578" y="24227"/>
                </a:lnTo>
                <a:close/>
                <a:moveTo>
                  <a:pt x="0" y="0"/>
                </a:moveTo>
                <a:lnTo>
                  <a:pt x="951068" y="0"/>
                </a:lnTo>
                <a:lnTo>
                  <a:pt x="951068" y="903325"/>
                </a:lnTo>
                <a:lnTo>
                  <a:pt x="68337" y="903325"/>
                </a:lnTo>
                <a:lnTo>
                  <a:pt x="25044" y="903325"/>
                </a:lnTo>
                <a:lnTo>
                  <a:pt x="0" y="9033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b="1">
              <a:cs typeface="Segoe UI Semibold" panose="020B0702040204020203" pitchFamily="34" charset="0"/>
            </a:endParaRPr>
          </a:p>
        </p:txBody>
      </p:sp>
    </p:spTree>
    <p:extLst>
      <p:ext uri="{BB962C8B-B14F-4D97-AF65-F5344CB8AC3E}">
        <p14:creationId xmlns:p14="http://schemas.microsoft.com/office/powerpoint/2010/main" val="34479017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6048E-6 -1.87926E-6 L 0.07161 -1.87926E-6 " pathEditMode="relative" rAng="0" ptsTypes="AA">
                                      <p:cBhvr>
                                        <p:cTn id="9" dur="750" spd="-100000" fill="hold"/>
                                        <p:tgtEl>
                                          <p:spTgt spid="2"/>
                                        </p:tgtEl>
                                        <p:attrNameLst>
                                          <p:attrName>ppt_x</p:attrName>
                                          <p:attrName>ppt_y</p:attrName>
                                        </p:attrNameLst>
                                      </p:cBhvr>
                                      <p:rCtr x="357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72" name="Straight Connector 171">
            <a:extLst>
              <a:ext uri="{FF2B5EF4-FFF2-40B4-BE49-F238E27FC236}">
                <a16:creationId xmlns:a16="http://schemas.microsoft.com/office/drawing/2014/main" id="{5437511E-BB59-4E4C-9FD3-6EAB352D08F7}"/>
              </a:ext>
            </a:extLst>
          </p:cNvPr>
          <p:cNvCxnSpPr>
            <a:cxnSpLocks/>
          </p:cNvCxnSpPr>
          <p:nvPr/>
        </p:nvCxnSpPr>
        <p:spPr>
          <a:xfrm flipH="1" flipV="1">
            <a:off x="9269276" y="2558005"/>
            <a:ext cx="0" cy="1513866"/>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73" name="Rectangle 172">
            <a:extLst>
              <a:ext uri="{FF2B5EF4-FFF2-40B4-BE49-F238E27FC236}">
                <a16:creationId xmlns:a16="http://schemas.microsoft.com/office/drawing/2014/main" id="{B10519BC-900F-4339-98C9-A9266852BB56}"/>
              </a:ext>
            </a:extLst>
          </p:cNvPr>
          <p:cNvSpPr/>
          <p:nvPr/>
        </p:nvSpPr>
        <p:spPr>
          <a:xfrm>
            <a:off x="7819992" y="3618916"/>
            <a:ext cx="1990802" cy="338554"/>
          </a:xfrm>
          <a:prstGeom prst="rect">
            <a:avLst/>
          </a:prstGeom>
          <a:solidFill>
            <a:schemeClr val="bg1"/>
          </a:solidFill>
        </p:spPr>
        <p:txBody>
          <a:bodyPr wrap="none">
            <a:spAutoFit/>
          </a:bodyPr>
          <a:lstStyle/>
          <a:p>
            <a:pPr lvl="0" algn="ctr" defTabSz="932293" fontAlgn="base">
              <a:spcBef>
                <a:spcPct val="0"/>
              </a:spcBef>
              <a:spcAft>
                <a:spcPct val="0"/>
              </a:spcAft>
              <a:defRPr/>
            </a:pPr>
            <a:r>
              <a:rPr lang="en-US" sz="1600" b="1" dirty="0">
                <a:solidFill>
                  <a:srgbClr val="002050"/>
                </a:solidFill>
                <a:ea typeface="Segoe UI" pitchFamily="34" charset="0"/>
                <a:cs typeface="Segoe UI Semibold" panose="020B0702040204020203" pitchFamily="34" charset="0"/>
              </a:rPr>
              <a:t>Compute Intensive</a:t>
            </a:r>
          </a:p>
        </p:txBody>
      </p:sp>
      <p:cxnSp>
        <p:nvCxnSpPr>
          <p:cNvPr id="14" name="Straight Connector 13">
            <a:extLst>
              <a:ext uri="{FF2B5EF4-FFF2-40B4-BE49-F238E27FC236}">
                <a16:creationId xmlns:a16="http://schemas.microsoft.com/office/drawing/2014/main" id="{435A1F83-76E8-431A-B2E3-513A7ABBEA5E}"/>
              </a:ext>
            </a:extLst>
          </p:cNvPr>
          <p:cNvCxnSpPr>
            <a:cxnSpLocks/>
          </p:cNvCxnSpPr>
          <p:nvPr/>
        </p:nvCxnSpPr>
        <p:spPr>
          <a:xfrm flipH="1" flipV="1">
            <a:off x="3470360" y="2558005"/>
            <a:ext cx="0" cy="1513866"/>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371ADF6D-74C0-4869-90DC-26D4D629691E}"/>
              </a:ext>
            </a:extLst>
          </p:cNvPr>
          <p:cNvSpPr/>
          <p:nvPr/>
        </p:nvSpPr>
        <p:spPr>
          <a:xfrm>
            <a:off x="2921364" y="3618916"/>
            <a:ext cx="1097993" cy="338554"/>
          </a:xfrm>
          <a:prstGeom prst="rect">
            <a:avLst/>
          </a:prstGeom>
          <a:solidFill>
            <a:schemeClr val="bg1"/>
          </a:solidFill>
        </p:spPr>
        <p:txBody>
          <a:bodyPr wrap="none">
            <a:spAutoFit/>
          </a:bodyPr>
          <a:lstStyle/>
          <a:p>
            <a:pPr lvl="0" algn="ctr" defTabSz="932293" fontAlgn="base">
              <a:spcBef>
                <a:spcPct val="0"/>
              </a:spcBef>
              <a:spcAft>
                <a:spcPct val="0"/>
              </a:spcAft>
              <a:defRPr/>
            </a:pPr>
            <a:r>
              <a:rPr lang="en-US" sz="1600" b="1" dirty="0">
                <a:solidFill>
                  <a:srgbClr val="002050"/>
                </a:solidFill>
                <a:ea typeface="Segoe UI" pitchFamily="34" charset="0"/>
                <a:cs typeface="Segoe UI Semibold" panose="020B0702040204020203" pitchFamily="34" charset="0"/>
              </a:rPr>
              <a:t>Burstable</a:t>
            </a:r>
          </a:p>
        </p:txBody>
      </p:sp>
      <p:sp>
        <p:nvSpPr>
          <p:cNvPr id="2" name="Title 1">
            <a:extLst>
              <a:ext uri="{FF2B5EF4-FFF2-40B4-BE49-F238E27FC236}">
                <a16:creationId xmlns:a16="http://schemas.microsoft.com/office/drawing/2014/main" id="{852A9BB4-BA6D-423B-9B7A-AE3CBF7E2A33}"/>
              </a:ext>
            </a:extLst>
          </p:cNvPr>
          <p:cNvSpPr>
            <a:spLocks noGrp="1"/>
          </p:cNvSpPr>
          <p:nvPr>
            <p:ph type="title"/>
          </p:nvPr>
        </p:nvSpPr>
        <p:spPr/>
        <p:txBody>
          <a:bodyPr/>
          <a:lstStyle/>
          <a:p>
            <a:r>
              <a:rPr lang="en-US" dirty="0"/>
              <a:t>…from Entry-level to Storage Optimized…</a:t>
            </a:r>
          </a:p>
        </p:txBody>
      </p:sp>
      <p:sp>
        <p:nvSpPr>
          <p:cNvPr id="75" name="Rectangle 74">
            <a:extLst>
              <a:ext uri="{FF2B5EF4-FFF2-40B4-BE49-F238E27FC236}">
                <a16:creationId xmlns:a16="http://schemas.microsoft.com/office/drawing/2014/main" id="{1D42D29E-2282-4DCD-9F40-170C149F507C}"/>
              </a:ext>
            </a:extLst>
          </p:cNvPr>
          <p:cNvSpPr/>
          <p:nvPr/>
        </p:nvSpPr>
        <p:spPr bwMode="auto">
          <a:xfrm>
            <a:off x="2720963" y="3618916"/>
            <a:ext cx="1498795" cy="117965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1600" b="1" dirty="0">
              <a:solidFill>
                <a:schemeClr val="accent1"/>
              </a:solidFill>
              <a:ea typeface="Segoe UI" pitchFamily="34" charset="0"/>
              <a:cs typeface="Segoe UI Semibold" panose="020B0702040204020203" pitchFamily="34" charset="0"/>
            </a:endParaRPr>
          </a:p>
        </p:txBody>
      </p:sp>
      <p:sp>
        <p:nvSpPr>
          <p:cNvPr id="81" name="Rectangle 80">
            <a:extLst>
              <a:ext uri="{FF2B5EF4-FFF2-40B4-BE49-F238E27FC236}">
                <a16:creationId xmlns:a16="http://schemas.microsoft.com/office/drawing/2014/main" id="{5A44DC32-343D-4888-B85B-13FD202B8AE0}"/>
              </a:ext>
            </a:extLst>
          </p:cNvPr>
          <p:cNvSpPr/>
          <p:nvPr/>
        </p:nvSpPr>
        <p:spPr bwMode="auto">
          <a:xfrm>
            <a:off x="457856" y="3618916"/>
            <a:ext cx="2156379" cy="117965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a:solidFill>
                  <a:schemeClr val="accent1"/>
                </a:solidFill>
                <a:ea typeface="Segoe UI" pitchFamily="34" charset="0"/>
                <a:cs typeface="Segoe UI Semibold" panose="020B0702040204020203" pitchFamily="34" charset="0"/>
              </a:rPr>
              <a:t>Entry level</a:t>
            </a:r>
          </a:p>
        </p:txBody>
      </p:sp>
      <p:sp>
        <p:nvSpPr>
          <p:cNvPr id="99" name="Rectangle 98">
            <a:extLst>
              <a:ext uri="{FF2B5EF4-FFF2-40B4-BE49-F238E27FC236}">
                <a16:creationId xmlns:a16="http://schemas.microsoft.com/office/drawing/2014/main" id="{9291E1E3-2870-4AD1-8C93-7A416AC515B9}"/>
              </a:ext>
            </a:extLst>
          </p:cNvPr>
          <p:cNvSpPr/>
          <p:nvPr/>
        </p:nvSpPr>
        <p:spPr bwMode="auto">
          <a:xfrm>
            <a:off x="4326486" y="3618916"/>
            <a:ext cx="3248635" cy="117965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a:solidFill>
                  <a:schemeClr val="accent1"/>
                </a:solidFill>
                <a:ea typeface="Segoe UI" pitchFamily="34" charset="0"/>
                <a:cs typeface="Segoe UI Semibold" panose="020B0702040204020203" pitchFamily="34" charset="0"/>
              </a:rPr>
              <a:t>General Purpose</a:t>
            </a:r>
          </a:p>
        </p:txBody>
      </p:sp>
      <p:sp>
        <p:nvSpPr>
          <p:cNvPr id="126" name="Rectangle 125">
            <a:extLst>
              <a:ext uri="{FF2B5EF4-FFF2-40B4-BE49-F238E27FC236}">
                <a16:creationId xmlns:a16="http://schemas.microsoft.com/office/drawing/2014/main" id="{EF57A9F4-E078-4CB6-A8C8-BFCD53C0A71C}"/>
              </a:ext>
            </a:extLst>
          </p:cNvPr>
          <p:cNvSpPr/>
          <p:nvPr/>
        </p:nvSpPr>
        <p:spPr bwMode="auto">
          <a:xfrm>
            <a:off x="10055666" y="3618915"/>
            <a:ext cx="1915672" cy="117965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73152" rIns="0" bIns="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dirty="0">
                <a:solidFill>
                  <a:schemeClr val="accent1"/>
                </a:solidFill>
                <a:ea typeface="Segoe UI" pitchFamily="34" charset="0"/>
                <a:cs typeface="Segoe UI Semibold" panose="020B0702040204020203" pitchFamily="34" charset="0"/>
              </a:rPr>
              <a:t>Storage Optimized</a:t>
            </a:r>
          </a:p>
        </p:txBody>
      </p:sp>
      <p:sp>
        <p:nvSpPr>
          <p:cNvPr id="131" name="Rectangle 130">
            <a:extLst>
              <a:ext uri="{FF2B5EF4-FFF2-40B4-BE49-F238E27FC236}">
                <a16:creationId xmlns:a16="http://schemas.microsoft.com/office/drawing/2014/main" id="{EB1EAA3C-47E6-4295-B79D-101C47E863B5}"/>
              </a:ext>
            </a:extLst>
          </p:cNvPr>
          <p:cNvSpPr/>
          <p:nvPr/>
        </p:nvSpPr>
        <p:spPr bwMode="auto">
          <a:xfrm>
            <a:off x="7681849" y="3618915"/>
            <a:ext cx="2267089" cy="117965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1600" b="1" dirty="0">
              <a:solidFill>
                <a:schemeClr val="accent1"/>
              </a:solidFill>
              <a:ea typeface="Segoe UI" pitchFamily="34" charset="0"/>
              <a:cs typeface="Segoe UI Semibold" panose="020B0702040204020203" pitchFamily="34" charset="0"/>
            </a:endParaRPr>
          </a:p>
        </p:txBody>
      </p:sp>
      <p:sp>
        <p:nvSpPr>
          <p:cNvPr id="132" name="Freeform: Shape 131">
            <a:extLst>
              <a:ext uri="{FF2B5EF4-FFF2-40B4-BE49-F238E27FC236}">
                <a16:creationId xmlns:a16="http://schemas.microsoft.com/office/drawing/2014/main" id="{1223F01F-77EB-41B4-9F8C-A7715ADEAC3D}"/>
              </a:ext>
            </a:extLst>
          </p:cNvPr>
          <p:cNvSpPr>
            <a:spLocks/>
          </p:cNvSpPr>
          <p:nvPr/>
        </p:nvSpPr>
        <p:spPr bwMode="auto">
          <a:xfrm>
            <a:off x="717925" y="4071871"/>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33" name="Freeform: Shape 132">
            <a:extLst>
              <a:ext uri="{FF2B5EF4-FFF2-40B4-BE49-F238E27FC236}">
                <a16:creationId xmlns:a16="http://schemas.microsoft.com/office/drawing/2014/main" id="{45CD1BED-673D-4B96-A98C-6F67431D73F9}"/>
              </a:ext>
            </a:extLst>
          </p:cNvPr>
          <p:cNvSpPr>
            <a:spLocks/>
          </p:cNvSpPr>
          <p:nvPr/>
        </p:nvSpPr>
        <p:spPr bwMode="auto">
          <a:xfrm>
            <a:off x="1678624" y="4071871"/>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34" name="Freeform: Shape 133">
            <a:extLst>
              <a:ext uri="{FF2B5EF4-FFF2-40B4-BE49-F238E27FC236}">
                <a16:creationId xmlns:a16="http://schemas.microsoft.com/office/drawing/2014/main" id="{FF91A3F3-06B4-4D4A-A8EC-DC4ED792D3A5}"/>
              </a:ext>
            </a:extLst>
          </p:cNvPr>
          <p:cNvSpPr>
            <a:spLocks/>
          </p:cNvSpPr>
          <p:nvPr/>
        </p:nvSpPr>
        <p:spPr bwMode="auto">
          <a:xfrm>
            <a:off x="3132589" y="4071871"/>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35" name="Freeform: Shape 134">
            <a:extLst>
              <a:ext uri="{FF2B5EF4-FFF2-40B4-BE49-F238E27FC236}">
                <a16:creationId xmlns:a16="http://schemas.microsoft.com/office/drawing/2014/main" id="{1AE35A77-6AE9-493A-BEF8-76BE790BEFE3}"/>
              </a:ext>
            </a:extLst>
          </p:cNvPr>
          <p:cNvSpPr>
            <a:spLocks/>
          </p:cNvSpPr>
          <p:nvPr/>
        </p:nvSpPr>
        <p:spPr bwMode="auto">
          <a:xfrm>
            <a:off x="4634190" y="4071871"/>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36" name="Freeform: Shape 135">
            <a:extLst>
              <a:ext uri="{FF2B5EF4-FFF2-40B4-BE49-F238E27FC236}">
                <a16:creationId xmlns:a16="http://schemas.microsoft.com/office/drawing/2014/main" id="{373AE5EF-540B-4C05-87A5-64601D4C3D18}"/>
              </a:ext>
            </a:extLst>
          </p:cNvPr>
          <p:cNvSpPr>
            <a:spLocks/>
          </p:cNvSpPr>
          <p:nvPr/>
        </p:nvSpPr>
        <p:spPr bwMode="auto">
          <a:xfrm>
            <a:off x="5613033" y="4071871"/>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37" name="Freeform: Shape 136">
            <a:extLst>
              <a:ext uri="{FF2B5EF4-FFF2-40B4-BE49-F238E27FC236}">
                <a16:creationId xmlns:a16="http://schemas.microsoft.com/office/drawing/2014/main" id="{7F244785-9BA6-46E9-A166-DC72E2105CC5}"/>
              </a:ext>
            </a:extLst>
          </p:cNvPr>
          <p:cNvSpPr>
            <a:spLocks/>
          </p:cNvSpPr>
          <p:nvPr/>
        </p:nvSpPr>
        <p:spPr bwMode="auto">
          <a:xfrm>
            <a:off x="6591875" y="4071871"/>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38" name="Freeform: Shape 137">
            <a:extLst>
              <a:ext uri="{FF2B5EF4-FFF2-40B4-BE49-F238E27FC236}">
                <a16:creationId xmlns:a16="http://schemas.microsoft.com/office/drawing/2014/main" id="{86B89EFA-E4EA-484F-85F2-612BB1BBDAA0}"/>
              </a:ext>
            </a:extLst>
          </p:cNvPr>
          <p:cNvSpPr>
            <a:spLocks/>
          </p:cNvSpPr>
          <p:nvPr/>
        </p:nvSpPr>
        <p:spPr bwMode="auto">
          <a:xfrm>
            <a:off x="7997273" y="4071871"/>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39" name="Freeform: Shape 138">
            <a:extLst>
              <a:ext uri="{FF2B5EF4-FFF2-40B4-BE49-F238E27FC236}">
                <a16:creationId xmlns:a16="http://schemas.microsoft.com/office/drawing/2014/main" id="{F91931AF-58C0-41D3-855F-1AB325D5E543}"/>
              </a:ext>
            </a:extLst>
          </p:cNvPr>
          <p:cNvSpPr>
            <a:spLocks/>
          </p:cNvSpPr>
          <p:nvPr/>
        </p:nvSpPr>
        <p:spPr bwMode="auto">
          <a:xfrm>
            <a:off x="8957972" y="4071871"/>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40" name="Freeform: Shape 139">
            <a:extLst>
              <a:ext uri="{FF2B5EF4-FFF2-40B4-BE49-F238E27FC236}">
                <a16:creationId xmlns:a16="http://schemas.microsoft.com/office/drawing/2014/main" id="{2926E4CC-72C3-4145-AD0C-C90CFD85DAB9}"/>
              </a:ext>
            </a:extLst>
          </p:cNvPr>
          <p:cNvSpPr>
            <a:spLocks/>
          </p:cNvSpPr>
          <p:nvPr/>
        </p:nvSpPr>
        <p:spPr bwMode="auto">
          <a:xfrm>
            <a:off x="10675731" y="4071871"/>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41" name="TextBox 140">
            <a:extLst>
              <a:ext uri="{FF2B5EF4-FFF2-40B4-BE49-F238E27FC236}">
                <a16:creationId xmlns:a16="http://schemas.microsoft.com/office/drawing/2014/main" id="{86E400AF-C8D8-4159-BEF9-13A090EA9B32}"/>
              </a:ext>
            </a:extLst>
          </p:cNvPr>
          <p:cNvSpPr txBox="1"/>
          <p:nvPr/>
        </p:nvSpPr>
        <p:spPr>
          <a:xfrm>
            <a:off x="3402217" y="4224271"/>
            <a:ext cx="136286" cy="215444"/>
          </a:xfrm>
          <a:prstGeom prst="rect">
            <a:avLst/>
          </a:prstGeom>
          <a:noFill/>
        </p:spPr>
        <p:txBody>
          <a:bodyPr wrap="square" lIns="0" tIns="0" rIns="0" bIns="0" rtlCol="0">
            <a:spAutoFit/>
          </a:bodyPr>
          <a:lstStyle/>
          <a:p>
            <a:pPr defTabSz="932563">
              <a:spcAft>
                <a:spcPts val="600"/>
              </a:spcAft>
              <a:defRPr/>
            </a:pPr>
            <a:r>
              <a:rPr lang="en-US" sz="1400" b="1">
                <a:cs typeface="Segoe UI Semibold" panose="020B0702040204020203" pitchFamily="34" charset="0"/>
              </a:rPr>
              <a:t>B</a:t>
            </a:r>
          </a:p>
        </p:txBody>
      </p:sp>
      <p:sp>
        <p:nvSpPr>
          <p:cNvPr id="142" name="TextBox 141">
            <a:extLst>
              <a:ext uri="{FF2B5EF4-FFF2-40B4-BE49-F238E27FC236}">
                <a16:creationId xmlns:a16="http://schemas.microsoft.com/office/drawing/2014/main" id="{CB96C5A5-6979-4178-8077-CDFA878F9468}"/>
              </a:ext>
            </a:extLst>
          </p:cNvPr>
          <p:cNvSpPr txBox="1"/>
          <p:nvPr/>
        </p:nvSpPr>
        <p:spPr>
          <a:xfrm>
            <a:off x="980528" y="4224271"/>
            <a:ext cx="150336"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A</a:t>
            </a:r>
          </a:p>
        </p:txBody>
      </p:sp>
      <p:sp>
        <p:nvSpPr>
          <p:cNvPr id="143" name="TextBox 142">
            <a:extLst>
              <a:ext uri="{FF2B5EF4-FFF2-40B4-BE49-F238E27FC236}">
                <a16:creationId xmlns:a16="http://schemas.microsoft.com/office/drawing/2014/main" id="{CED3B0D9-525A-44AC-A35E-3CF1ABA8C4F7}"/>
              </a:ext>
            </a:extLst>
          </p:cNvPr>
          <p:cNvSpPr txBox="1"/>
          <p:nvPr/>
        </p:nvSpPr>
        <p:spPr>
          <a:xfrm>
            <a:off x="1792510" y="4224271"/>
            <a:ext cx="447770" cy="215444"/>
          </a:xfrm>
          <a:prstGeom prst="rect">
            <a:avLst/>
          </a:prstGeom>
          <a:noFill/>
        </p:spPr>
        <p:txBody>
          <a:bodyPr wrap="square" lIns="0" tIns="0" rIns="0" bIns="0" rtlCol="0">
            <a:spAutoFit/>
          </a:bodyPr>
          <a:lstStyle/>
          <a:p>
            <a:pPr algn="ctr" defTabSz="932563">
              <a:spcAft>
                <a:spcPts val="600"/>
              </a:spcAft>
              <a:defRPr/>
            </a:pPr>
            <a:r>
              <a:rPr lang="en-US" sz="1400" b="1">
                <a:cs typeface="Segoe UI Semibold" panose="020B0702040204020203" pitchFamily="34" charset="0"/>
              </a:rPr>
              <a:t>Av2</a:t>
            </a:r>
          </a:p>
        </p:txBody>
      </p:sp>
      <p:sp>
        <p:nvSpPr>
          <p:cNvPr id="144" name="TextBox 143">
            <a:extLst>
              <a:ext uri="{FF2B5EF4-FFF2-40B4-BE49-F238E27FC236}">
                <a16:creationId xmlns:a16="http://schemas.microsoft.com/office/drawing/2014/main" id="{A49223C0-F221-4EDD-A65D-AEEEF23AB2B4}"/>
              </a:ext>
            </a:extLst>
          </p:cNvPr>
          <p:cNvSpPr txBox="1"/>
          <p:nvPr/>
        </p:nvSpPr>
        <p:spPr>
          <a:xfrm>
            <a:off x="4891173" y="4224271"/>
            <a:ext cx="161576" cy="215444"/>
          </a:xfrm>
          <a:prstGeom prst="rect">
            <a:avLst/>
          </a:prstGeom>
          <a:noFill/>
        </p:spPr>
        <p:txBody>
          <a:bodyPr wrap="square" lIns="0" tIns="0" rIns="0" bIns="0" rtlCol="0">
            <a:spAutoFit/>
          </a:bodyPr>
          <a:lstStyle/>
          <a:p>
            <a:pPr algn="ctr" defTabSz="932563">
              <a:spcAft>
                <a:spcPts val="600"/>
              </a:spcAft>
              <a:defRPr/>
            </a:pPr>
            <a:r>
              <a:rPr lang="en-US" sz="1400" b="1">
                <a:cs typeface="Segoe UI Semibold" panose="020B0702040204020203" pitchFamily="34" charset="0"/>
              </a:rPr>
              <a:t>D</a:t>
            </a:r>
          </a:p>
        </p:txBody>
      </p:sp>
      <p:sp>
        <p:nvSpPr>
          <p:cNvPr id="145" name="TextBox 144">
            <a:extLst>
              <a:ext uri="{FF2B5EF4-FFF2-40B4-BE49-F238E27FC236}">
                <a16:creationId xmlns:a16="http://schemas.microsoft.com/office/drawing/2014/main" id="{D25714C8-7B2A-4F2B-ABFE-8D1C6A468033}"/>
              </a:ext>
            </a:extLst>
          </p:cNvPr>
          <p:cNvSpPr txBox="1"/>
          <p:nvPr/>
        </p:nvSpPr>
        <p:spPr>
          <a:xfrm>
            <a:off x="5717557" y="4224271"/>
            <a:ext cx="466494"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Dv2</a:t>
            </a:r>
          </a:p>
        </p:txBody>
      </p:sp>
      <p:sp>
        <p:nvSpPr>
          <p:cNvPr id="146" name="TextBox 145">
            <a:extLst>
              <a:ext uri="{FF2B5EF4-FFF2-40B4-BE49-F238E27FC236}">
                <a16:creationId xmlns:a16="http://schemas.microsoft.com/office/drawing/2014/main" id="{5AFE1188-44E1-4A88-BC94-953F748DC011}"/>
              </a:ext>
            </a:extLst>
          </p:cNvPr>
          <p:cNvSpPr txBox="1"/>
          <p:nvPr/>
        </p:nvSpPr>
        <p:spPr>
          <a:xfrm>
            <a:off x="6696399" y="4224271"/>
            <a:ext cx="466494"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Dv3</a:t>
            </a:r>
          </a:p>
        </p:txBody>
      </p:sp>
      <p:sp>
        <p:nvSpPr>
          <p:cNvPr id="147" name="TextBox 146">
            <a:extLst>
              <a:ext uri="{FF2B5EF4-FFF2-40B4-BE49-F238E27FC236}">
                <a16:creationId xmlns:a16="http://schemas.microsoft.com/office/drawing/2014/main" id="{6082F361-3F21-465F-922C-015AA4328889}"/>
              </a:ext>
            </a:extLst>
          </p:cNvPr>
          <p:cNvSpPr txBox="1"/>
          <p:nvPr/>
        </p:nvSpPr>
        <p:spPr>
          <a:xfrm>
            <a:off x="10958707" y="4224271"/>
            <a:ext cx="109590" cy="215444"/>
          </a:xfrm>
          <a:prstGeom prst="rect">
            <a:avLst/>
          </a:prstGeom>
          <a:noFill/>
        </p:spPr>
        <p:txBody>
          <a:bodyPr wrap="squar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defTabSz="932563">
              <a:lnSpc>
                <a:spcPct val="100000"/>
              </a:lnSpc>
              <a:defRPr/>
            </a:pPr>
            <a:r>
              <a:rPr lang="en-US">
                <a:solidFill>
                  <a:schemeClr val="tx1"/>
                </a:solidFill>
                <a:latin typeface="+mn-lt"/>
                <a:cs typeface="Segoe UI Semibold" panose="020B0702040204020203" pitchFamily="34" charset="0"/>
              </a:rPr>
              <a:t>L</a:t>
            </a:r>
          </a:p>
        </p:txBody>
      </p:sp>
      <p:sp>
        <p:nvSpPr>
          <p:cNvPr id="148" name="TextBox 147">
            <a:extLst>
              <a:ext uri="{FF2B5EF4-FFF2-40B4-BE49-F238E27FC236}">
                <a16:creationId xmlns:a16="http://schemas.microsoft.com/office/drawing/2014/main" id="{ED2CD5D9-D865-4BD0-A4E3-14D8237C1D38}"/>
              </a:ext>
            </a:extLst>
          </p:cNvPr>
          <p:cNvSpPr txBox="1"/>
          <p:nvPr/>
        </p:nvSpPr>
        <p:spPr>
          <a:xfrm>
            <a:off x="8278844" y="4224271"/>
            <a:ext cx="112400" cy="215444"/>
          </a:xfrm>
          <a:prstGeom prst="rect">
            <a:avLst/>
          </a:prstGeom>
          <a:noFill/>
        </p:spPr>
        <p:txBody>
          <a:bodyPr wrap="square" lIns="0" tIns="0" rIns="0" bIns="0" rtlCol="0">
            <a:spAutoFit/>
          </a:bodyPr>
          <a:lstStyle/>
          <a:p>
            <a:pPr algn="ctr" defTabSz="932563">
              <a:spcAft>
                <a:spcPts val="600"/>
              </a:spcAft>
              <a:defRPr/>
            </a:pPr>
            <a:r>
              <a:rPr lang="en-US" sz="1400" b="1">
                <a:cs typeface="Segoe UI Semibold" panose="020B0702040204020203" pitchFamily="34" charset="0"/>
              </a:rPr>
              <a:t>F</a:t>
            </a:r>
          </a:p>
        </p:txBody>
      </p:sp>
      <p:sp>
        <p:nvSpPr>
          <p:cNvPr id="149" name="TextBox 148">
            <a:extLst>
              <a:ext uri="{FF2B5EF4-FFF2-40B4-BE49-F238E27FC236}">
                <a16:creationId xmlns:a16="http://schemas.microsoft.com/office/drawing/2014/main" id="{FA64C8D8-71FE-4821-A637-29EBA57B0141}"/>
              </a:ext>
            </a:extLst>
          </p:cNvPr>
          <p:cNvSpPr txBox="1"/>
          <p:nvPr/>
        </p:nvSpPr>
        <p:spPr>
          <a:xfrm>
            <a:off x="9036006" y="4224271"/>
            <a:ext cx="519474"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Fv2</a:t>
            </a:r>
          </a:p>
        </p:txBody>
      </p:sp>
      <p:sp>
        <p:nvSpPr>
          <p:cNvPr id="150" name="Oval 149">
            <a:extLst>
              <a:ext uri="{FF2B5EF4-FFF2-40B4-BE49-F238E27FC236}">
                <a16:creationId xmlns:a16="http://schemas.microsoft.com/office/drawing/2014/main" id="{B76DAF0C-19DB-4913-8996-C76FB26039B3}"/>
              </a:ext>
            </a:extLst>
          </p:cNvPr>
          <p:cNvSpPr/>
          <p:nvPr/>
        </p:nvSpPr>
        <p:spPr bwMode="auto">
          <a:xfrm>
            <a:off x="1220668" y="2878207"/>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Semibold" panose="020B0702040204020203" pitchFamily="34" charset="0"/>
            </a:endParaRPr>
          </a:p>
        </p:txBody>
      </p:sp>
      <p:sp>
        <p:nvSpPr>
          <p:cNvPr id="151" name="Oval 150">
            <a:extLst>
              <a:ext uri="{FF2B5EF4-FFF2-40B4-BE49-F238E27FC236}">
                <a16:creationId xmlns:a16="http://schemas.microsoft.com/office/drawing/2014/main" id="{4B413386-C6F4-43FF-9454-2FD0B4D951EA}"/>
              </a:ext>
            </a:extLst>
          </p:cNvPr>
          <p:cNvSpPr/>
          <p:nvPr/>
        </p:nvSpPr>
        <p:spPr bwMode="auto">
          <a:xfrm>
            <a:off x="3154983" y="2878207"/>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Semibold" panose="020B0702040204020203" pitchFamily="34" charset="0"/>
            </a:endParaRPr>
          </a:p>
        </p:txBody>
      </p:sp>
      <p:sp>
        <p:nvSpPr>
          <p:cNvPr id="152" name="Oval 151">
            <a:extLst>
              <a:ext uri="{FF2B5EF4-FFF2-40B4-BE49-F238E27FC236}">
                <a16:creationId xmlns:a16="http://schemas.microsoft.com/office/drawing/2014/main" id="{EE8A71D8-0BCC-4F7E-B64E-3836AF7911D9}"/>
              </a:ext>
            </a:extLst>
          </p:cNvPr>
          <p:cNvSpPr/>
          <p:nvPr/>
        </p:nvSpPr>
        <p:spPr bwMode="auto">
          <a:xfrm>
            <a:off x="5635426" y="2878207"/>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Semibold" panose="020B0702040204020203" pitchFamily="34" charset="0"/>
            </a:endParaRPr>
          </a:p>
        </p:txBody>
      </p:sp>
      <p:sp>
        <p:nvSpPr>
          <p:cNvPr id="153" name="Oval 152">
            <a:extLst>
              <a:ext uri="{FF2B5EF4-FFF2-40B4-BE49-F238E27FC236}">
                <a16:creationId xmlns:a16="http://schemas.microsoft.com/office/drawing/2014/main" id="{13ED8CC8-1547-4200-BBD0-B8F320AFBC0D}"/>
              </a:ext>
            </a:extLst>
          </p:cNvPr>
          <p:cNvSpPr/>
          <p:nvPr/>
        </p:nvSpPr>
        <p:spPr bwMode="auto">
          <a:xfrm>
            <a:off x="8500016" y="2878207"/>
            <a:ext cx="630754" cy="630752"/>
          </a:xfrm>
          <a:prstGeom prst="ellipse">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Semibold" panose="020B0702040204020203" pitchFamily="34" charset="0"/>
            </a:endParaRPr>
          </a:p>
        </p:txBody>
      </p:sp>
      <p:sp>
        <p:nvSpPr>
          <p:cNvPr id="154" name="Oval 153">
            <a:extLst>
              <a:ext uri="{FF2B5EF4-FFF2-40B4-BE49-F238E27FC236}">
                <a16:creationId xmlns:a16="http://schemas.microsoft.com/office/drawing/2014/main" id="{1F518F0F-B476-4FAF-AF2B-35AC0B72AD68}"/>
              </a:ext>
            </a:extLst>
          </p:cNvPr>
          <p:cNvSpPr/>
          <p:nvPr/>
        </p:nvSpPr>
        <p:spPr bwMode="auto">
          <a:xfrm>
            <a:off x="10698125" y="2878207"/>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Semibold" panose="020B0702040204020203" pitchFamily="34" charset="0"/>
            </a:endParaRPr>
          </a:p>
        </p:txBody>
      </p:sp>
      <p:grpSp>
        <p:nvGrpSpPr>
          <p:cNvPr id="155" name="Group 154">
            <a:extLst>
              <a:ext uri="{FF2B5EF4-FFF2-40B4-BE49-F238E27FC236}">
                <a16:creationId xmlns:a16="http://schemas.microsoft.com/office/drawing/2014/main" id="{1A8CFF2B-72CD-404D-8B98-A11033B61066}"/>
              </a:ext>
            </a:extLst>
          </p:cNvPr>
          <p:cNvGrpSpPr/>
          <p:nvPr/>
        </p:nvGrpSpPr>
        <p:grpSpPr>
          <a:xfrm>
            <a:off x="1324150" y="3055709"/>
            <a:ext cx="423790" cy="275748"/>
            <a:chOff x="-1068897" y="4454889"/>
            <a:chExt cx="827088" cy="538163"/>
          </a:xfrm>
          <a:solidFill>
            <a:schemeClr val="bg1"/>
          </a:solidFill>
        </p:grpSpPr>
        <p:sp>
          <p:nvSpPr>
            <p:cNvPr id="156" name="Laptop Part 6">
              <a:extLst>
                <a:ext uri="{FF2B5EF4-FFF2-40B4-BE49-F238E27FC236}">
                  <a16:creationId xmlns:a16="http://schemas.microsoft.com/office/drawing/2014/main" id="{736E7D99-7DF9-4C02-9DED-D834A7590BDF}"/>
                </a:ext>
              </a:extLst>
            </p:cNvPr>
            <p:cNvSpPr>
              <a:spLocks/>
            </p:cNvSpPr>
            <p:nvPr/>
          </p:nvSpPr>
          <p:spPr bwMode="auto">
            <a:xfrm>
              <a:off x="-1068897" y="4932727"/>
              <a:ext cx="827088" cy="60325"/>
            </a:xfrm>
            <a:custGeom>
              <a:avLst/>
              <a:gdLst>
                <a:gd name="T0" fmla="*/ 2735 w 2735"/>
                <a:gd name="T1" fmla="*/ 91 h 198"/>
                <a:gd name="T2" fmla="*/ 2645 w 2735"/>
                <a:gd name="T3" fmla="*/ 198 h 198"/>
                <a:gd name="T4" fmla="*/ 91 w 2735"/>
                <a:gd name="T5" fmla="*/ 198 h 198"/>
                <a:gd name="T6" fmla="*/ 0 w 2735"/>
                <a:gd name="T7" fmla="*/ 91 h 198"/>
                <a:gd name="T8" fmla="*/ 91 w 2735"/>
                <a:gd name="T9" fmla="*/ 0 h 198"/>
                <a:gd name="T10" fmla="*/ 2647 w 2735"/>
                <a:gd name="T11" fmla="*/ 0 h 198"/>
                <a:gd name="T12" fmla="*/ 2735 w 2735"/>
                <a:gd name="T13" fmla="*/ 91 h 198"/>
              </a:gdLst>
              <a:ahLst/>
              <a:cxnLst>
                <a:cxn ang="0">
                  <a:pos x="T0" y="T1"/>
                </a:cxn>
                <a:cxn ang="0">
                  <a:pos x="T2" y="T3"/>
                </a:cxn>
                <a:cxn ang="0">
                  <a:pos x="T4" y="T5"/>
                </a:cxn>
                <a:cxn ang="0">
                  <a:pos x="T6" y="T7"/>
                </a:cxn>
                <a:cxn ang="0">
                  <a:pos x="T8" y="T9"/>
                </a:cxn>
                <a:cxn ang="0">
                  <a:pos x="T10" y="T11"/>
                </a:cxn>
                <a:cxn ang="0">
                  <a:pos x="T12" y="T13"/>
                </a:cxn>
              </a:cxnLst>
              <a:rect l="0" t="0" r="r" b="b"/>
              <a:pathLst>
                <a:path w="2735" h="198">
                  <a:moveTo>
                    <a:pt x="2735" y="91"/>
                  </a:moveTo>
                  <a:cubicBezTo>
                    <a:pt x="2735" y="142"/>
                    <a:pt x="2695" y="181"/>
                    <a:pt x="2645" y="198"/>
                  </a:cubicBezTo>
                  <a:lnTo>
                    <a:pt x="91" y="198"/>
                  </a:lnTo>
                  <a:cubicBezTo>
                    <a:pt x="40" y="184"/>
                    <a:pt x="0" y="142"/>
                    <a:pt x="0" y="91"/>
                  </a:cubicBezTo>
                  <a:cubicBezTo>
                    <a:pt x="0" y="40"/>
                    <a:pt x="40" y="0"/>
                    <a:pt x="91" y="0"/>
                  </a:cubicBezTo>
                  <a:lnTo>
                    <a:pt x="2647" y="0"/>
                  </a:lnTo>
                  <a:cubicBezTo>
                    <a:pt x="2695" y="0"/>
                    <a:pt x="2735" y="43"/>
                    <a:pt x="2735" y="91"/>
                  </a:cubicBezTo>
                  <a:close/>
                </a:path>
              </a:pathLst>
            </a:custGeom>
            <a:grp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400" b="1">
                <a:cs typeface="Segoe UI Semibold" panose="020B0702040204020203" pitchFamily="34" charset="0"/>
              </a:endParaRPr>
            </a:p>
          </p:txBody>
        </p:sp>
        <p:sp>
          <p:nvSpPr>
            <p:cNvPr id="157" name="Laptop Part 5">
              <a:extLst>
                <a:ext uri="{FF2B5EF4-FFF2-40B4-BE49-F238E27FC236}">
                  <a16:creationId xmlns:a16="http://schemas.microsoft.com/office/drawing/2014/main" id="{7A44142F-29A2-4793-B824-4F7609686043}"/>
                </a:ext>
              </a:extLst>
            </p:cNvPr>
            <p:cNvSpPr>
              <a:spLocks/>
            </p:cNvSpPr>
            <p:nvPr/>
          </p:nvSpPr>
          <p:spPr bwMode="auto">
            <a:xfrm>
              <a:off x="-1018097" y="4454889"/>
              <a:ext cx="727075" cy="477838"/>
            </a:xfrm>
            <a:custGeom>
              <a:avLst/>
              <a:gdLst>
                <a:gd name="T0" fmla="*/ 2263 w 2401"/>
                <a:gd name="T1" fmla="*/ 1583 h 1583"/>
                <a:gd name="T2" fmla="*/ 135 w 2401"/>
                <a:gd name="T3" fmla="*/ 1583 h 1583"/>
                <a:gd name="T4" fmla="*/ 0 w 2401"/>
                <a:gd name="T5" fmla="*/ 1448 h 1583"/>
                <a:gd name="T6" fmla="*/ 0 w 2401"/>
                <a:gd name="T7" fmla="*/ 136 h 1583"/>
                <a:gd name="T8" fmla="*/ 135 w 2401"/>
                <a:gd name="T9" fmla="*/ 0 h 1583"/>
                <a:gd name="T10" fmla="*/ 2266 w 2401"/>
                <a:gd name="T11" fmla="*/ 0 h 1583"/>
                <a:gd name="T12" fmla="*/ 2401 w 2401"/>
                <a:gd name="T13" fmla="*/ 136 h 1583"/>
                <a:gd name="T14" fmla="*/ 2401 w 2401"/>
                <a:gd name="T15" fmla="*/ 1448 h 1583"/>
                <a:gd name="T16" fmla="*/ 2263 w 2401"/>
                <a:gd name="T17" fmla="*/ 1583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1" h="1583">
                  <a:moveTo>
                    <a:pt x="2263" y="1583"/>
                  </a:moveTo>
                  <a:lnTo>
                    <a:pt x="135" y="1583"/>
                  </a:lnTo>
                  <a:cubicBezTo>
                    <a:pt x="62" y="1583"/>
                    <a:pt x="0" y="1524"/>
                    <a:pt x="0" y="1448"/>
                  </a:cubicBezTo>
                  <a:lnTo>
                    <a:pt x="0" y="136"/>
                  </a:lnTo>
                  <a:cubicBezTo>
                    <a:pt x="0" y="62"/>
                    <a:pt x="59" y="0"/>
                    <a:pt x="135" y="0"/>
                  </a:cubicBezTo>
                  <a:lnTo>
                    <a:pt x="2266" y="0"/>
                  </a:lnTo>
                  <a:cubicBezTo>
                    <a:pt x="2339" y="0"/>
                    <a:pt x="2401" y="59"/>
                    <a:pt x="2401" y="136"/>
                  </a:cubicBezTo>
                  <a:lnTo>
                    <a:pt x="2401" y="1448"/>
                  </a:lnTo>
                  <a:cubicBezTo>
                    <a:pt x="2401" y="1522"/>
                    <a:pt x="2326" y="1582"/>
                    <a:pt x="2263" y="1583"/>
                  </a:cubicBezTo>
                  <a:close/>
                </a:path>
              </a:pathLst>
            </a:custGeom>
            <a:grp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400" b="1">
                <a:cs typeface="Segoe UI Semibold" panose="020B0702040204020203" pitchFamily="34" charset="0"/>
              </a:endParaRPr>
            </a:p>
          </p:txBody>
        </p:sp>
        <p:sp>
          <p:nvSpPr>
            <p:cNvPr id="158" name="Laptop Part 4">
              <a:extLst>
                <a:ext uri="{FF2B5EF4-FFF2-40B4-BE49-F238E27FC236}">
                  <a16:creationId xmlns:a16="http://schemas.microsoft.com/office/drawing/2014/main" id="{B50AE141-4138-4850-A003-5B92F05C7EFC}"/>
                </a:ext>
              </a:extLst>
            </p:cNvPr>
            <p:cNvSpPr>
              <a:spLocks noChangeArrowheads="1"/>
            </p:cNvSpPr>
            <p:nvPr/>
          </p:nvSpPr>
          <p:spPr bwMode="auto">
            <a:xfrm>
              <a:off x="-983172" y="4497752"/>
              <a:ext cx="647700" cy="393700"/>
            </a:xfrm>
            <a:prstGeom prst="rect">
              <a:avLst/>
            </a:prstGeom>
            <a:solidFill>
              <a:schemeClr val="accent1"/>
            </a:solidFill>
            <a:ln w="0">
              <a:noFill/>
              <a:prstDash val="solid"/>
              <a:miter lim="800000"/>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400" b="1">
                <a:cs typeface="Segoe UI Semibold" panose="020B0702040204020203" pitchFamily="34" charset="0"/>
              </a:endParaRPr>
            </a:p>
          </p:txBody>
        </p:sp>
        <p:sp>
          <p:nvSpPr>
            <p:cNvPr id="159" name="Laptop Part 3">
              <a:extLst>
                <a:ext uri="{FF2B5EF4-FFF2-40B4-BE49-F238E27FC236}">
                  <a16:creationId xmlns:a16="http://schemas.microsoft.com/office/drawing/2014/main" id="{83C2640E-149B-4B16-80D2-599F8508E062}"/>
                </a:ext>
              </a:extLst>
            </p:cNvPr>
            <p:cNvSpPr>
              <a:spLocks/>
            </p:cNvSpPr>
            <p:nvPr/>
          </p:nvSpPr>
          <p:spPr bwMode="auto">
            <a:xfrm>
              <a:off x="-1068897" y="4924789"/>
              <a:ext cx="827088" cy="50800"/>
            </a:xfrm>
            <a:custGeom>
              <a:avLst/>
              <a:gdLst>
                <a:gd name="T0" fmla="*/ 2738 w 2738"/>
                <a:gd name="T1" fmla="*/ 85 h 170"/>
                <a:gd name="T2" fmla="*/ 2653 w 2738"/>
                <a:gd name="T3" fmla="*/ 170 h 170"/>
                <a:gd name="T4" fmla="*/ 85 w 2738"/>
                <a:gd name="T5" fmla="*/ 170 h 170"/>
                <a:gd name="T6" fmla="*/ 0 w 2738"/>
                <a:gd name="T7" fmla="*/ 85 h 170"/>
                <a:gd name="T8" fmla="*/ 85 w 2738"/>
                <a:gd name="T9" fmla="*/ 0 h 170"/>
                <a:gd name="T10" fmla="*/ 2653 w 2738"/>
                <a:gd name="T11" fmla="*/ 0 h 170"/>
                <a:gd name="T12" fmla="*/ 2738 w 2738"/>
                <a:gd name="T13" fmla="*/ 85 h 170"/>
              </a:gdLst>
              <a:ahLst/>
              <a:cxnLst>
                <a:cxn ang="0">
                  <a:pos x="T0" y="T1"/>
                </a:cxn>
                <a:cxn ang="0">
                  <a:pos x="T2" y="T3"/>
                </a:cxn>
                <a:cxn ang="0">
                  <a:pos x="T4" y="T5"/>
                </a:cxn>
                <a:cxn ang="0">
                  <a:pos x="T6" y="T7"/>
                </a:cxn>
                <a:cxn ang="0">
                  <a:pos x="T8" y="T9"/>
                </a:cxn>
                <a:cxn ang="0">
                  <a:pos x="T10" y="T11"/>
                </a:cxn>
                <a:cxn ang="0">
                  <a:pos x="T12" y="T13"/>
                </a:cxn>
              </a:cxnLst>
              <a:rect l="0" t="0" r="r" b="b"/>
              <a:pathLst>
                <a:path w="2738" h="170">
                  <a:moveTo>
                    <a:pt x="2738" y="85"/>
                  </a:moveTo>
                  <a:cubicBezTo>
                    <a:pt x="2738" y="133"/>
                    <a:pt x="2701" y="170"/>
                    <a:pt x="2653" y="170"/>
                  </a:cubicBezTo>
                  <a:lnTo>
                    <a:pt x="85" y="170"/>
                  </a:lnTo>
                  <a:cubicBezTo>
                    <a:pt x="37" y="170"/>
                    <a:pt x="0" y="133"/>
                    <a:pt x="0" y="85"/>
                  </a:cubicBezTo>
                  <a:cubicBezTo>
                    <a:pt x="0" y="37"/>
                    <a:pt x="37" y="0"/>
                    <a:pt x="85" y="0"/>
                  </a:cubicBezTo>
                  <a:lnTo>
                    <a:pt x="2653" y="0"/>
                  </a:lnTo>
                  <a:cubicBezTo>
                    <a:pt x="2701" y="0"/>
                    <a:pt x="2738" y="37"/>
                    <a:pt x="2738" y="85"/>
                  </a:cubicBezTo>
                  <a:close/>
                </a:path>
              </a:pathLst>
            </a:custGeom>
            <a:solidFill>
              <a:schemeClr val="accent1"/>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400" b="1">
                <a:cs typeface="Segoe UI Semibold" panose="020B0702040204020203" pitchFamily="34" charset="0"/>
              </a:endParaRPr>
            </a:p>
          </p:txBody>
        </p:sp>
        <p:sp>
          <p:nvSpPr>
            <p:cNvPr id="162" name="Laptop Part 2">
              <a:extLst>
                <a:ext uri="{FF2B5EF4-FFF2-40B4-BE49-F238E27FC236}">
                  <a16:creationId xmlns:a16="http://schemas.microsoft.com/office/drawing/2014/main" id="{5F6D7AD2-66C9-4E1F-84F6-BE38DE0655E8}"/>
                </a:ext>
              </a:extLst>
            </p:cNvPr>
            <p:cNvSpPr>
              <a:spLocks/>
            </p:cNvSpPr>
            <p:nvPr/>
          </p:nvSpPr>
          <p:spPr bwMode="auto">
            <a:xfrm>
              <a:off x="-716472" y="4926377"/>
              <a:ext cx="139700" cy="15875"/>
            </a:xfrm>
            <a:custGeom>
              <a:avLst/>
              <a:gdLst>
                <a:gd name="T0" fmla="*/ 463 w 463"/>
                <a:gd name="T1" fmla="*/ 0 h 51"/>
                <a:gd name="T2" fmla="*/ 412 w 463"/>
                <a:gd name="T3" fmla="*/ 51 h 51"/>
                <a:gd name="T4" fmla="*/ 51 w 463"/>
                <a:gd name="T5" fmla="*/ 51 h 51"/>
                <a:gd name="T6" fmla="*/ 0 w 463"/>
                <a:gd name="T7" fmla="*/ 0 h 51"/>
              </a:gdLst>
              <a:ahLst/>
              <a:cxnLst>
                <a:cxn ang="0">
                  <a:pos x="T0" y="T1"/>
                </a:cxn>
                <a:cxn ang="0">
                  <a:pos x="T2" y="T3"/>
                </a:cxn>
                <a:cxn ang="0">
                  <a:pos x="T4" y="T5"/>
                </a:cxn>
                <a:cxn ang="0">
                  <a:pos x="T6" y="T7"/>
                </a:cxn>
              </a:cxnLst>
              <a:rect l="0" t="0" r="r" b="b"/>
              <a:pathLst>
                <a:path w="463" h="51">
                  <a:moveTo>
                    <a:pt x="463" y="0"/>
                  </a:moveTo>
                  <a:cubicBezTo>
                    <a:pt x="463" y="29"/>
                    <a:pt x="437" y="50"/>
                    <a:pt x="412" y="51"/>
                  </a:cubicBezTo>
                  <a:lnTo>
                    <a:pt x="51" y="51"/>
                  </a:lnTo>
                  <a:cubicBezTo>
                    <a:pt x="22" y="51"/>
                    <a:pt x="0" y="28"/>
                    <a:pt x="0" y="0"/>
                  </a:cubicBezTo>
                </a:path>
              </a:pathLst>
            </a:custGeom>
            <a:grp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400" b="1">
                <a:cs typeface="Segoe UI Semibold" panose="020B0702040204020203" pitchFamily="34" charset="0"/>
              </a:endParaRPr>
            </a:p>
          </p:txBody>
        </p:sp>
      </p:grpSp>
      <p:sp>
        <p:nvSpPr>
          <p:cNvPr id="163" name="Freeform 63">
            <a:extLst>
              <a:ext uri="{FF2B5EF4-FFF2-40B4-BE49-F238E27FC236}">
                <a16:creationId xmlns:a16="http://schemas.microsoft.com/office/drawing/2014/main" id="{0A92FE2A-EAE3-4581-9AB3-8D3C60535633}"/>
              </a:ext>
            </a:extLst>
          </p:cNvPr>
          <p:cNvSpPr/>
          <p:nvPr/>
        </p:nvSpPr>
        <p:spPr bwMode="auto">
          <a:xfrm rot="18858197" flipH="1" flipV="1">
            <a:off x="5797419" y="3048680"/>
            <a:ext cx="306768" cy="289806"/>
          </a:xfrm>
          <a:custGeom>
            <a:avLst/>
            <a:gdLst>
              <a:gd name="connsiteX0" fmla="*/ 330611 w 893478"/>
              <a:gd name="connsiteY0" fmla="*/ 445441 h 844074"/>
              <a:gd name="connsiteX1" fmla="*/ 248731 w 893478"/>
              <a:gd name="connsiteY1" fmla="*/ 527321 h 844074"/>
              <a:gd name="connsiteX2" fmla="*/ 248731 w 893478"/>
              <a:gd name="connsiteY2" fmla="*/ 486381 h 844074"/>
              <a:gd name="connsiteX3" fmla="*/ 0 w 893478"/>
              <a:gd name="connsiteY3" fmla="*/ 486381 h 844074"/>
              <a:gd name="connsiteX4" fmla="*/ 0 w 893478"/>
              <a:gd name="connsiteY4" fmla="*/ 404500 h 844074"/>
              <a:gd name="connsiteX5" fmla="*/ 248731 w 893478"/>
              <a:gd name="connsiteY5" fmla="*/ 404500 h 844074"/>
              <a:gd name="connsiteX6" fmla="*/ 248731 w 893478"/>
              <a:gd name="connsiteY6" fmla="*/ 363560 h 844074"/>
              <a:gd name="connsiteX7" fmla="*/ 546618 w 893478"/>
              <a:gd name="connsiteY7" fmla="*/ 348667 h 844074"/>
              <a:gd name="connsiteX8" fmla="*/ 398071 w 893478"/>
              <a:gd name="connsiteY8" fmla="*/ 346860 h 844074"/>
              <a:gd name="connsiteX9" fmla="*/ 396265 w 893478"/>
              <a:gd name="connsiteY9" fmla="*/ 495407 h 844074"/>
              <a:gd name="connsiteX10" fmla="*/ 544811 w 893478"/>
              <a:gd name="connsiteY10" fmla="*/ 497213 h 844074"/>
              <a:gd name="connsiteX11" fmla="*/ 546618 w 893478"/>
              <a:gd name="connsiteY11" fmla="*/ 348667 h 844074"/>
              <a:gd name="connsiteX12" fmla="*/ 600557 w 893478"/>
              <a:gd name="connsiteY12" fmla="*/ 296023 h 844074"/>
              <a:gd name="connsiteX13" fmla="*/ 597455 w 893478"/>
              <a:gd name="connsiteY13" fmla="*/ 551153 h 844074"/>
              <a:gd name="connsiteX14" fmla="*/ 342325 w 893478"/>
              <a:gd name="connsiteY14" fmla="*/ 548050 h 844074"/>
              <a:gd name="connsiteX15" fmla="*/ 303422 w 893478"/>
              <a:gd name="connsiteY15" fmla="*/ 487890 h 844074"/>
              <a:gd name="connsiteX16" fmla="*/ 303254 w 893478"/>
              <a:gd name="connsiteY16" fmla="*/ 486968 h 844074"/>
              <a:gd name="connsiteX17" fmla="*/ 348821 w 893478"/>
              <a:gd name="connsiteY17" fmla="*/ 444836 h 844074"/>
              <a:gd name="connsiteX18" fmla="*/ 295983 w 893478"/>
              <a:gd name="connsiteY18" fmla="*/ 395981 h 844074"/>
              <a:gd name="connsiteX19" fmla="*/ 305073 w 893478"/>
              <a:gd name="connsiteY19" fmla="*/ 352117 h 844074"/>
              <a:gd name="connsiteX20" fmla="*/ 345428 w 893478"/>
              <a:gd name="connsiteY20" fmla="*/ 292921 h 844074"/>
              <a:gd name="connsiteX21" fmla="*/ 600557 w 893478"/>
              <a:gd name="connsiteY21" fmla="*/ 296023 h 844074"/>
              <a:gd name="connsiteX22" fmla="*/ 682546 w 893478"/>
              <a:gd name="connsiteY22" fmla="*/ 216005 h 844074"/>
              <a:gd name="connsiteX23" fmla="*/ 677473 w 893478"/>
              <a:gd name="connsiteY23" fmla="*/ 633141 h 844074"/>
              <a:gd name="connsiteX24" fmla="*/ 260337 w 893478"/>
              <a:gd name="connsiteY24" fmla="*/ 628069 h 844074"/>
              <a:gd name="connsiteX25" fmla="*/ 196730 w 893478"/>
              <a:gd name="connsiteY25" fmla="*/ 529706 h 844074"/>
              <a:gd name="connsiteX26" fmla="*/ 187355 w 893478"/>
              <a:gd name="connsiteY26" fmla="*/ 496601 h 844074"/>
              <a:gd name="connsiteX27" fmla="*/ 236852 w 893478"/>
              <a:gd name="connsiteY27" fmla="*/ 496601 h 844074"/>
              <a:gd name="connsiteX28" fmla="*/ 236853 w 893478"/>
              <a:gd name="connsiteY28" fmla="*/ 548364 h 844074"/>
              <a:gd name="connsiteX29" fmla="*/ 278622 w 893478"/>
              <a:gd name="connsiteY29" fmla="*/ 509744 h 844074"/>
              <a:gd name="connsiteX30" fmla="*/ 292464 w 893478"/>
              <a:gd name="connsiteY30" fmla="*/ 536845 h 844074"/>
              <a:gd name="connsiteX31" fmla="*/ 319299 w 893478"/>
              <a:gd name="connsiteY31" fmla="*/ 570524 h 844074"/>
              <a:gd name="connsiteX32" fmla="*/ 619929 w 893478"/>
              <a:gd name="connsiteY32" fmla="*/ 574180 h 844074"/>
              <a:gd name="connsiteX33" fmla="*/ 623584 w 893478"/>
              <a:gd name="connsiteY33" fmla="*/ 273550 h 844074"/>
              <a:gd name="connsiteX34" fmla="*/ 322954 w 893478"/>
              <a:gd name="connsiteY34" fmla="*/ 269894 h 844074"/>
              <a:gd name="connsiteX35" fmla="*/ 275402 w 893478"/>
              <a:gd name="connsiteY35" fmla="*/ 339648 h 844074"/>
              <a:gd name="connsiteX36" fmla="*/ 268915 w 893478"/>
              <a:gd name="connsiteY36" fmla="*/ 370952 h 844074"/>
              <a:gd name="connsiteX37" fmla="*/ 236854 w 893478"/>
              <a:gd name="connsiteY37" fmla="*/ 341307 h 844074"/>
              <a:gd name="connsiteX38" fmla="*/ 236853 w 893478"/>
              <a:gd name="connsiteY38" fmla="*/ 393071 h 844074"/>
              <a:gd name="connsiteX39" fmla="*/ 179226 w 893478"/>
              <a:gd name="connsiteY39" fmla="*/ 393071 h 844074"/>
              <a:gd name="connsiteX40" fmla="*/ 182566 w 893478"/>
              <a:gd name="connsiteY40" fmla="*/ 362180 h 844074"/>
              <a:gd name="connsiteX41" fmla="*/ 265409 w 893478"/>
              <a:gd name="connsiteY41" fmla="*/ 210932 h 844074"/>
              <a:gd name="connsiteX42" fmla="*/ 682546 w 893478"/>
              <a:gd name="connsiteY42" fmla="*/ 216005 h 844074"/>
              <a:gd name="connsiteX43" fmla="*/ 773473 w 893478"/>
              <a:gd name="connsiteY43" fmla="*/ 127262 h 844074"/>
              <a:gd name="connsiteX44" fmla="*/ 766216 w 893478"/>
              <a:gd name="connsiteY44" fmla="*/ 724069 h 844074"/>
              <a:gd name="connsiteX45" fmla="*/ 169409 w 893478"/>
              <a:gd name="connsiteY45" fmla="*/ 716811 h 844074"/>
              <a:gd name="connsiteX46" fmla="*/ 56180 w 893478"/>
              <a:gd name="connsiteY46" fmla="*/ 497599 h 844074"/>
              <a:gd name="connsiteX47" fmla="*/ 56097 w 893478"/>
              <a:gd name="connsiteY47" fmla="*/ 496601 h 844074"/>
              <a:gd name="connsiteX48" fmla="*/ 145195 w 893478"/>
              <a:gd name="connsiteY48" fmla="*/ 496601 h 844074"/>
              <a:gd name="connsiteX49" fmla="*/ 158781 w 893478"/>
              <a:gd name="connsiteY49" fmla="*/ 544580 h 844074"/>
              <a:gd name="connsiteX50" fmla="*/ 231175 w 893478"/>
              <a:gd name="connsiteY50" fmla="*/ 656529 h 844074"/>
              <a:gd name="connsiteX51" fmla="*/ 705934 w 893478"/>
              <a:gd name="connsiteY51" fmla="*/ 662303 h 844074"/>
              <a:gd name="connsiteX52" fmla="*/ 711707 w 893478"/>
              <a:gd name="connsiteY52" fmla="*/ 187544 h 844074"/>
              <a:gd name="connsiteX53" fmla="*/ 236949 w 893478"/>
              <a:gd name="connsiteY53" fmla="*/ 181771 h 844074"/>
              <a:gd name="connsiteX54" fmla="*/ 142661 w 893478"/>
              <a:gd name="connsiteY54" fmla="*/ 353911 h 844074"/>
              <a:gd name="connsiteX55" fmla="*/ 138427 w 893478"/>
              <a:gd name="connsiteY55" fmla="*/ 393072 h 844074"/>
              <a:gd name="connsiteX56" fmla="*/ 52013 w 893478"/>
              <a:gd name="connsiteY56" fmla="*/ 393072 h 844074"/>
              <a:gd name="connsiteX57" fmla="*/ 58141 w 893478"/>
              <a:gd name="connsiteY57" fmla="*/ 336399 h 844074"/>
              <a:gd name="connsiteX58" fmla="*/ 176667 w 893478"/>
              <a:gd name="connsiteY58" fmla="*/ 120005 h 844074"/>
              <a:gd name="connsiteX59" fmla="*/ 773473 w 893478"/>
              <a:gd name="connsiteY59" fmla="*/ 127262 h 844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93478" h="844074">
                <a:moveTo>
                  <a:pt x="330611" y="445441"/>
                </a:moveTo>
                <a:lnTo>
                  <a:pt x="248731" y="527321"/>
                </a:lnTo>
                <a:lnTo>
                  <a:pt x="248731" y="486381"/>
                </a:lnTo>
                <a:lnTo>
                  <a:pt x="0" y="486381"/>
                </a:lnTo>
                <a:lnTo>
                  <a:pt x="0" y="404500"/>
                </a:lnTo>
                <a:lnTo>
                  <a:pt x="248731" y="404500"/>
                </a:lnTo>
                <a:lnTo>
                  <a:pt x="248731" y="363560"/>
                </a:lnTo>
                <a:close/>
                <a:moveTo>
                  <a:pt x="546618" y="348667"/>
                </a:moveTo>
                <a:cubicBezTo>
                  <a:pt x="506097" y="307148"/>
                  <a:pt x="439590" y="306339"/>
                  <a:pt x="398071" y="346860"/>
                </a:cubicBezTo>
                <a:cubicBezTo>
                  <a:pt x="356553" y="387381"/>
                  <a:pt x="355744" y="453888"/>
                  <a:pt x="396265" y="495407"/>
                </a:cubicBezTo>
                <a:cubicBezTo>
                  <a:pt x="436787" y="536926"/>
                  <a:pt x="503293" y="537734"/>
                  <a:pt x="544811" y="497213"/>
                </a:cubicBezTo>
                <a:cubicBezTo>
                  <a:pt x="586330" y="456692"/>
                  <a:pt x="587139" y="390186"/>
                  <a:pt x="546618" y="348667"/>
                </a:cubicBezTo>
                <a:close/>
                <a:moveTo>
                  <a:pt x="600557" y="296023"/>
                </a:moveTo>
                <a:cubicBezTo>
                  <a:pt x="670153" y="367332"/>
                  <a:pt x="668763" y="481558"/>
                  <a:pt x="597455" y="551153"/>
                </a:cubicBezTo>
                <a:cubicBezTo>
                  <a:pt x="526146" y="620747"/>
                  <a:pt x="411921" y="619359"/>
                  <a:pt x="342325" y="548050"/>
                </a:cubicBezTo>
                <a:cubicBezTo>
                  <a:pt x="324927" y="530223"/>
                  <a:pt x="311965" y="509714"/>
                  <a:pt x="303422" y="487890"/>
                </a:cubicBezTo>
                <a:lnTo>
                  <a:pt x="303254" y="486968"/>
                </a:lnTo>
                <a:lnTo>
                  <a:pt x="348821" y="444836"/>
                </a:lnTo>
                <a:lnTo>
                  <a:pt x="295983" y="395981"/>
                </a:lnTo>
                <a:lnTo>
                  <a:pt x="305073" y="352117"/>
                </a:lnTo>
                <a:cubicBezTo>
                  <a:pt x="314144" y="330508"/>
                  <a:pt x="327601" y="310319"/>
                  <a:pt x="345428" y="292921"/>
                </a:cubicBezTo>
                <a:cubicBezTo>
                  <a:pt x="416736" y="223326"/>
                  <a:pt x="530962" y="224715"/>
                  <a:pt x="600557" y="296023"/>
                </a:cubicBezTo>
                <a:close/>
                <a:moveTo>
                  <a:pt x="682546" y="216005"/>
                </a:moveTo>
                <a:cubicBezTo>
                  <a:pt x="796334" y="332595"/>
                  <a:pt x="794063" y="519353"/>
                  <a:pt x="677473" y="633141"/>
                </a:cubicBezTo>
                <a:cubicBezTo>
                  <a:pt x="560884" y="746930"/>
                  <a:pt x="374125" y="744659"/>
                  <a:pt x="260337" y="628069"/>
                </a:cubicBezTo>
                <a:cubicBezTo>
                  <a:pt x="231890" y="598922"/>
                  <a:pt x="210697" y="565388"/>
                  <a:pt x="196730" y="529706"/>
                </a:cubicBezTo>
                <a:lnTo>
                  <a:pt x="187355" y="496601"/>
                </a:lnTo>
                <a:lnTo>
                  <a:pt x="236852" y="496601"/>
                </a:lnTo>
                <a:lnTo>
                  <a:pt x="236853" y="548364"/>
                </a:lnTo>
                <a:lnTo>
                  <a:pt x="278622" y="509744"/>
                </a:lnTo>
                <a:lnTo>
                  <a:pt x="292464" y="536845"/>
                </a:lnTo>
                <a:cubicBezTo>
                  <a:pt x="300104" y="548727"/>
                  <a:pt x="309048" y="560021"/>
                  <a:pt x="319299" y="570524"/>
                </a:cubicBezTo>
                <a:cubicBezTo>
                  <a:pt x="401306" y="654550"/>
                  <a:pt x="535903" y="656187"/>
                  <a:pt x="619929" y="574180"/>
                </a:cubicBezTo>
                <a:cubicBezTo>
                  <a:pt x="703955" y="492173"/>
                  <a:pt x="705591" y="357576"/>
                  <a:pt x="623584" y="273550"/>
                </a:cubicBezTo>
                <a:cubicBezTo>
                  <a:pt x="541577" y="189524"/>
                  <a:pt x="406981" y="187887"/>
                  <a:pt x="322954" y="269894"/>
                </a:cubicBezTo>
                <a:cubicBezTo>
                  <a:pt x="301948" y="290396"/>
                  <a:pt x="286090" y="314185"/>
                  <a:pt x="275402" y="339648"/>
                </a:cubicBezTo>
                <a:lnTo>
                  <a:pt x="268915" y="370952"/>
                </a:lnTo>
                <a:lnTo>
                  <a:pt x="236854" y="341307"/>
                </a:lnTo>
                <a:lnTo>
                  <a:pt x="236853" y="393071"/>
                </a:lnTo>
                <a:lnTo>
                  <a:pt x="179226" y="393071"/>
                </a:lnTo>
                <a:lnTo>
                  <a:pt x="182566" y="362180"/>
                </a:lnTo>
                <a:cubicBezTo>
                  <a:pt x="194043" y="306535"/>
                  <a:pt x="221688" y="253603"/>
                  <a:pt x="265409" y="210932"/>
                </a:cubicBezTo>
                <a:cubicBezTo>
                  <a:pt x="381999" y="97144"/>
                  <a:pt x="568758" y="99415"/>
                  <a:pt x="682546" y="216005"/>
                </a:cubicBezTo>
                <a:close/>
                <a:moveTo>
                  <a:pt x="773473" y="127262"/>
                </a:moveTo>
                <a:cubicBezTo>
                  <a:pt x="936273" y="294070"/>
                  <a:pt x="933024" y="561269"/>
                  <a:pt x="766216" y="724069"/>
                </a:cubicBezTo>
                <a:cubicBezTo>
                  <a:pt x="599408" y="886868"/>
                  <a:pt x="332209" y="883619"/>
                  <a:pt x="169409" y="716811"/>
                </a:cubicBezTo>
                <a:cubicBezTo>
                  <a:pt x="108360" y="654259"/>
                  <a:pt x="70660" y="577588"/>
                  <a:pt x="56180" y="497599"/>
                </a:cubicBezTo>
                <a:lnTo>
                  <a:pt x="56097" y="496601"/>
                </a:lnTo>
                <a:lnTo>
                  <a:pt x="145195" y="496601"/>
                </a:lnTo>
                <a:lnTo>
                  <a:pt x="158781" y="544580"/>
                </a:lnTo>
                <a:cubicBezTo>
                  <a:pt x="174677" y="585191"/>
                  <a:pt x="198799" y="623356"/>
                  <a:pt x="231175" y="656529"/>
                </a:cubicBezTo>
                <a:cubicBezTo>
                  <a:pt x="360682" y="789225"/>
                  <a:pt x="573239" y="791810"/>
                  <a:pt x="705934" y="662303"/>
                </a:cubicBezTo>
                <a:cubicBezTo>
                  <a:pt x="838630" y="532796"/>
                  <a:pt x="841215" y="320240"/>
                  <a:pt x="711707" y="187544"/>
                </a:cubicBezTo>
                <a:cubicBezTo>
                  <a:pt x="582200" y="54848"/>
                  <a:pt x="369644" y="52264"/>
                  <a:pt x="236949" y="181771"/>
                </a:cubicBezTo>
                <a:cubicBezTo>
                  <a:pt x="187188" y="230336"/>
                  <a:pt x="155724" y="290579"/>
                  <a:pt x="142661" y="353911"/>
                </a:cubicBezTo>
                <a:lnTo>
                  <a:pt x="138427" y="393072"/>
                </a:lnTo>
                <a:lnTo>
                  <a:pt x="52013" y="393072"/>
                </a:lnTo>
                <a:lnTo>
                  <a:pt x="58141" y="336399"/>
                </a:lnTo>
                <a:cubicBezTo>
                  <a:pt x="74562" y="256786"/>
                  <a:pt x="114114" y="181055"/>
                  <a:pt x="176667" y="120005"/>
                </a:cubicBezTo>
                <a:cubicBezTo>
                  <a:pt x="343475" y="-42795"/>
                  <a:pt x="610674" y="-39545"/>
                  <a:pt x="773473" y="127262"/>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2400" b="1" dirty="0" err="1">
              <a:gradFill>
                <a:gsLst>
                  <a:gs pos="0">
                    <a:srgbClr val="FFFFFF"/>
                  </a:gs>
                  <a:gs pos="100000">
                    <a:srgbClr val="FFFFFF"/>
                  </a:gs>
                </a:gsLst>
                <a:lin ang="5400000" scaled="0"/>
              </a:gradFill>
              <a:ea typeface="Segoe UI" pitchFamily="34" charset="0"/>
              <a:cs typeface="Segoe UI Semibold" panose="020B0702040204020203" pitchFamily="34" charset="0"/>
            </a:endParaRPr>
          </a:p>
        </p:txBody>
      </p:sp>
      <p:sp>
        <p:nvSpPr>
          <p:cNvPr id="164" name="binary">
            <a:extLst>
              <a:ext uri="{FF2B5EF4-FFF2-40B4-BE49-F238E27FC236}">
                <a16:creationId xmlns:a16="http://schemas.microsoft.com/office/drawing/2014/main" id="{9DDD415B-D5F1-4E02-9C05-01B225F9429F}"/>
              </a:ext>
            </a:extLst>
          </p:cNvPr>
          <p:cNvSpPr>
            <a:spLocks noChangeAspect="1" noEditPoints="1"/>
          </p:cNvSpPr>
          <p:nvPr/>
        </p:nvSpPr>
        <p:spPr bwMode="auto">
          <a:xfrm>
            <a:off x="8641269" y="3043227"/>
            <a:ext cx="348248" cy="300712"/>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solidFill>
            <a:schemeClr val="accent1"/>
          </a:solidFill>
          <a:ln w="15875" cap="sq">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b="1">
              <a:solidFill>
                <a:srgbClr val="353535"/>
              </a:solidFill>
              <a:cs typeface="Segoe UI Semibold" panose="020B0702040204020203" pitchFamily="34" charset="0"/>
            </a:endParaRPr>
          </a:p>
        </p:txBody>
      </p:sp>
      <p:sp>
        <p:nvSpPr>
          <p:cNvPr id="165" name="Freeform 186">
            <a:extLst>
              <a:ext uri="{FF2B5EF4-FFF2-40B4-BE49-F238E27FC236}">
                <a16:creationId xmlns:a16="http://schemas.microsoft.com/office/drawing/2014/main" id="{5E56DA9C-7021-4A20-9D4B-1DFAD269079E}"/>
              </a:ext>
            </a:extLst>
          </p:cNvPr>
          <p:cNvSpPr/>
          <p:nvPr/>
        </p:nvSpPr>
        <p:spPr>
          <a:xfrm flipH="1">
            <a:off x="10914921" y="3049340"/>
            <a:ext cx="197162" cy="288486"/>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b="1">
              <a:cs typeface="Segoe UI Semibold" panose="020B0702040204020203" pitchFamily="34" charset="0"/>
            </a:endParaRPr>
          </a:p>
        </p:txBody>
      </p:sp>
      <p:sp>
        <p:nvSpPr>
          <p:cNvPr id="166" name="Frame 16">
            <a:extLst>
              <a:ext uri="{FF2B5EF4-FFF2-40B4-BE49-F238E27FC236}">
                <a16:creationId xmlns:a16="http://schemas.microsoft.com/office/drawing/2014/main" id="{1AB5C4B6-2032-4EEE-9F12-D561D8912A58}"/>
              </a:ext>
            </a:extLst>
          </p:cNvPr>
          <p:cNvSpPr/>
          <p:nvPr/>
        </p:nvSpPr>
        <p:spPr>
          <a:xfrm>
            <a:off x="3319943" y="3033125"/>
            <a:ext cx="300834" cy="320916"/>
          </a:xfrm>
          <a:custGeom>
            <a:avLst/>
            <a:gdLst/>
            <a:ahLst/>
            <a:cxnLst/>
            <a:rect l="l" t="t" r="r" b="b"/>
            <a:pathLst>
              <a:path w="2425700" h="2587625">
                <a:moveTo>
                  <a:pt x="160339" y="1527973"/>
                </a:moveTo>
                <a:lnTo>
                  <a:pt x="160339" y="2427286"/>
                </a:lnTo>
                <a:lnTo>
                  <a:pt x="1056477" y="2427286"/>
                </a:lnTo>
                <a:lnTo>
                  <a:pt x="1056477" y="1527973"/>
                </a:lnTo>
                <a:close/>
                <a:moveTo>
                  <a:pt x="1851338" y="1"/>
                </a:moveTo>
                <a:lnTo>
                  <a:pt x="1971674" y="1"/>
                </a:lnTo>
                <a:lnTo>
                  <a:pt x="1971674" y="3"/>
                </a:lnTo>
                <a:lnTo>
                  <a:pt x="2425700" y="3"/>
                </a:lnTo>
                <a:lnTo>
                  <a:pt x="2425700" y="143503"/>
                </a:lnTo>
                <a:lnTo>
                  <a:pt x="2424027" y="143503"/>
                </a:lnTo>
                <a:lnTo>
                  <a:pt x="2424027" y="612773"/>
                </a:lnTo>
                <a:cubicBezTo>
                  <a:pt x="2424027" y="652400"/>
                  <a:pt x="2391903" y="684524"/>
                  <a:pt x="2352276" y="684524"/>
                </a:cubicBezTo>
                <a:lnTo>
                  <a:pt x="2352276" y="684523"/>
                </a:lnTo>
                <a:cubicBezTo>
                  <a:pt x="2312649" y="684523"/>
                  <a:pt x="2280525" y="652399"/>
                  <a:pt x="2280525" y="612772"/>
                </a:cubicBezTo>
                <a:lnTo>
                  <a:pt x="2280525" y="291082"/>
                </a:lnTo>
                <a:lnTo>
                  <a:pt x="1489517" y="1162800"/>
                </a:lnTo>
                <a:cubicBezTo>
                  <a:pt x="1462888" y="1192146"/>
                  <a:pt x="1417511" y="1194349"/>
                  <a:pt x="1388165" y="1167720"/>
                </a:cubicBezTo>
                <a:lnTo>
                  <a:pt x="1388166" y="1167720"/>
                </a:lnTo>
                <a:cubicBezTo>
                  <a:pt x="1358820" y="1141091"/>
                  <a:pt x="1356617" y="1095714"/>
                  <a:pt x="1383246" y="1066368"/>
                </a:cubicBezTo>
                <a:lnTo>
                  <a:pt x="2220666" y="143502"/>
                </a:lnTo>
                <a:lnTo>
                  <a:pt x="1851338" y="143502"/>
                </a:lnTo>
                <a:cubicBezTo>
                  <a:pt x="1811711" y="143502"/>
                  <a:pt x="1779587" y="111378"/>
                  <a:pt x="1779587" y="71752"/>
                </a:cubicBezTo>
                <a:cubicBezTo>
                  <a:pt x="1779587" y="32125"/>
                  <a:pt x="1811711" y="1"/>
                  <a:pt x="1851338" y="1"/>
                </a:cubicBezTo>
                <a:close/>
                <a:moveTo>
                  <a:pt x="0" y="0"/>
                </a:moveTo>
                <a:lnTo>
                  <a:pt x="1584325" y="0"/>
                </a:lnTo>
                <a:lnTo>
                  <a:pt x="1584325" y="160339"/>
                </a:lnTo>
                <a:lnTo>
                  <a:pt x="160339" y="160339"/>
                </a:lnTo>
                <a:lnTo>
                  <a:pt x="160339" y="1371600"/>
                </a:lnTo>
                <a:lnTo>
                  <a:pt x="1212850" y="1371600"/>
                </a:lnTo>
                <a:lnTo>
                  <a:pt x="1212850" y="2427286"/>
                </a:lnTo>
                <a:lnTo>
                  <a:pt x="2265361" y="2427286"/>
                </a:lnTo>
                <a:lnTo>
                  <a:pt x="2265361" y="923926"/>
                </a:lnTo>
                <a:lnTo>
                  <a:pt x="2425700" y="923926"/>
                </a:lnTo>
                <a:lnTo>
                  <a:pt x="2425700" y="2587625"/>
                </a:lnTo>
                <a:lnTo>
                  <a:pt x="1212850" y="2587625"/>
                </a:lnTo>
                <a:lnTo>
                  <a:pt x="0" y="2587625"/>
                </a:lnTo>
                <a:lnTo>
                  <a:pt x="0" y="13716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b="1">
              <a:solidFill>
                <a:schemeClr val="tx1"/>
              </a:solidFill>
              <a:cs typeface="Segoe UI Semibold" panose="020B0702040204020203" pitchFamily="34" charset="0"/>
            </a:endParaRPr>
          </a:p>
        </p:txBody>
      </p:sp>
      <p:sp>
        <p:nvSpPr>
          <p:cNvPr id="167" name="Rectangle 166">
            <a:extLst>
              <a:ext uri="{FF2B5EF4-FFF2-40B4-BE49-F238E27FC236}">
                <a16:creationId xmlns:a16="http://schemas.microsoft.com/office/drawing/2014/main" id="{3BDD16D9-5C3F-4864-96D2-65FCDDDB45CE}"/>
              </a:ext>
            </a:extLst>
          </p:cNvPr>
          <p:cNvSpPr/>
          <p:nvPr/>
        </p:nvSpPr>
        <p:spPr bwMode="auto">
          <a:xfrm>
            <a:off x="5464050" y="5603931"/>
            <a:ext cx="2931191" cy="8463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293" fontAlgn="base">
              <a:lnSpc>
                <a:spcPct val="90000"/>
              </a:lnSpc>
              <a:spcBef>
                <a:spcPct val="0"/>
              </a:spcBef>
              <a:spcAft>
                <a:spcPts val="600"/>
              </a:spcAft>
              <a:defRPr/>
            </a:pPr>
            <a:r>
              <a:rPr lang="en-US" sz="1600" dirty="0">
                <a:solidFill>
                  <a:schemeClr val="tx2"/>
                </a:solidFill>
                <a:cs typeface="Segoe UI" panose="020B0502040204020203" pitchFamily="34" charset="0"/>
              </a:rPr>
              <a:t>Intel Broadwell E5-2673 v4</a:t>
            </a:r>
          </a:p>
          <a:p>
            <a:pPr algn="ctr" defTabSz="932293" fontAlgn="base">
              <a:lnSpc>
                <a:spcPct val="90000"/>
              </a:lnSpc>
              <a:spcBef>
                <a:spcPct val="0"/>
              </a:spcBef>
              <a:spcAft>
                <a:spcPts val="600"/>
              </a:spcAft>
              <a:defRPr/>
            </a:pPr>
            <a:r>
              <a:rPr lang="en-US" sz="1600" dirty="0">
                <a:solidFill>
                  <a:schemeClr val="tx2"/>
                </a:solidFill>
                <a:cs typeface="Segoe UI" panose="020B0502040204020203" pitchFamily="34" charset="0"/>
              </a:rPr>
              <a:t>Hyper-Threaded CPUs</a:t>
            </a:r>
          </a:p>
          <a:p>
            <a:pPr algn="ctr" defTabSz="932293" fontAlgn="base">
              <a:lnSpc>
                <a:spcPct val="90000"/>
              </a:lnSpc>
              <a:spcBef>
                <a:spcPct val="0"/>
              </a:spcBef>
              <a:spcAft>
                <a:spcPts val="600"/>
              </a:spcAft>
              <a:defRPr/>
            </a:pPr>
            <a:r>
              <a:rPr lang="en-US" sz="1600" dirty="0">
                <a:solidFill>
                  <a:schemeClr val="tx2"/>
                </a:solidFill>
                <a:cs typeface="Segoe UI" panose="020B0502040204020203" pitchFamily="34" charset="0"/>
              </a:rPr>
              <a:t>Up to 64 vCPU’s, 256GB RAM</a:t>
            </a:r>
          </a:p>
        </p:txBody>
      </p:sp>
      <p:sp>
        <p:nvSpPr>
          <p:cNvPr id="170" name="Rectangle 169">
            <a:extLst>
              <a:ext uri="{FF2B5EF4-FFF2-40B4-BE49-F238E27FC236}">
                <a16:creationId xmlns:a16="http://schemas.microsoft.com/office/drawing/2014/main" id="{39B3FCCF-73B3-4D6A-9760-E41B273B773D}"/>
              </a:ext>
            </a:extLst>
          </p:cNvPr>
          <p:cNvSpPr/>
          <p:nvPr/>
        </p:nvSpPr>
        <p:spPr bwMode="auto">
          <a:xfrm>
            <a:off x="7887616" y="2021304"/>
            <a:ext cx="2816253" cy="4431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293" fontAlgn="base">
              <a:lnSpc>
                <a:spcPct val="90000"/>
              </a:lnSpc>
              <a:spcBef>
                <a:spcPct val="0"/>
              </a:spcBef>
              <a:spcAft>
                <a:spcPts val="600"/>
              </a:spcAft>
              <a:defRPr/>
            </a:pPr>
            <a:r>
              <a:rPr lang="pt-BR" sz="1600" dirty="0">
                <a:solidFill>
                  <a:schemeClr val="tx2"/>
                </a:solidFill>
              </a:rPr>
              <a:t>Intel® Xeon® Platinum 8168 processor (Skylake)</a:t>
            </a:r>
            <a:endParaRPr lang="en-US" sz="1600" dirty="0">
              <a:solidFill>
                <a:schemeClr val="tx2"/>
              </a:solidFill>
              <a:cs typeface="Segoe UI" panose="020B0502040204020203" pitchFamily="34" charset="0"/>
            </a:endParaRPr>
          </a:p>
        </p:txBody>
      </p:sp>
      <p:sp>
        <p:nvSpPr>
          <p:cNvPr id="171" name="Rectangle 170">
            <a:extLst>
              <a:ext uri="{FF2B5EF4-FFF2-40B4-BE49-F238E27FC236}">
                <a16:creationId xmlns:a16="http://schemas.microsoft.com/office/drawing/2014/main" id="{53CD364F-D273-41EE-A290-AFEA95E46A54}"/>
              </a:ext>
            </a:extLst>
          </p:cNvPr>
          <p:cNvSpPr/>
          <p:nvPr/>
        </p:nvSpPr>
        <p:spPr bwMode="auto">
          <a:xfrm>
            <a:off x="2287344" y="1645816"/>
            <a:ext cx="2366032" cy="8186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2293" fontAlgn="base">
              <a:lnSpc>
                <a:spcPct val="90000"/>
              </a:lnSpc>
              <a:spcBef>
                <a:spcPct val="0"/>
              </a:spcBef>
              <a:spcAft>
                <a:spcPts val="600"/>
              </a:spcAft>
              <a:defRPr/>
            </a:pPr>
            <a:r>
              <a:rPr lang="en-US" sz="1600" dirty="0">
                <a:solidFill>
                  <a:schemeClr val="tx2"/>
                </a:solidFill>
                <a:cs typeface="Segoe UI" panose="020B0502040204020203" pitchFamily="34" charset="0"/>
              </a:rPr>
              <a:t>Intel Haswell E5-2673 v3 </a:t>
            </a:r>
          </a:p>
          <a:p>
            <a:pPr algn="ctr" defTabSz="932293" fontAlgn="base">
              <a:lnSpc>
                <a:spcPct val="90000"/>
              </a:lnSpc>
              <a:spcBef>
                <a:spcPct val="0"/>
              </a:spcBef>
              <a:spcAft>
                <a:spcPts val="600"/>
              </a:spcAft>
              <a:defRPr/>
            </a:pPr>
            <a:r>
              <a:rPr lang="en-US" sz="1600" dirty="0">
                <a:solidFill>
                  <a:schemeClr val="tx2"/>
                </a:solidFill>
                <a:cs typeface="Segoe UI" panose="020B0502040204020203" pitchFamily="34" charset="0"/>
              </a:rPr>
              <a:t>Lowest cost, flexible CPUs</a:t>
            </a:r>
          </a:p>
          <a:p>
            <a:pPr algn="ctr" defTabSz="932293" fontAlgn="base">
              <a:lnSpc>
                <a:spcPct val="90000"/>
              </a:lnSpc>
              <a:spcBef>
                <a:spcPct val="0"/>
              </a:spcBef>
              <a:spcAft>
                <a:spcPts val="600"/>
              </a:spcAft>
              <a:defRPr/>
            </a:pPr>
            <a:r>
              <a:rPr lang="en-US" sz="1600" dirty="0">
                <a:solidFill>
                  <a:schemeClr val="tx2"/>
                </a:solidFill>
                <a:cs typeface="Segoe UI" panose="020B0502040204020203" pitchFamily="34" charset="0"/>
              </a:rPr>
              <a:t>Up to 8vCPUs, 32GiB RAM</a:t>
            </a:r>
          </a:p>
        </p:txBody>
      </p:sp>
      <p:cxnSp>
        <p:nvCxnSpPr>
          <p:cNvPr id="174" name="Straight Connector 173">
            <a:extLst>
              <a:ext uri="{FF2B5EF4-FFF2-40B4-BE49-F238E27FC236}">
                <a16:creationId xmlns:a16="http://schemas.microsoft.com/office/drawing/2014/main" id="{A9B60101-0378-43F4-9EB4-EFF349C09C09}"/>
              </a:ext>
            </a:extLst>
          </p:cNvPr>
          <p:cNvCxnSpPr>
            <a:cxnSpLocks/>
          </p:cNvCxnSpPr>
          <p:nvPr/>
        </p:nvCxnSpPr>
        <p:spPr>
          <a:xfrm>
            <a:off x="6929646" y="4677103"/>
            <a:ext cx="0" cy="780417"/>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586814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down)">
                                      <p:cBhvr>
                                        <p:cTn id="7" dur="500"/>
                                        <p:tgtEl>
                                          <p:spTgt spid="1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171"/>
                                        </p:tgtEl>
                                        <p:attrNameLst>
                                          <p:attrName>style.visibility</p:attrName>
                                        </p:attrNameLst>
                                      </p:cBhvr>
                                      <p:to>
                                        <p:strVal val="visible"/>
                                      </p:to>
                                    </p:set>
                                    <p:animEffect transition="in" filter="fade">
                                      <p:cBhvr>
                                        <p:cTn id="10" dur="400"/>
                                        <p:tgtEl>
                                          <p:spTgt spid="171"/>
                                        </p:tgtEl>
                                      </p:cBhvr>
                                    </p:animEffect>
                                  </p:childTnLst>
                                </p:cTn>
                              </p:par>
                              <p:par>
                                <p:cTn id="11" presetID="42" presetClass="path" presetSubtype="0" decel="100000" fill="hold" grpId="1" nodeType="withEffect">
                                  <p:stCondLst>
                                    <p:cond delay="500"/>
                                  </p:stCondLst>
                                  <p:childTnLst>
                                    <p:animMotion origin="layout" path="M -8.16952E-8 -4.22152E-7 L -8.16952E-8 0.09623 " pathEditMode="relative" rAng="0" ptsTypes="AA">
                                      <p:cBhvr>
                                        <p:cTn id="12" dur="700" spd="-100000" fill="hold"/>
                                        <p:tgtEl>
                                          <p:spTgt spid="171"/>
                                        </p:tgtEl>
                                        <p:attrNameLst>
                                          <p:attrName>ppt_x</p:attrName>
                                          <p:attrName>ppt_y</p:attrName>
                                        </p:attrNameLst>
                                      </p:cBhvr>
                                      <p:rCtr x="0" y="4812"/>
                                    </p:animMotion>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14"/>
                                        </p:tgtEl>
                                      </p:cBhvr>
                                    </p:animEffect>
                                    <p:set>
                                      <p:cBhvr>
                                        <p:cTn id="17" dur="1" fill="hold">
                                          <p:stCondLst>
                                            <p:cond delay="499"/>
                                          </p:stCondLst>
                                        </p:cTn>
                                        <p:tgtEl>
                                          <p:spTgt spid="14"/>
                                        </p:tgtEl>
                                        <p:attrNameLst>
                                          <p:attrName>style.visibility</p:attrName>
                                        </p:attrNameLst>
                                      </p:cBhvr>
                                      <p:to>
                                        <p:strVal val="hidden"/>
                                      </p:to>
                                    </p:set>
                                  </p:childTnLst>
                                </p:cTn>
                              </p:par>
                              <p:par>
                                <p:cTn id="18" presetID="10" presetClass="exit" presetSubtype="0" fill="hold" grpId="2" nodeType="withEffect">
                                  <p:stCondLst>
                                    <p:cond delay="0"/>
                                  </p:stCondLst>
                                  <p:childTnLst>
                                    <p:animEffect transition="out" filter="fade">
                                      <p:cBhvr>
                                        <p:cTn id="19" dur="500"/>
                                        <p:tgtEl>
                                          <p:spTgt spid="171"/>
                                        </p:tgtEl>
                                      </p:cBhvr>
                                    </p:animEffect>
                                    <p:set>
                                      <p:cBhvr>
                                        <p:cTn id="20" dur="1" fill="hold">
                                          <p:stCondLst>
                                            <p:cond delay="499"/>
                                          </p:stCondLst>
                                        </p:cTn>
                                        <p:tgtEl>
                                          <p:spTgt spid="171"/>
                                        </p:tgtEl>
                                        <p:attrNameLst>
                                          <p:attrName>style.visibility</p:attrName>
                                        </p:attrNameLst>
                                      </p:cBhvr>
                                      <p:to>
                                        <p:strVal val="hidden"/>
                                      </p:to>
                                    </p:set>
                                  </p:childTnLst>
                                </p:cTn>
                              </p:par>
                              <p:par>
                                <p:cTn id="21" presetID="22" presetClass="entr" presetSubtype="1" fill="hold" nodeType="withEffect">
                                  <p:stCondLst>
                                    <p:cond delay="0"/>
                                  </p:stCondLst>
                                  <p:childTnLst>
                                    <p:set>
                                      <p:cBhvr>
                                        <p:cTn id="22" dur="1" fill="hold">
                                          <p:stCondLst>
                                            <p:cond delay="0"/>
                                          </p:stCondLst>
                                        </p:cTn>
                                        <p:tgtEl>
                                          <p:spTgt spid="174"/>
                                        </p:tgtEl>
                                        <p:attrNameLst>
                                          <p:attrName>style.visibility</p:attrName>
                                        </p:attrNameLst>
                                      </p:cBhvr>
                                      <p:to>
                                        <p:strVal val="visible"/>
                                      </p:to>
                                    </p:set>
                                    <p:animEffect transition="in" filter="wipe(up)">
                                      <p:cBhvr>
                                        <p:cTn id="23" dur="500"/>
                                        <p:tgtEl>
                                          <p:spTgt spid="174"/>
                                        </p:tgtEl>
                                      </p:cBhvr>
                                    </p:animEffect>
                                  </p:childTnLst>
                                </p:cTn>
                              </p:par>
                            </p:childTnLst>
                          </p:cTn>
                        </p:par>
                        <p:par>
                          <p:cTn id="24" fill="hold">
                            <p:stCondLst>
                              <p:cond delay="500"/>
                            </p:stCondLst>
                            <p:childTnLst>
                              <p:par>
                                <p:cTn id="25" presetID="10" presetClass="entr" presetSubtype="0" fill="hold" grpId="0" nodeType="afterEffect">
                                  <p:stCondLst>
                                    <p:cond delay="0"/>
                                  </p:stCondLst>
                                  <p:childTnLst>
                                    <p:set>
                                      <p:cBhvr>
                                        <p:cTn id="26" dur="1" fill="hold">
                                          <p:stCondLst>
                                            <p:cond delay="0"/>
                                          </p:stCondLst>
                                        </p:cTn>
                                        <p:tgtEl>
                                          <p:spTgt spid="167"/>
                                        </p:tgtEl>
                                        <p:attrNameLst>
                                          <p:attrName>style.visibility</p:attrName>
                                        </p:attrNameLst>
                                      </p:cBhvr>
                                      <p:to>
                                        <p:strVal val="visible"/>
                                      </p:to>
                                    </p:set>
                                    <p:animEffect transition="in" filter="fade">
                                      <p:cBhvr>
                                        <p:cTn id="27" dur="400"/>
                                        <p:tgtEl>
                                          <p:spTgt spid="167"/>
                                        </p:tgtEl>
                                      </p:cBhvr>
                                    </p:animEffect>
                                  </p:childTnLst>
                                </p:cTn>
                              </p:par>
                              <p:par>
                                <p:cTn id="28" presetID="42" presetClass="path" presetSubtype="0" decel="100000" fill="hold" grpId="1" nodeType="withEffect">
                                  <p:stCondLst>
                                    <p:cond delay="0"/>
                                  </p:stCondLst>
                                  <p:childTnLst>
                                    <p:animMotion origin="layout" path="M 3.37758E-6 -2.42851E-6 L 3.37758E-6 0.09623 " pathEditMode="relative" rAng="0" ptsTypes="AA">
                                      <p:cBhvr>
                                        <p:cTn id="29" dur="700" spd="-100000" fill="hold"/>
                                        <p:tgtEl>
                                          <p:spTgt spid="167"/>
                                        </p:tgtEl>
                                        <p:attrNameLst>
                                          <p:attrName>ppt_x</p:attrName>
                                          <p:attrName>ppt_y</p:attrName>
                                        </p:attrNameLst>
                                      </p:cBhvr>
                                      <p:rCtr x="0" y="4812"/>
                                    </p:animMotion>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172"/>
                                        </p:tgtEl>
                                        <p:attrNameLst>
                                          <p:attrName>style.visibility</p:attrName>
                                        </p:attrNameLst>
                                      </p:cBhvr>
                                      <p:to>
                                        <p:strVal val="visible"/>
                                      </p:to>
                                    </p:set>
                                    <p:animEffect transition="in" filter="wipe(down)">
                                      <p:cBhvr>
                                        <p:cTn id="34" dur="500"/>
                                        <p:tgtEl>
                                          <p:spTgt spid="172"/>
                                        </p:tgtEl>
                                      </p:cBhvr>
                                    </p:animEffect>
                                  </p:childTnLst>
                                </p:cTn>
                              </p:par>
                              <p:par>
                                <p:cTn id="35" presetID="10" presetClass="exit" presetSubtype="0" fill="hold" nodeType="withEffect">
                                  <p:stCondLst>
                                    <p:cond delay="0"/>
                                  </p:stCondLst>
                                  <p:childTnLst>
                                    <p:animEffect transition="out" filter="fade">
                                      <p:cBhvr>
                                        <p:cTn id="36" dur="500"/>
                                        <p:tgtEl>
                                          <p:spTgt spid="174"/>
                                        </p:tgtEl>
                                      </p:cBhvr>
                                    </p:animEffect>
                                    <p:set>
                                      <p:cBhvr>
                                        <p:cTn id="37" dur="1" fill="hold">
                                          <p:stCondLst>
                                            <p:cond delay="499"/>
                                          </p:stCondLst>
                                        </p:cTn>
                                        <p:tgtEl>
                                          <p:spTgt spid="174"/>
                                        </p:tgtEl>
                                        <p:attrNameLst>
                                          <p:attrName>style.visibility</p:attrName>
                                        </p:attrNameLst>
                                      </p:cBhvr>
                                      <p:to>
                                        <p:strVal val="hidden"/>
                                      </p:to>
                                    </p:set>
                                  </p:childTnLst>
                                </p:cTn>
                              </p:par>
                            </p:childTnLst>
                          </p:cTn>
                        </p:par>
                        <p:par>
                          <p:cTn id="38" fill="hold">
                            <p:stCondLst>
                              <p:cond delay="500"/>
                            </p:stCondLst>
                            <p:childTnLst>
                              <p:par>
                                <p:cTn id="39" presetID="10" presetClass="exit" presetSubtype="0" fill="hold" grpId="2" nodeType="afterEffect">
                                  <p:stCondLst>
                                    <p:cond delay="0"/>
                                  </p:stCondLst>
                                  <p:childTnLst>
                                    <p:animEffect transition="out" filter="fade">
                                      <p:cBhvr>
                                        <p:cTn id="40" dur="500"/>
                                        <p:tgtEl>
                                          <p:spTgt spid="167"/>
                                        </p:tgtEl>
                                      </p:cBhvr>
                                    </p:animEffect>
                                    <p:set>
                                      <p:cBhvr>
                                        <p:cTn id="41" dur="1" fill="hold">
                                          <p:stCondLst>
                                            <p:cond delay="499"/>
                                          </p:stCondLst>
                                        </p:cTn>
                                        <p:tgtEl>
                                          <p:spTgt spid="167"/>
                                        </p:tgtEl>
                                        <p:attrNameLst>
                                          <p:attrName>style.visibility</p:attrName>
                                        </p:attrNameLst>
                                      </p:cBhvr>
                                      <p:to>
                                        <p:strVal val="hidden"/>
                                      </p:to>
                                    </p:set>
                                  </p:childTnLst>
                                </p:cTn>
                              </p:par>
                              <p:par>
                                <p:cTn id="42" presetID="10" presetClass="entr" presetSubtype="0" fill="hold" grpId="0" nodeType="withEffect">
                                  <p:stCondLst>
                                    <p:cond delay="750"/>
                                  </p:stCondLst>
                                  <p:childTnLst>
                                    <p:set>
                                      <p:cBhvr>
                                        <p:cTn id="43" dur="1" fill="hold">
                                          <p:stCondLst>
                                            <p:cond delay="0"/>
                                          </p:stCondLst>
                                        </p:cTn>
                                        <p:tgtEl>
                                          <p:spTgt spid="170"/>
                                        </p:tgtEl>
                                        <p:attrNameLst>
                                          <p:attrName>style.visibility</p:attrName>
                                        </p:attrNameLst>
                                      </p:cBhvr>
                                      <p:to>
                                        <p:strVal val="visible"/>
                                      </p:to>
                                    </p:set>
                                    <p:animEffect transition="in" filter="fade">
                                      <p:cBhvr>
                                        <p:cTn id="44" dur="400"/>
                                        <p:tgtEl>
                                          <p:spTgt spid="170"/>
                                        </p:tgtEl>
                                      </p:cBhvr>
                                    </p:animEffect>
                                  </p:childTnLst>
                                </p:cTn>
                              </p:par>
                              <p:par>
                                <p:cTn id="45" presetID="42" presetClass="path" presetSubtype="0" decel="100000" fill="hold" grpId="1" nodeType="withEffect">
                                  <p:stCondLst>
                                    <p:cond delay="500"/>
                                  </p:stCondLst>
                                  <p:childTnLst>
                                    <p:animMotion origin="layout" path="M -8.5014E-7 -2.08352E-6 L -8.5014E-7 0.09623 " pathEditMode="relative" rAng="0" ptsTypes="AA">
                                      <p:cBhvr>
                                        <p:cTn id="46" dur="700" spd="-100000" fill="hold"/>
                                        <p:tgtEl>
                                          <p:spTgt spid="170"/>
                                        </p:tgtEl>
                                        <p:attrNameLst>
                                          <p:attrName>ppt_x</p:attrName>
                                          <p:attrName>ppt_y</p:attrName>
                                        </p:attrNameLst>
                                      </p:cBhvr>
                                      <p:rCtr x="0" y="4812"/>
                                    </p:animMotion>
                                  </p:childTnLst>
                                </p:cTn>
                              </p:par>
                            </p:childTnLst>
                          </p:cTn>
                        </p:par>
                      </p:childTnLst>
                    </p:cTn>
                  </p:par>
                  <p:par>
                    <p:cTn id="47" fill="hold">
                      <p:stCondLst>
                        <p:cond delay="indefinite"/>
                      </p:stCondLst>
                      <p:childTnLst>
                        <p:par>
                          <p:cTn id="48" fill="hold">
                            <p:stCondLst>
                              <p:cond delay="0"/>
                            </p:stCondLst>
                            <p:childTnLst>
                              <p:par>
                                <p:cTn id="49" presetID="10" presetClass="exit" presetSubtype="0" fill="hold" nodeType="clickEffect">
                                  <p:stCondLst>
                                    <p:cond delay="0"/>
                                  </p:stCondLst>
                                  <p:childTnLst>
                                    <p:animEffect transition="out" filter="fade">
                                      <p:cBhvr>
                                        <p:cTn id="50" dur="500"/>
                                        <p:tgtEl>
                                          <p:spTgt spid="172"/>
                                        </p:tgtEl>
                                      </p:cBhvr>
                                    </p:animEffect>
                                    <p:set>
                                      <p:cBhvr>
                                        <p:cTn id="51" dur="1" fill="hold">
                                          <p:stCondLst>
                                            <p:cond delay="499"/>
                                          </p:stCondLst>
                                        </p:cTn>
                                        <p:tgtEl>
                                          <p:spTgt spid="17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7" grpId="0"/>
      <p:bldP spid="167" grpId="1"/>
      <p:bldP spid="167" grpId="2"/>
      <p:bldP spid="170" grpId="0"/>
      <p:bldP spid="170" grpId="1"/>
      <p:bldP spid="171" grpId="0"/>
      <p:bldP spid="171" grpId="1"/>
      <p:bldP spid="171" grpId="2"/>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 name="Straight Connector 34">
            <a:extLst>
              <a:ext uri="{FF2B5EF4-FFF2-40B4-BE49-F238E27FC236}">
                <a16:creationId xmlns:a16="http://schemas.microsoft.com/office/drawing/2014/main" id="{46865F53-2B38-4205-9740-838E00298BF2}"/>
              </a:ext>
            </a:extLst>
          </p:cNvPr>
          <p:cNvCxnSpPr>
            <a:cxnSpLocks/>
            <a:stCxn id="10" idx="0"/>
            <a:endCxn id="4" idx="4"/>
          </p:cNvCxnSpPr>
          <p:nvPr/>
        </p:nvCxnSpPr>
        <p:spPr>
          <a:xfrm flipV="1">
            <a:off x="737144" y="1830569"/>
            <a:ext cx="0" cy="425659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Arc 25">
            <a:extLst>
              <a:ext uri="{FF2B5EF4-FFF2-40B4-BE49-F238E27FC236}">
                <a16:creationId xmlns:a16="http://schemas.microsoft.com/office/drawing/2014/main" id="{F5EC42E8-B945-40DA-805B-3080832E687B}"/>
              </a:ext>
            </a:extLst>
          </p:cNvPr>
          <p:cNvSpPr/>
          <p:nvPr/>
        </p:nvSpPr>
        <p:spPr>
          <a:xfrm>
            <a:off x="415108" y="12365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27" name="Arc 26">
            <a:extLst>
              <a:ext uri="{FF2B5EF4-FFF2-40B4-BE49-F238E27FC236}">
                <a16:creationId xmlns:a16="http://schemas.microsoft.com/office/drawing/2014/main" id="{65386676-5B62-4586-BFDB-38157045427D}"/>
              </a:ext>
            </a:extLst>
          </p:cNvPr>
          <p:cNvSpPr/>
          <p:nvPr/>
        </p:nvSpPr>
        <p:spPr>
          <a:xfrm flipH="1">
            <a:off x="415108" y="20366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28" name="Arc 27">
            <a:extLst>
              <a:ext uri="{FF2B5EF4-FFF2-40B4-BE49-F238E27FC236}">
                <a16:creationId xmlns:a16="http://schemas.microsoft.com/office/drawing/2014/main" id="{058D1750-15D0-4046-9970-8CA4F3F47515}"/>
              </a:ext>
            </a:extLst>
          </p:cNvPr>
          <p:cNvSpPr/>
          <p:nvPr/>
        </p:nvSpPr>
        <p:spPr>
          <a:xfrm>
            <a:off x="415108" y="28367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29" name="Arc 28">
            <a:extLst>
              <a:ext uri="{FF2B5EF4-FFF2-40B4-BE49-F238E27FC236}">
                <a16:creationId xmlns:a16="http://schemas.microsoft.com/office/drawing/2014/main" id="{CF815260-A5B9-44E8-928A-A82BD460FF67}"/>
              </a:ext>
            </a:extLst>
          </p:cNvPr>
          <p:cNvSpPr/>
          <p:nvPr/>
        </p:nvSpPr>
        <p:spPr>
          <a:xfrm flipH="1">
            <a:off x="415108" y="36368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30" name="Arc 29">
            <a:extLst>
              <a:ext uri="{FF2B5EF4-FFF2-40B4-BE49-F238E27FC236}">
                <a16:creationId xmlns:a16="http://schemas.microsoft.com/office/drawing/2014/main" id="{6BA87440-6745-42CA-A759-FF1CB7219679}"/>
              </a:ext>
            </a:extLst>
          </p:cNvPr>
          <p:cNvSpPr/>
          <p:nvPr/>
        </p:nvSpPr>
        <p:spPr>
          <a:xfrm>
            <a:off x="415108" y="44369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31" name="Arc 30">
            <a:extLst>
              <a:ext uri="{FF2B5EF4-FFF2-40B4-BE49-F238E27FC236}">
                <a16:creationId xmlns:a16="http://schemas.microsoft.com/office/drawing/2014/main" id="{86557979-74FE-456A-81A6-633F72F14D94}"/>
              </a:ext>
            </a:extLst>
          </p:cNvPr>
          <p:cNvSpPr/>
          <p:nvPr/>
        </p:nvSpPr>
        <p:spPr>
          <a:xfrm flipH="1">
            <a:off x="415108" y="52370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32" name="Arc 31">
            <a:extLst>
              <a:ext uri="{FF2B5EF4-FFF2-40B4-BE49-F238E27FC236}">
                <a16:creationId xmlns:a16="http://schemas.microsoft.com/office/drawing/2014/main" id="{85046D15-6AC4-4561-8A0A-20702562AA94}"/>
              </a:ext>
            </a:extLst>
          </p:cNvPr>
          <p:cNvSpPr/>
          <p:nvPr/>
        </p:nvSpPr>
        <p:spPr>
          <a:xfrm>
            <a:off x="415108" y="60371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2" name="Title 1">
            <a:extLst>
              <a:ext uri="{FF2B5EF4-FFF2-40B4-BE49-F238E27FC236}">
                <a16:creationId xmlns:a16="http://schemas.microsoft.com/office/drawing/2014/main" id="{F1AF45B4-923D-42D1-947B-06B836CF8ADB}"/>
              </a:ext>
            </a:extLst>
          </p:cNvPr>
          <p:cNvSpPr>
            <a:spLocks noGrp="1"/>
          </p:cNvSpPr>
          <p:nvPr>
            <p:ph type="title"/>
          </p:nvPr>
        </p:nvSpPr>
        <p:spPr/>
        <p:txBody>
          <a:bodyPr/>
          <a:lstStyle/>
          <a:p>
            <a:r>
              <a:rPr lang="en-US" dirty="0"/>
              <a:t>Datacenter Migration Journey</a:t>
            </a:r>
            <a:endParaRPr lang="en-IN" dirty="0"/>
          </a:p>
        </p:txBody>
      </p:sp>
      <p:sp>
        <p:nvSpPr>
          <p:cNvPr id="4" name="Oval 3">
            <a:extLst>
              <a:ext uri="{FF2B5EF4-FFF2-40B4-BE49-F238E27FC236}">
                <a16:creationId xmlns:a16="http://schemas.microsoft.com/office/drawing/2014/main" id="{22028826-2BB0-4656-AC65-381CD3EB6B6E}"/>
              </a:ext>
            </a:extLst>
          </p:cNvPr>
          <p:cNvSpPr/>
          <p:nvPr/>
        </p:nvSpPr>
        <p:spPr bwMode="auto">
          <a:xfrm>
            <a:off x="465138" y="128655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1</a:t>
            </a:r>
            <a:endParaRPr lang="en-IN" sz="2400" b="1" dirty="0" err="1">
              <a:solidFill>
                <a:schemeClr val="bg1"/>
              </a:solidFill>
              <a:ea typeface="Segoe UI" pitchFamily="34" charset="0"/>
              <a:cs typeface="Segoe UI" pitchFamily="34" charset="0"/>
            </a:endParaRPr>
          </a:p>
        </p:txBody>
      </p:sp>
      <p:sp>
        <p:nvSpPr>
          <p:cNvPr id="5" name="Oval 4">
            <a:extLst>
              <a:ext uri="{FF2B5EF4-FFF2-40B4-BE49-F238E27FC236}">
                <a16:creationId xmlns:a16="http://schemas.microsoft.com/office/drawing/2014/main" id="{8E6BCDDA-28DF-486B-8949-CFCA389E78F7}"/>
              </a:ext>
            </a:extLst>
          </p:cNvPr>
          <p:cNvSpPr/>
          <p:nvPr/>
        </p:nvSpPr>
        <p:spPr bwMode="auto">
          <a:xfrm>
            <a:off x="465138" y="208723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2</a:t>
            </a:r>
            <a:endParaRPr lang="en-IN" sz="2400" b="1" dirty="0" err="1">
              <a:solidFill>
                <a:schemeClr val="bg1"/>
              </a:solidFill>
              <a:ea typeface="Segoe UI" pitchFamily="34" charset="0"/>
              <a:cs typeface="Segoe UI" pitchFamily="34" charset="0"/>
            </a:endParaRPr>
          </a:p>
        </p:txBody>
      </p:sp>
      <p:sp>
        <p:nvSpPr>
          <p:cNvPr id="6" name="Oval 5">
            <a:extLst>
              <a:ext uri="{FF2B5EF4-FFF2-40B4-BE49-F238E27FC236}">
                <a16:creationId xmlns:a16="http://schemas.microsoft.com/office/drawing/2014/main" id="{13CD87C8-A240-4033-99E3-76A6B0CBF901}"/>
              </a:ext>
            </a:extLst>
          </p:cNvPr>
          <p:cNvSpPr/>
          <p:nvPr/>
        </p:nvSpPr>
        <p:spPr bwMode="auto">
          <a:xfrm>
            <a:off x="465138" y="288790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3</a:t>
            </a:r>
            <a:endParaRPr lang="en-IN" sz="2400" b="1" dirty="0" err="1">
              <a:solidFill>
                <a:schemeClr val="bg1"/>
              </a:solidFill>
              <a:ea typeface="Segoe UI" pitchFamily="34" charset="0"/>
              <a:cs typeface="Segoe UI" pitchFamily="34" charset="0"/>
            </a:endParaRPr>
          </a:p>
        </p:txBody>
      </p:sp>
      <p:sp>
        <p:nvSpPr>
          <p:cNvPr id="7" name="Oval 6">
            <a:extLst>
              <a:ext uri="{FF2B5EF4-FFF2-40B4-BE49-F238E27FC236}">
                <a16:creationId xmlns:a16="http://schemas.microsoft.com/office/drawing/2014/main" id="{EBA31717-1ACF-4B1A-B298-CC58A2F97EBB}"/>
              </a:ext>
            </a:extLst>
          </p:cNvPr>
          <p:cNvSpPr/>
          <p:nvPr/>
        </p:nvSpPr>
        <p:spPr bwMode="auto">
          <a:xfrm>
            <a:off x="465138" y="368858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4</a:t>
            </a:r>
            <a:endParaRPr lang="en-IN" sz="2400" b="1" dirty="0" err="1">
              <a:solidFill>
                <a:schemeClr val="bg1"/>
              </a:solidFill>
              <a:ea typeface="Segoe UI" pitchFamily="34" charset="0"/>
              <a:cs typeface="Segoe UI" pitchFamily="34" charset="0"/>
            </a:endParaRPr>
          </a:p>
        </p:txBody>
      </p:sp>
      <p:sp>
        <p:nvSpPr>
          <p:cNvPr id="8" name="Oval 7">
            <a:extLst>
              <a:ext uri="{FF2B5EF4-FFF2-40B4-BE49-F238E27FC236}">
                <a16:creationId xmlns:a16="http://schemas.microsoft.com/office/drawing/2014/main" id="{747BEB8B-1ACA-46E5-8491-D1C96A81CB6E}"/>
              </a:ext>
            </a:extLst>
          </p:cNvPr>
          <p:cNvSpPr/>
          <p:nvPr/>
        </p:nvSpPr>
        <p:spPr bwMode="auto">
          <a:xfrm>
            <a:off x="465138" y="448925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5</a:t>
            </a:r>
            <a:endParaRPr lang="en-IN" sz="2400" b="1" dirty="0" err="1">
              <a:solidFill>
                <a:schemeClr val="bg1"/>
              </a:solidFill>
              <a:ea typeface="Segoe UI" pitchFamily="34" charset="0"/>
              <a:cs typeface="Segoe UI" pitchFamily="34" charset="0"/>
            </a:endParaRPr>
          </a:p>
        </p:txBody>
      </p:sp>
      <p:sp>
        <p:nvSpPr>
          <p:cNvPr id="9" name="Oval 8">
            <a:extLst>
              <a:ext uri="{FF2B5EF4-FFF2-40B4-BE49-F238E27FC236}">
                <a16:creationId xmlns:a16="http://schemas.microsoft.com/office/drawing/2014/main" id="{513F2C24-0DDE-4568-B0FE-7AE34F52ECA9}"/>
              </a:ext>
            </a:extLst>
          </p:cNvPr>
          <p:cNvSpPr/>
          <p:nvPr/>
        </p:nvSpPr>
        <p:spPr bwMode="auto">
          <a:xfrm>
            <a:off x="465138" y="528993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6</a:t>
            </a:r>
            <a:endParaRPr lang="en-IN" sz="2400" b="1" dirty="0" err="1">
              <a:solidFill>
                <a:schemeClr val="bg1"/>
              </a:solidFill>
              <a:ea typeface="Segoe UI" pitchFamily="34" charset="0"/>
              <a:cs typeface="Segoe UI" pitchFamily="34" charset="0"/>
            </a:endParaRPr>
          </a:p>
        </p:txBody>
      </p:sp>
      <p:sp>
        <p:nvSpPr>
          <p:cNvPr id="10" name="Oval 9">
            <a:extLst>
              <a:ext uri="{FF2B5EF4-FFF2-40B4-BE49-F238E27FC236}">
                <a16:creationId xmlns:a16="http://schemas.microsoft.com/office/drawing/2014/main" id="{0B46BA7F-331C-45EA-B1EA-9B3B08EEAF37}"/>
              </a:ext>
            </a:extLst>
          </p:cNvPr>
          <p:cNvSpPr/>
          <p:nvPr/>
        </p:nvSpPr>
        <p:spPr bwMode="auto">
          <a:xfrm>
            <a:off x="465138" y="608715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7</a:t>
            </a:r>
            <a:endParaRPr lang="en-IN" sz="2400" b="1" dirty="0" err="1">
              <a:solidFill>
                <a:schemeClr val="bg1"/>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73BA527A-9794-4C3F-BF37-1F255CA7182F}"/>
              </a:ext>
            </a:extLst>
          </p:cNvPr>
          <p:cNvSpPr/>
          <p:nvPr/>
        </p:nvSpPr>
        <p:spPr>
          <a:xfrm>
            <a:off x="1257524" y="1336965"/>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l" defTabSz="444500">
              <a:lnSpc>
                <a:spcPct val="90000"/>
              </a:lnSpc>
              <a:spcBef>
                <a:spcPct val="0"/>
              </a:spcBef>
              <a:spcAft>
                <a:spcPct val="35000"/>
              </a:spcAft>
              <a:buNone/>
            </a:pPr>
            <a:r>
              <a:rPr lang="en-US" sz="3200" kern="1200" dirty="0">
                <a:solidFill>
                  <a:schemeClr val="accent1"/>
                </a:solidFill>
                <a:latin typeface="+mj-lt"/>
              </a:rPr>
              <a:t>Sign </a:t>
            </a:r>
            <a:r>
              <a:rPr lang="en-US" sz="3200" kern="1200" dirty="0" err="1">
                <a:solidFill>
                  <a:schemeClr val="accent1"/>
                </a:solidFill>
                <a:latin typeface="+mj-lt"/>
              </a:rPr>
              <a:t>Hoster</a:t>
            </a:r>
            <a:r>
              <a:rPr lang="en-US" sz="3200" kern="1200" dirty="0">
                <a:solidFill>
                  <a:schemeClr val="accent1"/>
                </a:solidFill>
                <a:latin typeface="+mj-lt"/>
              </a:rPr>
              <a:t> DC Migration Program contract – DONE</a:t>
            </a:r>
            <a:endParaRPr lang="en-IN" sz="3200" kern="1200" dirty="0">
              <a:solidFill>
                <a:schemeClr val="accent1"/>
              </a:solidFill>
              <a:latin typeface="+mj-lt"/>
            </a:endParaRPr>
          </a:p>
        </p:txBody>
      </p:sp>
      <p:sp>
        <p:nvSpPr>
          <p:cNvPr id="15" name="Rectangle 14">
            <a:extLst>
              <a:ext uri="{FF2B5EF4-FFF2-40B4-BE49-F238E27FC236}">
                <a16:creationId xmlns:a16="http://schemas.microsoft.com/office/drawing/2014/main" id="{6C4B064F-CCEB-4B2C-85BA-7CAE539705F4}"/>
              </a:ext>
            </a:extLst>
          </p:cNvPr>
          <p:cNvSpPr/>
          <p:nvPr/>
        </p:nvSpPr>
        <p:spPr>
          <a:xfrm>
            <a:off x="1257524" y="2137639"/>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l" defTabSz="444500">
              <a:lnSpc>
                <a:spcPct val="90000"/>
              </a:lnSpc>
              <a:spcBef>
                <a:spcPct val="0"/>
              </a:spcBef>
              <a:spcAft>
                <a:spcPct val="35000"/>
              </a:spcAft>
              <a:buNone/>
            </a:pPr>
            <a:r>
              <a:rPr lang="en-US" sz="3200" kern="1200">
                <a:solidFill>
                  <a:schemeClr val="accent1"/>
                </a:solidFill>
                <a:latin typeface="+mj-lt"/>
              </a:rPr>
              <a:t>Make a proposal for customers</a:t>
            </a:r>
            <a:endParaRPr lang="en-IN" sz="3200" kern="1200">
              <a:solidFill>
                <a:schemeClr val="accent1"/>
              </a:solidFill>
              <a:latin typeface="+mj-lt"/>
            </a:endParaRPr>
          </a:p>
        </p:txBody>
      </p:sp>
      <p:sp>
        <p:nvSpPr>
          <p:cNvPr id="16" name="Rectangle 15">
            <a:extLst>
              <a:ext uri="{FF2B5EF4-FFF2-40B4-BE49-F238E27FC236}">
                <a16:creationId xmlns:a16="http://schemas.microsoft.com/office/drawing/2014/main" id="{4C0EE9FF-FED8-45BE-9CF8-A537E489DDA3}"/>
              </a:ext>
            </a:extLst>
          </p:cNvPr>
          <p:cNvSpPr/>
          <p:nvPr/>
        </p:nvSpPr>
        <p:spPr>
          <a:xfrm>
            <a:off x="1257524" y="2938313"/>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l" defTabSz="444500">
              <a:lnSpc>
                <a:spcPct val="90000"/>
              </a:lnSpc>
              <a:spcBef>
                <a:spcPct val="0"/>
              </a:spcBef>
              <a:spcAft>
                <a:spcPct val="35000"/>
              </a:spcAft>
              <a:buNone/>
            </a:pPr>
            <a:r>
              <a:rPr lang="en-US" sz="3200" kern="1200">
                <a:solidFill>
                  <a:schemeClr val="accent1"/>
                </a:solidFill>
                <a:latin typeface="+mj-lt"/>
              </a:rPr>
              <a:t>Reach your customers</a:t>
            </a:r>
            <a:endParaRPr lang="en-IN" sz="3200" kern="1200">
              <a:solidFill>
                <a:schemeClr val="accent1"/>
              </a:solidFill>
              <a:latin typeface="+mj-lt"/>
            </a:endParaRPr>
          </a:p>
        </p:txBody>
      </p:sp>
      <p:sp>
        <p:nvSpPr>
          <p:cNvPr id="17" name="Rectangle 16">
            <a:extLst>
              <a:ext uri="{FF2B5EF4-FFF2-40B4-BE49-F238E27FC236}">
                <a16:creationId xmlns:a16="http://schemas.microsoft.com/office/drawing/2014/main" id="{BCFF0C9E-25D6-4C54-903C-8B94026ECA8C}"/>
              </a:ext>
            </a:extLst>
          </p:cNvPr>
          <p:cNvSpPr/>
          <p:nvPr/>
        </p:nvSpPr>
        <p:spPr>
          <a:xfrm>
            <a:off x="1257524" y="3738987"/>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l" defTabSz="444500">
              <a:lnSpc>
                <a:spcPct val="90000"/>
              </a:lnSpc>
              <a:spcBef>
                <a:spcPct val="0"/>
              </a:spcBef>
              <a:spcAft>
                <a:spcPct val="35000"/>
              </a:spcAft>
              <a:buNone/>
            </a:pPr>
            <a:r>
              <a:rPr lang="en-US" sz="3200" kern="1200">
                <a:solidFill>
                  <a:schemeClr val="accent1"/>
                </a:solidFill>
                <a:latin typeface="+mj-lt"/>
              </a:rPr>
              <a:t>Identify workloads</a:t>
            </a:r>
            <a:endParaRPr lang="en-IN" sz="3200" kern="1200">
              <a:solidFill>
                <a:schemeClr val="accent1"/>
              </a:solidFill>
              <a:latin typeface="+mj-lt"/>
            </a:endParaRPr>
          </a:p>
        </p:txBody>
      </p:sp>
      <p:sp>
        <p:nvSpPr>
          <p:cNvPr id="18" name="Rectangle 17">
            <a:extLst>
              <a:ext uri="{FF2B5EF4-FFF2-40B4-BE49-F238E27FC236}">
                <a16:creationId xmlns:a16="http://schemas.microsoft.com/office/drawing/2014/main" id="{FD931660-9FD7-47A9-9ECD-E183806298A3}"/>
              </a:ext>
            </a:extLst>
          </p:cNvPr>
          <p:cNvSpPr/>
          <p:nvPr/>
        </p:nvSpPr>
        <p:spPr>
          <a:xfrm>
            <a:off x="1257524" y="4539661"/>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l" defTabSz="444500">
              <a:lnSpc>
                <a:spcPct val="90000"/>
              </a:lnSpc>
              <a:spcBef>
                <a:spcPct val="0"/>
              </a:spcBef>
              <a:spcAft>
                <a:spcPct val="35000"/>
              </a:spcAft>
              <a:buNone/>
            </a:pPr>
            <a:r>
              <a:rPr lang="en-US" sz="3200" kern="1200">
                <a:solidFill>
                  <a:schemeClr val="accent1"/>
                </a:solidFill>
                <a:latin typeface="+mj-lt"/>
              </a:rPr>
              <a:t>Perform an assessment</a:t>
            </a:r>
            <a:endParaRPr lang="en-IN" sz="3200" kern="1200">
              <a:solidFill>
                <a:schemeClr val="accent1"/>
              </a:solidFill>
              <a:latin typeface="+mj-lt"/>
            </a:endParaRPr>
          </a:p>
        </p:txBody>
      </p:sp>
      <p:sp>
        <p:nvSpPr>
          <p:cNvPr id="19" name="Rectangle 18">
            <a:extLst>
              <a:ext uri="{FF2B5EF4-FFF2-40B4-BE49-F238E27FC236}">
                <a16:creationId xmlns:a16="http://schemas.microsoft.com/office/drawing/2014/main" id="{7455E2F4-883B-4F03-A41C-78614858B6FB}"/>
              </a:ext>
            </a:extLst>
          </p:cNvPr>
          <p:cNvSpPr/>
          <p:nvPr/>
        </p:nvSpPr>
        <p:spPr>
          <a:xfrm>
            <a:off x="1257524" y="5340335"/>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l" defTabSz="444500">
              <a:lnSpc>
                <a:spcPct val="90000"/>
              </a:lnSpc>
              <a:spcBef>
                <a:spcPct val="0"/>
              </a:spcBef>
              <a:spcAft>
                <a:spcPct val="35000"/>
              </a:spcAft>
              <a:buNone/>
            </a:pPr>
            <a:r>
              <a:rPr lang="en-US" sz="3200" kern="1200">
                <a:solidFill>
                  <a:schemeClr val="accent1"/>
                </a:solidFill>
                <a:latin typeface="+mj-lt"/>
              </a:rPr>
              <a:t>Build and validate a migration plan</a:t>
            </a:r>
            <a:endParaRPr lang="en-IN" sz="3200" kern="1200">
              <a:solidFill>
                <a:schemeClr val="accent1"/>
              </a:solidFill>
              <a:latin typeface="+mj-lt"/>
            </a:endParaRPr>
          </a:p>
        </p:txBody>
      </p:sp>
      <p:sp>
        <p:nvSpPr>
          <p:cNvPr id="20" name="Rectangle 19">
            <a:extLst>
              <a:ext uri="{FF2B5EF4-FFF2-40B4-BE49-F238E27FC236}">
                <a16:creationId xmlns:a16="http://schemas.microsoft.com/office/drawing/2014/main" id="{4A4FF20E-5445-4317-972B-FA0807A45FBA}"/>
              </a:ext>
            </a:extLst>
          </p:cNvPr>
          <p:cNvSpPr/>
          <p:nvPr/>
        </p:nvSpPr>
        <p:spPr>
          <a:xfrm>
            <a:off x="1257524" y="6137565"/>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l" defTabSz="444500">
              <a:lnSpc>
                <a:spcPct val="90000"/>
              </a:lnSpc>
              <a:spcBef>
                <a:spcPct val="0"/>
              </a:spcBef>
              <a:spcAft>
                <a:spcPct val="35000"/>
              </a:spcAft>
              <a:buNone/>
            </a:pPr>
            <a:r>
              <a:rPr lang="en-US" sz="3200" kern="1200" dirty="0">
                <a:solidFill>
                  <a:schemeClr val="accent1"/>
                </a:solidFill>
                <a:latin typeface="+mj-lt"/>
              </a:rPr>
              <a:t>Move data</a:t>
            </a:r>
            <a:endParaRPr lang="en-IN" sz="3200" kern="1200" dirty="0">
              <a:solidFill>
                <a:schemeClr val="accent1"/>
              </a:solidFill>
              <a:latin typeface="+mj-lt"/>
            </a:endParaRPr>
          </a:p>
        </p:txBody>
      </p:sp>
      <p:cxnSp>
        <p:nvCxnSpPr>
          <p:cNvPr id="25" name="Straight Connector 24">
            <a:extLst>
              <a:ext uri="{FF2B5EF4-FFF2-40B4-BE49-F238E27FC236}">
                <a16:creationId xmlns:a16="http://schemas.microsoft.com/office/drawing/2014/main" id="{F2BB58B4-9840-4FB3-B1DF-21C5DE3B1FB7}"/>
              </a:ext>
            </a:extLst>
          </p:cNvPr>
          <p:cNvCxnSpPr>
            <a:cxnSpLocks/>
            <a:endCxn id="26" idx="0"/>
          </p:cNvCxnSpPr>
          <p:nvPr/>
        </p:nvCxnSpPr>
        <p:spPr>
          <a:xfrm>
            <a:off x="0" y="1236528"/>
            <a:ext cx="73714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A54AAC2-C632-4415-9791-F2AE7DB58136}"/>
              </a:ext>
            </a:extLst>
          </p:cNvPr>
          <p:cNvCxnSpPr>
            <a:cxnSpLocks/>
          </p:cNvCxnSpPr>
          <p:nvPr/>
        </p:nvCxnSpPr>
        <p:spPr>
          <a:xfrm>
            <a:off x="0" y="6681200"/>
            <a:ext cx="73714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62BF52A-AB5E-4588-B10A-88A1C5B1E9F2}"/>
              </a:ext>
            </a:extLst>
          </p:cNvPr>
          <p:cNvCxnSpPr/>
          <p:nvPr/>
        </p:nvCxnSpPr>
        <p:spPr>
          <a:xfrm>
            <a:off x="1257524" y="1958901"/>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7EEEA55-06EB-4ABF-A639-AF058FBFE85A}"/>
              </a:ext>
            </a:extLst>
          </p:cNvPr>
          <p:cNvCxnSpPr/>
          <p:nvPr/>
        </p:nvCxnSpPr>
        <p:spPr>
          <a:xfrm>
            <a:off x="1257524" y="2759575"/>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C90B618-75CC-44B6-B789-D23279D7CAFA}"/>
              </a:ext>
            </a:extLst>
          </p:cNvPr>
          <p:cNvCxnSpPr/>
          <p:nvPr/>
        </p:nvCxnSpPr>
        <p:spPr>
          <a:xfrm>
            <a:off x="1257524" y="3560249"/>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C6EF955-67E4-40D6-84F0-51559DF779B2}"/>
              </a:ext>
            </a:extLst>
          </p:cNvPr>
          <p:cNvCxnSpPr/>
          <p:nvPr/>
        </p:nvCxnSpPr>
        <p:spPr>
          <a:xfrm>
            <a:off x="1257524" y="4360923"/>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6D069C6-9489-40A2-B7D9-591490FCEFDC}"/>
              </a:ext>
            </a:extLst>
          </p:cNvPr>
          <p:cNvCxnSpPr/>
          <p:nvPr/>
        </p:nvCxnSpPr>
        <p:spPr>
          <a:xfrm>
            <a:off x="1257524" y="5161597"/>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FA68549-1DDF-4368-A6B4-B22A3A82AB87}"/>
              </a:ext>
            </a:extLst>
          </p:cNvPr>
          <p:cNvCxnSpPr/>
          <p:nvPr/>
        </p:nvCxnSpPr>
        <p:spPr>
          <a:xfrm>
            <a:off x="1257524" y="5962271"/>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387509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82" name="Straight Connector 181">
            <a:extLst>
              <a:ext uri="{FF2B5EF4-FFF2-40B4-BE49-F238E27FC236}">
                <a16:creationId xmlns:a16="http://schemas.microsoft.com/office/drawing/2014/main" id="{F0EE7890-0E25-49C8-B3A0-E4A71707C694}"/>
              </a:ext>
            </a:extLst>
          </p:cNvPr>
          <p:cNvCxnSpPr>
            <a:cxnSpLocks/>
          </p:cNvCxnSpPr>
          <p:nvPr/>
        </p:nvCxnSpPr>
        <p:spPr>
          <a:xfrm flipV="1">
            <a:off x="1884628" y="1956122"/>
            <a:ext cx="0" cy="1479142"/>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58" name="Rectangle 157">
            <a:extLst>
              <a:ext uri="{FF2B5EF4-FFF2-40B4-BE49-F238E27FC236}">
                <a16:creationId xmlns:a16="http://schemas.microsoft.com/office/drawing/2014/main" id="{7CE0ACA9-B12E-433A-BD1C-F5EF5DC0C4F1}"/>
              </a:ext>
            </a:extLst>
          </p:cNvPr>
          <p:cNvSpPr/>
          <p:nvPr/>
        </p:nvSpPr>
        <p:spPr bwMode="auto">
          <a:xfrm>
            <a:off x="635433" y="1128432"/>
            <a:ext cx="2906420" cy="8855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lnSpc>
                <a:spcPct val="90000"/>
              </a:lnSpc>
              <a:spcBef>
                <a:spcPct val="0"/>
              </a:spcBef>
              <a:spcAft>
                <a:spcPts val="600"/>
              </a:spcAft>
              <a:defRPr/>
            </a:pPr>
            <a:r>
              <a:rPr lang="en-US" sz="1400" dirty="0">
                <a:solidFill>
                  <a:schemeClr val="tx2"/>
                </a:solidFill>
                <a:ea typeface="Segoe UI" panose="020B0502040204020203" pitchFamily="34" charset="0"/>
                <a:cs typeface="Segoe UI" panose="020B0502040204020203" pitchFamily="34" charset="0"/>
              </a:rPr>
              <a:t>Intel Xeon E5-2673 v4 (Broadwell) </a:t>
            </a:r>
          </a:p>
          <a:p>
            <a:pPr algn="ctr" defTabSz="932293" fontAlgn="base">
              <a:lnSpc>
                <a:spcPct val="90000"/>
              </a:lnSpc>
              <a:spcBef>
                <a:spcPct val="0"/>
              </a:spcBef>
              <a:spcAft>
                <a:spcPts val="600"/>
              </a:spcAft>
              <a:defRPr/>
            </a:pPr>
            <a:r>
              <a:rPr lang="en-US" sz="1400" dirty="0">
                <a:solidFill>
                  <a:schemeClr val="tx2"/>
                </a:solidFill>
                <a:ea typeface="Segoe UI" panose="020B0502040204020203" pitchFamily="34" charset="0"/>
                <a:cs typeface="Segoe UI" panose="020B0502040204020203" pitchFamily="34" charset="0"/>
              </a:rPr>
              <a:t>Hyper-Threaded CPUs</a:t>
            </a:r>
          </a:p>
          <a:p>
            <a:pPr algn="ctr" defTabSz="932293" fontAlgn="base">
              <a:lnSpc>
                <a:spcPct val="90000"/>
              </a:lnSpc>
              <a:spcBef>
                <a:spcPct val="0"/>
              </a:spcBef>
              <a:spcAft>
                <a:spcPts val="600"/>
              </a:spcAft>
              <a:defRPr/>
            </a:pPr>
            <a:r>
              <a:rPr lang="en-US" sz="1400" dirty="0">
                <a:solidFill>
                  <a:schemeClr val="tx2"/>
                </a:solidFill>
                <a:ea typeface="Segoe UI" panose="020B0502040204020203" pitchFamily="34" charset="0"/>
                <a:cs typeface="Segoe UI" panose="020B0502040204020203" pitchFamily="34" charset="0"/>
              </a:rPr>
              <a:t>Up to 64 vCPUs, 432GiB RAM</a:t>
            </a:r>
          </a:p>
        </p:txBody>
      </p:sp>
      <p:sp>
        <p:nvSpPr>
          <p:cNvPr id="159" name="Rectangle 158">
            <a:extLst>
              <a:ext uri="{FF2B5EF4-FFF2-40B4-BE49-F238E27FC236}">
                <a16:creationId xmlns:a16="http://schemas.microsoft.com/office/drawing/2014/main" id="{2D4D6004-ACB6-409B-A956-C5A6867E080D}"/>
              </a:ext>
            </a:extLst>
          </p:cNvPr>
          <p:cNvSpPr/>
          <p:nvPr/>
        </p:nvSpPr>
        <p:spPr bwMode="auto">
          <a:xfrm>
            <a:off x="1469372" y="5713370"/>
            <a:ext cx="2570652" cy="1027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lnSpc>
                <a:spcPct val="90000"/>
              </a:lnSpc>
              <a:spcBef>
                <a:spcPct val="0"/>
              </a:spcBef>
              <a:spcAft>
                <a:spcPts val="600"/>
              </a:spcAft>
              <a:defRPr/>
            </a:pPr>
            <a:r>
              <a:rPr lang="en-US" sz="1400" dirty="0">
                <a:solidFill>
                  <a:schemeClr val="tx2"/>
                </a:solidFill>
                <a:ea typeface="Segoe UI" panose="020B0502040204020203" pitchFamily="34" charset="0"/>
                <a:cs typeface="Segoe UI" panose="020B0502040204020203" pitchFamily="34" charset="0"/>
              </a:rPr>
              <a:t>Intel Xeon E7-8890 v3 (Haswell)</a:t>
            </a:r>
          </a:p>
          <a:p>
            <a:pPr algn="ctr" defTabSz="932293" fontAlgn="base">
              <a:lnSpc>
                <a:spcPct val="90000"/>
              </a:lnSpc>
              <a:spcBef>
                <a:spcPct val="0"/>
              </a:spcBef>
              <a:spcAft>
                <a:spcPts val="600"/>
              </a:spcAft>
              <a:defRPr/>
            </a:pPr>
            <a:r>
              <a:rPr lang="en-US" sz="1400" dirty="0">
                <a:solidFill>
                  <a:schemeClr val="tx2"/>
                </a:solidFill>
                <a:ea typeface="Segoe UI" panose="020B0502040204020203" pitchFamily="34" charset="0"/>
                <a:cs typeface="Segoe UI" panose="020B0502040204020203" pitchFamily="34" charset="0"/>
              </a:rPr>
              <a:t>Largest VMs in Azure</a:t>
            </a:r>
          </a:p>
          <a:p>
            <a:pPr algn="ctr" defTabSz="932293" fontAlgn="base">
              <a:lnSpc>
                <a:spcPct val="90000"/>
              </a:lnSpc>
              <a:spcBef>
                <a:spcPct val="0"/>
              </a:spcBef>
              <a:spcAft>
                <a:spcPts val="600"/>
              </a:spcAft>
              <a:defRPr/>
            </a:pPr>
            <a:r>
              <a:rPr lang="en-US" sz="1400" dirty="0">
                <a:solidFill>
                  <a:schemeClr val="tx2"/>
                </a:solidFill>
                <a:ea typeface="Segoe UI" panose="020B0502040204020203" pitchFamily="34" charset="0"/>
                <a:cs typeface="Segoe UI" panose="020B0502040204020203" pitchFamily="34" charset="0"/>
              </a:rPr>
              <a:t>Up to 128 vCPUs, 4TiB RAM</a:t>
            </a:r>
          </a:p>
        </p:txBody>
      </p:sp>
      <p:sp>
        <p:nvSpPr>
          <p:cNvPr id="162" name="Rectangle 161">
            <a:extLst>
              <a:ext uri="{FF2B5EF4-FFF2-40B4-BE49-F238E27FC236}">
                <a16:creationId xmlns:a16="http://schemas.microsoft.com/office/drawing/2014/main" id="{EB5D1498-4C90-4F97-B755-554596E6F6BE}"/>
              </a:ext>
            </a:extLst>
          </p:cNvPr>
          <p:cNvSpPr/>
          <p:nvPr/>
        </p:nvSpPr>
        <p:spPr bwMode="auto">
          <a:xfrm>
            <a:off x="12460169" y="856023"/>
            <a:ext cx="3333393" cy="10016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lnSpc>
                <a:spcPct val="90000"/>
              </a:lnSpc>
              <a:spcBef>
                <a:spcPct val="0"/>
              </a:spcBef>
              <a:spcAft>
                <a:spcPts val="600"/>
              </a:spcAft>
              <a:defRPr/>
            </a:pPr>
            <a:r>
              <a:rPr lang="en-US" dirty="0">
                <a:solidFill>
                  <a:srgbClr val="3E3D4D"/>
                </a:solidFill>
                <a:latin typeface="Segoe UI" panose="020B0502040204020203" pitchFamily="34" charset="0"/>
                <a:cs typeface="Segoe UI" panose="020B0502040204020203" pitchFamily="34" charset="0"/>
              </a:rPr>
              <a:t>Nvidia P100 GPU</a:t>
            </a:r>
          </a:p>
          <a:p>
            <a:pPr algn="ctr" defTabSz="932293" fontAlgn="base">
              <a:lnSpc>
                <a:spcPct val="90000"/>
              </a:lnSpc>
              <a:spcBef>
                <a:spcPct val="0"/>
              </a:spcBef>
              <a:spcAft>
                <a:spcPts val="600"/>
              </a:spcAft>
              <a:defRPr/>
            </a:pPr>
            <a:r>
              <a:rPr lang="en-US" dirty="0">
                <a:solidFill>
                  <a:srgbClr val="3E3D4D"/>
                </a:solidFill>
                <a:latin typeface="Segoe UI" panose="020B0502040204020203" pitchFamily="34" charset="0"/>
                <a:cs typeface="Segoe UI" panose="020B0502040204020203" pitchFamily="34" charset="0"/>
              </a:rPr>
              <a:t>InfiniBand networking</a:t>
            </a:r>
          </a:p>
          <a:p>
            <a:pPr algn="ctr" defTabSz="932293" fontAlgn="base">
              <a:lnSpc>
                <a:spcPct val="90000"/>
              </a:lnSpc>
              <a:spcBef>
                <a:spcPct val="0"/>
              </a:spcBef>
              <a:spcAft>
                <a:spcPts val="600"/>
              </a:spcAft>
              <a:defRPr/>
            </a:pPr>
            <a:r>
              <a:rPr lang="en-US" dirty="0">
                <a:solidFill>
                  <a:srgbClr val="3E3D4D"/>
                </a:solidFill>
                <a:latin typeface="Segoe UI" panose="020B0502040204020203" pitchFamily="34" charset="0"/>
                <a:cs typeface="Segoe UI" panose="020B0502040204020203" pitchFamily="34" charset="0"/>
              </a:rPr>
              <a:t>HPC scenarios</a:t>
            </a:r>
          </a:p>
        </p:txBody>
      </p:sp>
      <p:sp>
        <p:nvSpPr>
          <p:cNvPr id="163" name="Rectangle 162">
            <a:extLst>
              <a:ext uri="{FF2B5EF4-FFF2-40B4-BE49-F238E27FC236}">
                <a16:creationId xmlns:a16="http://schemas.microsoft.com/office/drawing/2014/main" id="{5E6CE842-E8D6-44BE-AB92-B9D5E7EC1F16}"/>
              </a:ext>
            </a:extLst>
          </p:cNvPr>
          <p:cNvSpPr/>
          <p:nvPr/>
        </p:nvSpPr>
        <p:spPr bwMode="auto">
          <a:xfrm>
            <a:off x="6189063" y="5713370"/>
            <a:ext cx="2113162" cy="8073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lnSpc>
                <a:spcPct val="90000"/>
              </a:lnSpc>
              <a:spcBef>
                <a:spcPct val="0"/>
              </a:spcBef>
              <a:spcAft>
                <a:spcPts val="600"/>
              </a:spcAft>
              <a:defRPr/>
            </a:pPr>
            <a:r>
              <a:rPr lang="en-US" sz="1400" dirty="0">
                <a:solidFill>
                  <a:schemeClr val="tx2"/>
                </a:solidFill>
                <a:ea typeface="Segoe UI" panose="020B0502040204020203" pitchFamily="34" charset="0"/>
                <a:cs typeface="Segoe UI" panose="020B0502040204020203" pitchFamily="34" charset="0"/>
              </a:rPr>
              <a:t>Nvidia Tesla P40</a:t>
            </a:r>
          </a:p>
          <a:p>
            <a:pPr algn="ctr" defTabSz="932293" fontAlgn="base">
              <a:lnSpc>
                <a:spcPct val="90000"/>
              </a:lnSpc>
              <a:spcBef>
                <a:spcPct val="0"/>
              </a:spcBef>
              <a:spcAft>
                <a:spcPts val="600"/>
              </a:spcAft>
              <a:defRPr/>
            </a:pPr>
            <a:r>
              <a:rPr lang="en-US" sz="1400" dirty="0" err="1">
                <a:solidFill>
                  <a:schemeClr val="tx2"/>
                </a:solidFill>
                <a:ea typeface="Segoe UI" panose="020B0502040204020203" pitchFamily="34" charset="0"/>
                <a:cs typeface="Segoe UI" panose="020B0502040204020203" pitchFamily="34" charset="0"/>
              </a:rPr>
              <a:t>Infiniband</a:t>
            </a:r>
            <a:r>
              <a:rPr lang="en-US" sz="1400" dirty="0">
                <a:solidFill>
                  <a:schemeClr val="tx2"/>
                </a:solidFill>
                <a:ea typeface="Segoe UI" panose="020B0502040204020203" pitchFamily="34" charset="0"/>
                <a:cs typeface="Segoe UI" panose="020B0502040204020203" pitchFamily="34" charset="0"/>
              </a:rPr>
              <a:t> networking</a:t>
            </a:r>
          </a:p>
          <a:p>
            <a:pPr algn="ctr" defTabSz="932293" fontAlgn="base">
              <a:lnSpc>
                <a:spcPct val="90000"/>
              </a:lnSpc>
              <a:spcBef>
                <a:spcPct val="0"/>
              </a:spcBef>
              <a:spcAft>
                <a:spcPts val="600"/>
              </a:spcAft>
              <a:defRPr/>
            </a:pPr>
            <a:r>
              <a:rPr lang="en-US" sz="1400" dirty="0">
                <a:solidFill>
                  <a:schemeClr val="tx2"/>
                </a:solidFill>
                <a:ea typeface="Segoe UI" panose="020B0502040204020203" pitchFamily="34" charset="0"/>
                <a:cs typeface="Segoe UI" panose="020B0502040204020203" pitchFamily="34" charset="0"/>
              </a:rPr>
              <a:t>Deep learning, AI</a:t>
            </a:r>
          </a:p>
        </p:txBody>
      </p:sp>
      <p:sp>
        <p:nvSpPr>
          <p:cNvPr id="166" name="Freeform: Shape 165">
            <a:extLst>
              <a:ext uri="{FF2B5EF4-FFF2-40B4-BE49-F238E27FC236}">
                <a16:creationId xmlns:a16="http://schemas.microsoft.com/office/drawing/2014/main" id="{9F564E67-2D47-458E-B05B-ADB960CD3DB2}"/>
              </a:ext>
            </a:extLst>
          </p:cNvPr>
          <p:cNvSpPr/>
          <p:nvPr/>
        </p:nvSpPr>
        <p:spPr bwMode="auto">
          <a:xfrm flipV="1">
            <a:off x="14331768" y="1857638"/>
            <a:ext cx="129888" cy="914270"/>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accent4"/>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71" name="Title 70">
            <a:extLst>
              <a:ext uri="{FF2B5EF4-FFF2-40B4-BE49-F238E27FC236}">
                <a16:creationId xmlns:a16="http://schemas.microsoft.com/office/drawing/2014/main" id="{444CD606-AF6F-4A9C-9993-69C2CE230B6D}"/>
              </a:ext>
            </a:extLst>
          </p:cNvPr>
          <p:cNvSpPr>
            <a:spLocks noGrp="1"/>
          </p:cNvSpPr>
          <p:nvPr>
            <p:ph type="title"/>
          </p:nvPr>
        </p:nvSpPr>
        <p:spPr/>
        <p:txBody>
          <a:bodyPr/>
          <a:lstStyle/>
          <a:p>
            <a:r>
              <a:rPr lang="en-US" dirty="0"/>
              <a:t>…from Memory Optimized to HPC</a:t>
            </a:r>
          </a:p>
        </p:txBody>
      </p:sp>
      <p:sp>
        <p:nvSpPr>
          <p:cNvPr id="185" name="Rectangle 184">
            <a:extLst>
              <a:ext uri="{FF2B5EF4-FFF2-40B4-BE49-F238E27FC236}">
                <a16:creationId xmlns:a16="http://schemas.microsoft.com/office/drawing/2014/main" id="{B332BAEA-0E4D-41F0-A17A-14836B351F4F}"/>
              </a:ext>
            </a:extLst>
          </p:cNvPr>
          <p:cNvSpPr/>
          <p:nvPr/>
        </p:nvSpPr>
        <p:spPr bwMode="auto">
          <a:xfrm>
            <a:off x="5744977" y="1574437"/>
            <a:ext cx="1801718" cy="4073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lnSpc>
                <a:spcPct val="90000"/>
              </a:lnSpc>
              <a:spcBef>
                <a:spcPct val="0"/>
              </a:spcBef>
              <a:spcAft>
                <a:spcPts val="600"/>
              </a:spcAft>
              <a:defRPr/>
            </a:pPr>
            <a:r>
              <a:rPr lang="en-US" sz="1400" dirty="0">
                <a:solidFill>
                  <a:schemeClr val="tx2"/>
                </a:solidFill>
                <a:ea typeface="Segoe UI" panose="020B0502040204020203" pitchFamily="34" charset="0"/>
                <a:cs typeface="Segoe UI" panose="020B0502040204020203" pitchFamily="34" charset="0"/>
              </a:rPr>
              <a:t>Nvidia Tesla M60</a:t>
            </a:r>
          </a:p>
        </p:txBody>
      </p:sp>
      <p:sp>
        <p:nvSpPr>
          <p:cNvPr id="191" name="Rectangle 190">
            <a:extLst>
              <a:ext uri="{FF2B5EF4-FFF2-40B4-BE49-F238E27FC236}">
                <a16:creationId xmlns:a16="http://schemas.microsoft.com/office/drawing/2014/main" id="{EF58042E-8B55-46D9-BF73-AAE924AC9684}"/>
              </a:ext>
            </a:extLst>
          </p:cNvPr>
          <p:cNvSpPr/>
          <p:nvPr/>
        </p:nvSpPr>
        <p:spPr bwMode="auto">
          <a:xfrm>
            <a:off x="4641933" y="5713370"/>
            <a:ext cx="1148800" cy="5370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lnSpc>
                <a:spcPct val="90000"/>
              </a:lnSpc>
              <a:spcBef>
                <a:spcPct val="0"/>
              </a:spcBef>
              <a:spcAft>
                <a:spcPts val="600"/>
              </a:spcAft>
              <a:defRPr/>
            </a:pPr>
            <a:r>
              <a:rPr lang="en-US" sz="1400" dirty="0">
                <a:solidFill>
                  <a:schemeClr val="tx2"/>
                </a:solidFill>
                <a:ea typeface="Segoe UI" panose="020B0502040204020203" pitchFamily="34" charset="0"/>
                <a:cs typeface="Segoe UI" panose="020B0502040204020203" pitchFamily="34" charset="0"/>
              </a:rPr>
              <a:t>Nvidia Tesla </a:t>
            </a:r>
          </a:p>
          <a:p>
            <a:pPr algn="ctr" defTabSz="932293" fontAlgn="base">
              <a:lnSpc>
                <a:spcPct val="90000"/>
              </a:lnSpc>
              <a:spcBef>
                <a:spcPct val="0"/>
              </a:spcBef>
              <a:spcAft>
                <a:spcPts val="600"/>
              </a:spcAft>
              <a:defRPr/>
            </a:pPr>
            <a:r>
              <a:rPr lang="en-US" sz="1400" dirty="0">
                <a:solidFill>
                  <a:schemeClr val="tx2"/>
                </a:solidFill>
                <a:ea typeface="Segoe UI" panose="020B0502040204020203" pitchFamily="34" charset="0"/>
                <a:cs typeface="Segoe UI" panose="020B0502040204020203" pitchFamily="34" charset="0"/>
              </a:rPr>
              <a:t>V100</a:t>
            </a:r>
          </a:p>
        </p:txBody>
      </p:sp>
      <p:sp>
        <p:nvSpPr>
          <p:cNvPr id="193" name="Rectangle 192">
            <a:extLst>
              <a:ext uri="{FF2B5EF4-FFF2-40B4-BE49-F238E27FC236}">
                <a16:creationId xmlns:a16="http://schemas.microsoft.com/office/drawing/2014/main" id="{C5CEF81F-B046-4E12-B794-875EE0BC9DCE}"/>
              </a:ext>
            </a:extLst>
          </p:cNvPr>
          <p:cNvSpPr/>
          <p:nvPr/>
        </p:nvSpPr>
        <p:spPr bwMode="auto">
          <a:xfrm>
            <a:off x="8286351" y="5713370"/>
            <a:ext cx="1645254" cy="3633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lnSpc>
                <a:spcPct val="90000"/>
              </a:lnSpc>
              <a:spcBef>
                <a:spcPct val="0"/>
              </a:spcBef>
              <a:spcAft>
                <a:spcPts val="600"/>
              </a:spcAft>
              <a:defRPr/>
            </a:pPr>
            <a:r>
              <a:rPr lang="en-US" sz="1400" dirty="0">
                <a:solidFill>
                  <a:schemeClr val="tx2"/>
                </a:solidFill>
                <a:ea typeface="Segoe UI" panose="020B0502040204020203" pitchFamily="34" charset="0"/>
                <a:cs typeface="Segoe UI" panose="020B0502040204020203" pitchFamily="34" charset="0"/>
              </a:rPr>
              <a:t>Skylake Processor</a:t>
            </a:r>
          </a:p>
        </p:txBody>
      </p:sp>
      <p:sp>
        <p:nvSpPr>
          <p:cNvPr id="86" name="Rectangle 85">
            <a:extLst>
              <a:ext uri="{FF2B5EF4-FFF2-40B4-BE49-F238E27FC236}">
                <a16:creationId xmlns:a16="http://schemas.microsoft.com/office/drawing/2014/main" id="{C8766AFA-4E63-4FDB-9A5E-F2926F6DB535}"/>
              </a:ext>
            </a:extLst>
          </p:cNvPr>
          <p:cNvSpPr/>
          <p:nvPr/>
        </p:nvSpPr>
        <p:spPr bwMode="auto">
          <a:xfrm>
            <a:off x="3374608" y="2824224"/>
            <a:ext cx="4538953" cy="2418336"/>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dirty="0">
                <a:solidFill>
                  <a:schemeClr val="accent1"/>
                </a:solidFill>
                <a:ea typeface="Segoe UI" pitchFamily="34" charset="0"/>
                <a:cs typeface="Segoe UI Semibold" panose="020B0702040204020203" pitchFamily="34" charset="0"/>
              </a:rPr>
              <a:t>Graphics Intensive</a:t>
            </a:r>
          </a:p>
        </p:txBody>
      </p:sp>
      <p:sp>
        <p:nvSpPr>
          <p:cNvPr id="97" name="Freeform: Shape 96">
            <a:extLst>
              <a:ext uri="{FF2B5EF4-FFF2-40B4-BE49-F238E27FC236}">
                <a16:creationId xmlns:a16="http://schemas.microsoft.com/office/drawing/2014/main" id="{99AA2ED2-1805-407B-AF3A-3821EA888FFB}"/>
              </a:ext>
            </a:extLst>
          </p:cNvPr>
          <p:cNvSpPr>
            <a:spLocks/>
          </p:cNvSpPr>
          <p:nvPr/>
        </p:nvSpPr>
        <p:spPr bwMode="auto">
          <a:xfrm>
            <a:off x="3824551" y="3429651"/>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dirty="0">
              <a:solidFill>
                <a:srgbClr val="000000"/>
              </a:solidFill>
              <a:latin typeface="Segoe UI Semibold" panose="020B0702040204020203" pitchFamily="34" charset="0"/>
              <a:cs typeface="Segoe UI Semibold" panose="020B0702040204020203" pitchFamily="34" charset="0"/>
            </a:endParaRPr>
          </a:p>
        </p:txBody>
      </p:sp>
      <p:sp>
        <p:nvSpPr>
          <p:cNvPr id="98" name="Freeform: Shape 97">
            <a:extLst>
              <a:ext uri="{FF2B5EF4-FFF2-40B4-BE49-F238E27FC236}">
                <a16:creationId xmlns:a16="http://schemas.microsoft.com/office/drawing/2014/main" id="{4C1F51E2-E5A2-4FAE-B246-D1075F83BA6A}"/>
              </a:ext>
            </a:extLst>
          </p:cNvPr>
          <p:cNvSpPr>
            <a:spLocks/>
          </p:cNvSpPr>
          <p:nvPr/>
        </p:nvSpPr>
        <p:spPr bwMode="auto">
          <a:xfrm>
            <a:off x="4812393" y="3429651"/>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dirty="0">
              <a:solidFill>
                <a:srgbClr val="000000"/>
              </a:solidFill>
              <a:latin typeface="Segoe UI Semibold" panose="020B0702040204020203" pitchFamily="34" charset="0"/>
              <a:cs typeface="Segoe UI Semibold" panose="020B0702040204020203" pitchFamily="34" charset="0"/>
            </a:endParaRPr>
          </a:p>
        </p:txBody>
      </p:sp>
      <p:sp>
        <p:nvSpPr>
          <p:cNvPr id="99" name="Freeform: Shape 98">
            <a:extLst>
              <a:ext uri="{FF2B5EF4-FFF2-40B4-BE49-F238E27FC236}">
                <a16:creationId xmlns:a16="http://schemas.microsoft.com/office/drawing/2014/main" id="{5BC556DA-290F-4652-B07F-7614F481650A}"/>
              </a:ext>
            </a:extLst>
          </p:cNvPr>
          <p:cNvSpPr>
            <a:spLocks/>
          </p:cNvSpPr>
          <p:nvPr/>
        </p:nvSpPr>
        <p:spPr bwMode="auto">
          <a:xfrm>
            <a:off x="5800235" y="3429651"/>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dirty="0">
              <a:solidFill>
                <a:srgbClr val="000000"/>
              </a:solidFill>
              <a:latin typeface="Segoe UI Semibold" panose="020B0702040204020203" pitchFamily="34" charset="0"/>
              <a:cs typeface="Segoe UI Semibold" panose="020B0702040204020203" pitchFamily="34" charset="0"/>
            </a:endParaRPr>
          </a:p>
        </p:txBody>
      </p:sp>
      <p:sp>
        <p:nvSpPr>
          <p:cNvPr id="100" name="Freeform: Shape 99">
            <a:extLst>
              <a:ext uri="{FF2B5EF4-FFF2-40B4-BE49-F238E27FC236}">
                <a16:creationId xmlns:a16="http://schemas.microsoft.com/office/drawing/2014/main" id="{F56F9B27-0B4A-41D0-A5D8-074F4E38244F}"/>
              </a:ext>
            </a:extLst>
          </p:cNvPr>
          <p:cNvSpPr>
            <a:spLocks/>
          </p:cNvSpPr>
          <p:nvPr/>
        </p:nvSpPr>
        <p:spPr bwMode="auto">
          <a:xfrm>
            <a:off x="6788076" y="3429651"/>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dirty="0">
              <a:solidFill>
                <a:srgbClr val="000000"/>
              </a:solidFill>
              <a:latin typeface="Segoe UI Semibold" panose="020B0702040204020203" pitchFamily="34" charset="0"/>
              <a:cs typeface="Segoe UI Semibold" panose="020B0702040204020203" pitchFamily="34" charset="0"/>
            </a:endParaRPr>
          </a:p>
        </p:txBody>
      </p:sp>
      <p:sp>
        <p:nvSpPr>
          <p:cNvPr id="101" name="Freeform: Shape 100">
            <a:extLst>
              <a:ext uri="{FF2B5EF4-FFF2-40B4-BE49-F238E27FC236}">
                <a16:creationId xmlns:a16="http://schemas.microsoft.com/office/drawing/2014/main" id="{BE28747B-B53C-4C56-9EEB-B91D53FA4717}"/>
              </a:ext>
            </a:extLst>
          </p:cNvPr>
          <p:cNvSpPr>
            <a:spLocks/>
          </p:cNvSpPr>
          <p:nvPr/>
        </p:nvSpPr>
        <p:spPr bwMode="auto">
          <a:xfrm>
            <a:off x="4812393" y="4245859"/>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dirty="0">
              <a:solidFill>
                <a:srgbClr val="000000"/>
              </a:solidFill>
              <a:latin typeface="Segoe UI Semibold" panose="020B0702040204020203" pitchFamily="34" charset="0"/>
              <a:cs typeface="Segoe UI Semibold" panose="020B0702040204020203" pitchFamily="34" charset="0"/>
            </a:endParaRPr>
          </a:p>
        </p:txBody>
      </p:sp>
      <p:sp>
        <p:nvSpPr>
          <p:cNvPr id="102" name="Freeform: Shape 101">
            <a:extLst>
              <a:ext uri="{FF2B5EF4-FFF2-40B4-BE49-F238E27FC236}">
                <a16:creationId xmlns:a16="http://schemas.microsoft.com/office/drawing/2014/main" id="{B8DFEE7E-8F3B-489A-8925-E72647C4CF72}"/>
              </a:ext>
            </a:extLst>
          </p:cNvPr>
          <p:cNvSpPr>
            <a:spLocks/>
          </p:cNvSpPr>
          <p:nvPr/>
        </p:nvSpPr>
        <p:spPr bwMode="auto">
          <a:xfrm>
            <a:off x="5800235" y="4245859"/>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dirty="0">
              <a:solidFill>
                <a:srgbClr val="000000"/>
              </a:solidFill>
              <a:latin typeface="Segoe UI Semibold" panose="020B0702040204020203" pitchFamily="34" charset="0"/>
              <a:cs typeface="Segoe UI Semibold" panose="020B0702040204020203" pitchFamily="34" charset="0"/>
            </a:endParaRPr>
          </a:p>
        </p:txBody>
      </p:sp>
      <p:sp>
        <p:nvSpPr>
          <p:cNvPr id="103" name="Freeform: Shape 102">
            <a:extLst>
              <a:ext uri="{FF2B5EF4-FFF2-40B4-BE49-F238E27FC236}">
                <a16:creationId xmlns:a16="http://schemas.microsoft.com/office/drawing/2014/main" id="{F30A9EBF-969F-452E-9DC7-3CB79237E9DD}"/>
              </a:ext>
            </a:extLst>
          </p:cNvPr>
          <p:cNvSpPr>
            <a:spLocks/>
          </p:cNvSpPr>
          <p:nvPr/>
        </p:nvSpPr>
        <p:spPr bwMode="auto">
          <a:xfrm>
            <a:off x="6788076" y="4245859"/>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dirty="0">
              <a:solidFill>
                <a:srgbClr val="000000"/>
              </a:solidFill>
              <a:latin typeface="Segoe UI Semibold" panose="020B0702040204020203" pitchFamily="34" charset="0"/>
              <a:cs typeface="Segoe UI Semibold" panose="020B0702040204020203" pitchFamily="34" charset="0"/>
            </a:endParaRPr>
          </a:p>
        </p:txBody>
      </p:sp>
      <p:sp>
        <p:nvSpPr>
          <p:cNvPr id="105" name="Oval 104">
            <a:extLst>
              <a:ext uri="{FF2B5EF4-FFF2-40B4-BE49-F238E27FC236}">
                <a16:creationId xmlns:a16="http://schemas.microsoft.com/office/drawing/2014/main" id="{97D5F039-23FC-4BDC-8CA3-57C9F341558C}"/>
              </a:ext>
            </a:extLst>
          </p:cNvPr>
          <p:cNvSpPr/>
          <p:nvPr/>
        </p:nvSpPr>
        <p:spPr bwMode="auto">
          <a:xfrm>
            <a:off x="5328707" y="2107629"/>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latin typeface="Segoe UI Semibold" panose="020B0702040204020203" pitchFamily="34" charset="0"/>
              <a:ea typeface="Segoe UI" pitchFamily="34" charset="0"/>
              <a:cs typeface="Segoe UI Semibold" panose="020B0702040204020203" pitchFamily="34" charset="0"/>
            </a:endParaRPr>
          </a:p>
        </p:txBody>
      </p:sp>
      <p:sp>
        <p:nvSpPr>
          <p:cNvPr id="112" name="TextBox 111">
            <a:extLst>
              <a:ext uri="{FF2B5EF4-FFF2-40B4-BE49-F238E27FC236}">
                <a16:creationId xmlns:a16="http://schemas.microsoft.com/office/drawing/2014/main" id="{E544C7DE-6A8A-4681-B66F-94005BB4C15E}"/>
              </a:ext>
            </a:extLst>
          </p:cNvPr>
          <p:cNvSpPr txBox="1"/>
          <p:nvPr/>
        </p:nvSpPr>
        <p:spPr>
          <a:xfrm>
            <a:off x="3917043" y="3586296"/>
            <a:ext cx="458188" cy="215444"/>
          </a:xfrm>
          <a:prstGeom prst="rect">
            <a:avLst/>
          </a:prstGeom>
          <a:noFill/>
        </p:spPr>
        <p:txBody>
          <a:bodyPr wrap="square" lIns="0" tIns="0" rIns="0" bIns="0" rtlCol="0">
            <a:spAutoFit/>
          </a:bodyPr>
          <a:lstStyle/>
          <a:p>
            <a:pPr algn="ctr" defTabSz="932563">
              <a:spcAft>
                <a:spcPts val="600"/>
              </a:spcAft>
              <a:defRPr/>
            </a:pPr>
            <a:r>
              <a:rPr lang="en-US" sz="1400" dirty="0">
                <a:latin typeface="Segoe UI Semibold" panose="020B0702040204020203" pitchFamily="34" charset="0"/>
                <a:cs typeface="Segoe UI Semibold" panose="020B0702040204020203" pitchFamily="34" charset="0"/>
              </a:rPr>
              <a:t>NC</a:t>
            </a:r>
          </a:p>
        </p:txBody>
      </p:sp>
      <p:sp>
        <p:nvSpPr>
          <p:cNvPr id="113" name="TextBox 112">
            <a:extLst>
              <a:ext uri="{FF2B5EF4-FFF2-40B4-BE49-F238E27FC236}">
                <a16:creationId xmlns:a16="http://schemas.microsoft.com/office/drawing/2014/main" id="{672EB27D-40B3-4F06-AEA6-C021D864BB0A}"/>
              </a:ext>
            </a:extLst>
          </p:cNvPr>
          <p:cNvSpPr txBox="1"/>
          <p:nvPr/>
        </p:nvSpPr>
        <p:spPr>
          <a:xfrm>
            <a:off x="4796720" y="3586296"/>
            <a:ext cx="689680" cy="215444"/>
          </a:xfrm>
          <a:prstGeom prst="rect">
            <a:avLst/>
          </a:prstGeom>
          <a:noFill/>
        </p:spPr>
        <p:txBody>
          <a:bodyPr wrap="square" lIns="0" tIns="0" rIns="0" bIns="0" rtlCol="0">
            <a:spAutoFit/>
          </a:bodyPr>
          <a:lstStyle/>
          <a:p>
            <a:pPr algn="ctr" defTabSz="932563">
              <a:spcAft>
                <a:spcPts val="600"/>
              </a:spcAft>
              <a:defRPr/>
            </a:pPr>
            <a:r>
              <a:rPr lang="en-US" sz="1400" dirty="0">
                <a:latin typeface="Segoe UI Semibold" panose="020B0702040204020203" pitchFamily="34" charset="0"/>
                <a:cs typeface="Segoe UI Semibold" panose="020B0702040204020203" pitchFamily="34" charset="0"/>
              </a:rPr>
              <a:t>NCv2</a:t>
            </a:r>
          </a:p>
        </p:txBody>
      </p:sp>
      <p:sp>
        <p:nvSpPr>
          <p:cNvPr id="114" name="TextBox 113">
            <a:extLst>
              <a:ext uri="{FF2B5EF4-FFF2-40B4-BE49-F238E27FC236}">
                <a16:creationId xmlns:a16="http://schemas.microsoft.com/office/drawing/2014/main" id="{EADEC66A-C328-46CD-9088-4C9A4C2F1403}"/>
              </a:ext>
            </a:extLst>
          </p:cNvPr>
          <p:cNvSpPr txBox="1"/>
          <p:nvPr/>
        </p:nvSpPr>
        <p:spPr>
          <a:xfrm>
            <a:off x="5919463" y="3586296"/>
            <a:ext cx="458188" cy="215444"/>
          </a:xfrm>
          <a:prstGeom prst="rect">
            <a:avLst/>
          </a:prstGeom>
          <a:noFill/>
        </p:spPr>
        <p:txBody>
          <a:bodyPr wrap="square" lIns="0" tIns="0" rIns="0" bIns="0" rtlCol="0">
            <a:spAutoFit/>
          </a:bodyPr>
          <a:lstStyle/>
          <a:p>
            <a:pPr algn="ctr" defTabSz="932563">
              <a:spcAft>
                <a:spcPts val="600"/>
              </a:spcAft>
              <a:defRPr/>
            </a:pPr>
            <a:r>
              <a:rPr lang="en-US" sz="1400" dirty="0">
                <a:latin typeface="Segoe UI Semibold" panose="020B0702040204020203" pitchFamily="34" charset="0"/>
                <a:cs typeface="Segoe UI Semibold" panose="020B0702040204020203" pitchFamily="34" charset="0"/>
              </a:rPr>
              <a:t>NV</a:t>
            </a:r>
          </a:p>
        </p:txBody>
      </p:sp>
      <p:sp>
        <p:nvSpPr>
          <p:cNvPr id="115" name="TextBox 114">
            <a:extLst>
              <a:ext uri="{FF2B5EF4-FFF2-40B4-BE49-F238E27FC236}">
                <a16:creationId xmlns:a16="http://schemas.microsoft.com/office/drawing/2014/main" id="{14E52663-0371-43AB-8400-673BD4EEB13A}"/>
              </a:ext>
            </a:extLst>
          </p:cNvPr>
          <p:cNvSpPr txBox="1"/>
          <p:nvPr/>
        </p:nvSpPr>
        <p:spPr>
          <a:xfrm>
            <a:off x="6926460" y="3586296"/>
            <a:ext cx="458188" cy="215444"/>
          </a:xfrm>
          <a:prstGeom prst="rect">
            <a:avLst/>
          </a:prstGeom>
          <a:noFill/>
        </p:spPr>
        <p:txBody>
          <a:bodyPr wrap="square" lIns="0" tIns="0" rIns="0" bIns="0" rtlCol="0">
            <a:spAutoFit/>
          </a:bodyPr>
          <a:lstStyle/>
          <a:p>
            <a:pPr algn="ctr" defTabSz="932563">
              <a:spcAft>
                <a:spcPts val="600"/>
              </a:spcAft>
              <a:defRPr/>
            </a:pPr>
            <a:r>
              <a:rPr lang="en-US" sz="1400" dirty="0">
                <a:latin typeface="Segoe UI Semibold" panose="020B0702040204020203" pitchFamily="34" charset="0"/>
                <a:cs typeface="Segoe UI Semibold" panose="020B0702040204020203" pitchFamily="34" charset="0"/>
              </a:rPr>
              <a:t>ND</a:t>
            </a:r>
          </a:p>
        </p:txBody>
      </p:sp>
      <p:sp>
        <p:nvSpPr>
          <p:cNvPr id="116" name="TextBox 115">
            <a:extLst>
              <a:ext uri="{FF2B5EF4-FFF2-40B4-BE49-F238E27FC236}">
                <a16:creationId xmlns:a16="http://schemas.microsoft.com/office/drawing/2014/main" id="{31F1A273-3195-47FD-A87D-C6AE6EEF74F4}"/>
              </a:ext>
            </a:extLst>
          </p:cNvPr>
          <p:cNvSpPr txBox="1"/>
          <p:nvPr/>
        </p:nvSpPr>
        <p:spPr>
          <a:xfrm>
            <a:off x="4796720" y="4400887"/>
            <a:ext cx="689680" cy="215444"/>
          </a:xfrm>
          <a:prstGeom prst="rect">
            <a:avLst/>
          </a:prstGeom>
          <a:noFill/>
        </p:spPr>
        <p:txBody>
          <a:bodyPr wrap="square" lIns="0" tIns="0" rIns="0" bIns="0" rtlCol="0">
            <a:spAutoFit/>
          </a:bodyPr>
          <a:lstStyle/>
          <a:p>
            <a:pPr algn="ctr" defTabSz="932563">
              <a:spcAft>
                <a:spcPts val="600"/>
              </a:spcAft>
              <a:defRPr/>
            </a:pPr>
            <a:r>
              <a:rPr lang="en-US" sz="1400" dirty="0">
                <a:latin typeface="Segoe UI Semibold" panose="020B0702040204020203" pitchFamily="34" charset="0"/>
                <a:cs typeface="Segoe UI Semibold" panose="020B0702040204020203" pitchFamily="34" charset="0"/>
              </a:rPr>
              <a:t>NCv3</a:t>
            </a:r>
          </a:p>
        </p:txBody>
      </p:sp>
      <p:sp>
        <p:nvSpPr>
          <p:cNvPr id="117" name="TextBox 116">
            <a:extLst>
              <a:ext uri="{FF2B5EF4-FFF2-40B4-BE49-F238E27FC236}">
                <a16:creationId xmlns:a16="http://schemas.microsoft.com/office/drawing/2014/main" id="{1377A923-BE95-4133-B5B7-0B1185DCE900}"/>
              </a:ext>
            </a:extLst>
          </p:cNvPr>
          <p:cNvSpPr txBox="1"/>
          <p:nvPr/>
        </p:nvSpPr>
        <p:spPr>
          <a:xfrm>
            <a:off x="5768994" y="4400887"/>
            <a:ext cx="689680" cy="215444"/>
          </a:xfrm>
          <a:prstGeom prst="rect">
            <a:avLst/>
          </a:prstGeom>
          <a:noFill/>
        </p:spPr>
        <p:txBody>
          <a:bodyPr wrap="square" lIns="0" tIns="0" rIns="0" bIns="0" rtlCol="0">
            <a:spAutoFit/>
          </a:bodyPr>
          <a:lstStyle/>
          <a:p>
            <a:pPr algn="ctr" defTabSz="932563">
              <a:spcAft>
                <a:spcPts val="600"/>
              </a:spcAft>
              <a:defRPr/>
            </a:pPr>
            <a:r>
              <a:rPr lang="en-US" sz="1400" dirty="0">
                <a:latin typeface="Segoe UI Semibold" panose="020B0702040204020203" pitchFamily="34" charset="0"/>
                <a:cs typeface="Segoe UI Semibold" panose="020B0702040204020203" pitchFamily="34" charset="0"/>
              </a:rPr>
              <a:t>NCv2</a:t>
            </a:r>
          </a:p>
        </p:txBody>
      </p:sp>
      <p:sp>
        <p:nvSpPr>
          <p:cNvPr id="137" name="TextBox 136">
            <a:extLst>
              <a:ext uri="{FF2B5EF4-FFF2-40B4-BE49-F238E27FC236}">
                <a16:creationId xmlns:a16="http://schemas.microsoft.com/office/drawing/2014/main" id="{E4791D4F-D15E-421D-A677-C36541840181}"/>
              </a:ext>
            </a:extLst>
          </p:cNvPr>
          <p:cNvSpPr txBox="1"/>
          <p:nvPr/>
        </p:nvSpPr>
        <p:spPr>
          <a:xfrm>
            <a:off x="6767610" y="4400887"/>
            <a:ext cx="689680" cy="215444"/>
          </a:xfrm>
          <a:prstGeom prst="rect">
            <a:avLst/>
          </a:prstGeom>
          <a:noFill/>
        </p:spPr>
        <p:txBody>
          <a:bodyPr wrap="square" lIns="0" tIns="0" rIns="0" bIns="0" rtlCol="0">
            <a:spAutoFit/>
          </a:bodyPr>
          <a:lstStyle/>
          <a:p>
            <a:pPr algn="ctr" defTabSz="932563">
              <a:spcAft>
                <a:spcPts val="600"/>
              </a:spcAft>
              <a:defRPr/>
            </a:pPr>
            <a:r>
              <a:rPr lang="en-US" sz="1400" dirty="0">
                <a:latin typeface="Segoe UI Semibold" panose="020B0702040204020203" pitchFamily="34" charset="0"/>
                <a:cs typeface="Segoe UI Semibold" panose="020B0702040204020203" pitchFamily="34" charset="0"/>
              </a:rPr>
              <a:t>NCv2</a:t>
            </a:r>
          </a:p>
        </p:txBody>
      </p:sp>
      <p:sp>
        <p:nvSpPr>
          <p:cNvPr id="141" name="TextBox 140">
            <a:extLst>
              <a:ext uri="{FF2B5EF4-FFF2-40B4-BE49-F238E27FC236}">
                <a16:creationId xmlns:a16="http://schemas.microsoft.com/office/drawing/2014/main" id="{B4D641BA-8BE8-405E-ADA1-DC60A6978F4A}"/>
              </a:ext>
            </a:extLst>
          </p:cNvPr>
          <p:cNvSpPr txBox="1"/>
          <p:nvPr/>
        </p:nvSpPr>
        <p:spPr>
          <a:xfrm>
            <a:off x="5586410" y="4900262"/>
            <a:ext cx="1005083" cy="184538"/>
          </a:xfrm>
          <a:prstGeom prst="rect">
            <a:avLst/>
          </a:prstGeom>
          <a:noFill/>
        </p:spPr>
        <p:txBody>
          <a:bodyPr wrap="none" lIns="0" tIns="0" rIns="0" bIns="0" rtlCol="0">
            <a:spAutoFit/>
          </a:bodyPr>
          <a:lstStyle/>
          <a:p>
            <a:pPr defTabSz="932563">
              <a:spcAft>
                <a:spcPts val="600"/>
              </a:spcAft>
              <a:defRPr/>
            </a:pPr>
            <a:r>
              <a:rPr lang="en-US" sz="1199" dirty="0">
                <a:solidFill>
                  <a:schemeClr val="tx2"/>
                </a:solidFill>
                <a:latin typeface="Segoe UI Semibold" panose="020B0702040204020203" pitchFamily="34" charset="0"/>
                <a:cs typeface="Segoe UI Semibold" panose="020B0702040204020203" pitchFamily="34" charset="0"/>
              </a:rPr>
              <a:t>(coming soon)</a:t>
            </a:r>
          </a:p>
        </p:txBody>
      </p:sp>
      <p:grpSp>
        <p:nvGrpSpPr>
          <p:cNvPr id="19" name="Group 18">
            <a:extLst>
              <a:ext uri="{FF2B5EF4-FFF2-40B4-BE49-F238E27FC236}">
                <a16:creationId xmlns:a16="http://schemas.microsoft.com/office/drawing/2014/main" id="{523FA40B-EC1D-4563-9F0B-EB958D944DF7}"/>
              </a:ext>
            </a:extLst>
          </p:cNvPr>
          <p:cNvGrpSpPr/>
          <p:nvPr/>
        </p:nvGrpSpPr>
        <p:grpSpPr>
          <a:xfrm>
            <a:off x="457856" y="2107629"/>
            <a:ext cx="2810024" cy="3134929"/>
            <a:chOff x="457856" y="2107629"/>
            <a:chExt cx="2810024" cy="3134929"/>
          </a:xfrm>
        </p:grpSpPr>
        <p:sp>
          <p:nvSpPr>
            <p:cNvPr id="183" name="Rectangle 182">
              <a:extLst>
                <a:ext uri="{FF2B5EF4-FFF2-40B4-BE49-F238E27FC236}">
                  <a16:creationId xmlns:a16="http://schemas.microsoft.com/office/drawing/2014/main" id="{FB3A4514-A652-4A14-9A25-29A7982DB542}"/>
                </a:ext>
              </a:extLst>
            </p:cNvPr>
            <p:cNvSpPr/>
            <p:nvPr/>
          </p:nvSpPr>
          <p:spPr>
            <a:xfrm>
              <a:off x="831881" y="2824224"/>
              <a:ext cx="2061975" cy="338554"/>
            </a:xfrm>
            <a:prstGeom prst="rect">
              <a:avLst/>
            </a:prstGeom>
            <a:solidFill>
              <a:schemeClr val="bg1"/>
            </a:solidFill>
          </p:spPr>
          <p:txBody>
            <a:bodyPr wrap="none">
              <a:spAutoFit/>
            </a:bodyPr>
            <a:lstStyle/>
            <a:p>
              <a:pPr lvl="0" algn="ctr" defTabSz="932293" fontAlgn="base">
                <a:spcBef>
                  <a:spcPct val="0"/>
                </a:spcBef>
                <a:spcAft>
                  <a:spcPct val="0"/>
                </a:spcAft>
                <a:defRPr/>
              </a:pPr>
              <a:r>
                <a:rPr lang="en-US" sz="1600" b="1" dirty="0">
                  <a:solidFill>
                    <a:srgbClr val="002050"/>
                  </a:solidFill>
                  <a:ea typeface="Segoe UI" pitchFamily="34" charset="0"/>
                  <a:cs typeface="Segoe UI Semibold" panose="020B0702040204020203" pitchFamily="34" charset="0"/>
                </a:rPr>
                <a:t>Memory Optimized</a:t>
              </a:r>
            </a:p>
          </p:txBody>
        </p:sp>
        <p:sp>
          <p:nvSpPr>
            <p:cNvPr id="85" name="Rectangle 84">
              <a:extLst>
                <a:ext uri="{FF2B5EF4-FFF2-40B4-BE49-F238E27FC236}">
                  <a16:creationId xmlns:a16="http://schemas.microsoft.com/office/drawing/2014/main" id="{3102DA71-816D-4A71-858B-2BA9D0472770}"/>
                </a:ext>
              </a:extLst>
            </p:cNvPr>
            <p:cNvSpPr/>
            <p:nvPr/>
          </p:nvSpPr>
          <p:spPr bwMode="auto">
            <a:xfrm>
              <a:off x="457856" y="2824223"/>
              <a:ext cx="2810024" cy="241833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1600" b="1" dirty="0">
                <a:solidFill>
                  <a:schemeClr val="accent1"/>
                </a:solidFill>
                <a:ea typeface="Segoe UI" pitchFamily="34" charset="0"/>
                <a:cs typeface="Segoe UI Semibold" panose="020B0702040204020203" pitchFamily="34" charset="0"/>
              </a:endParaRPr>
            </a:p>
          </p:txBody>
        </p:sp>
        <p:grpSp>
          <p:nvGrpSpPr>
            <p:cNvPr id="93" name="Group 92">
              <a:extLst>
                <a:ext uri="{FF2B5EF4-FFF2-40B4-BE49-F238E27FC236}">
                  <a16:creationId xmlns:a16="http://schemas.microsoft.com/office/drawing/2014/main" id="{B0B09880-FAD9-4C60-8BC0-F596444B8F05}"/>
                </a:ext>
              </a:extLst>
            </p:cNvPr>
            <p:cNvGrpSpPr/>
            <p:nvPr/>
          </p:nvGrpSpPr>
          <p:grpSpPr>
            <a:xfrm>
              <a:off x="633268" y="3429651"/>
              <a:ext cx="2459201" cy="625790"/>
              <a:chOff x="717925" y="5822138"/>
              <a:chExt cx="2459201" cy="625790"/>
            </a:xfrm>
            <a:solidFill>
              <a:schemeClr val="bg1">
                <a:lumMod val="75000"/>
              </a:schemeClr>
            </a:solidFill>
          </p:grpSpPr>
          <p:sp>
            <p:nvSpPr>
              <p:cNvPr id="94" name="Freeform: Shape 93">
                <a:extLst>
                  <a:ext uri="{FF2B5EF4-FFF2-40B4-BE49-F238E27FC236}">
                    <a16:creationId xmlns:a16="http://schemas.microsoft.com/office/drawing/2014/main" id="{1CFCDF21-9173-4F4D-9C82-4AA7EC6C56AE}"/>
                  </a:ext>
                </a:extLst>
              </p:cNvPr>
              <p:cNvSpPr>
                <a:spLocks/>
              </p:cNvSpPr>
              <p:nvPr/>
            </p:nvSpPr>
            <p:spPr bwMode="auto">
              <a:xfrm>
                <a:off x="717925" y="582213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95" name="Freeform: Shape 94">
                <a:extLst>
                  <a:ext uri="{FF2B5EF4-FFF2-40B4-BE49-F238E27FC236}">
                    <a16:creationId xmlns:a16="http://schemas.microsoft.com/office/drawing/2014/main" id="{FC2E3FD2-7D2A-4BE6-BBCC-19938D2633FB}"/>
                  </a:ext>
                </a:extLst>
              </p:cNvPr>
              <p:cNvSpPr>
                <a:spLocks/>
              </p:cNvSpPr>
              <p:nvPr/>
            </p:nvSpPr>
            <p:spPr bwMode="auto">
              <a:xfrm>
                <a:off x="1609755" y="582213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96" name="Freeform: Shape 95">
                <a:extLst>
                  <a:ext uri="{FF2B5EF4-FFF2-40B4-BE49-F238E27FC236}">
                    <a16:creationId xmlns:a16="http://schemas.microsoft.com/office/drawing/2014/main" id="{93A8B7B1-4692-462A-A48F-402B1456D18E}"/>
                  </a:ext>
                </a:extLst>
              </p:cNvPr>
              <p:cNvSpPr>
                <a:spLocks/>
              </p:cNvSpPr>
              <p:nvPr/>
            </p:nvSpPr>
            <p:spPr bwMode="auto">
              <a:xfrm>
                <a:off x="2501584" y="582213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grpSp>
        <p:sp>
          <p:nvSpPr>
            <p:cNvPr id="104" name="Oval 103">
              <a:extLst>
                <a:ext uri="{FF2B5EF4-FFF2-40B4-BE49-F238E27FC236}">
                  <a16:creationId xmlns:a16="http://schemas.microsoft.com/office/drawing/2014/main" id="{E89728FD-DC7C-42DF-9CB7-815974961564}"/>
                </a:ext>
              </a:extLst>
            </p:cNvPr>
            <p:cNvSpPr/>
            <p:nvPr/>
          </p:nvSpPr>
          <p:spPr bwMode="auto">
            <a:xfrm>
              <a:off x="1547491" y="2107629"/>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Semibold" panose="020B0702040204020203" pitchFamily="34" charset="0"/>
              </a:endParaRPr>
            </a:p>
          </p:txBody>
        </p:sp>
        <p:sp>
          <p:nvSpPr>
            <p:cNvPr id="108" name="TextBox 107">
              <a:extLst>
                <a:ext uri="{FF2B5EF4-FFF2-40B4-BE49-F238E27FC236}">
                  <a16:creationId xmlns:a16="http://schemas.microsoft.com/office/drawing/2014/main" id="{F7625298-586D-4915-A1D3-34B6634B53B3}"/>
                </a:ext>
              </a:extLst>
            </p:cNvPr>
            <p:cNvSpPr txBox="1"/>
            <p:nvPr/>
          </p:nvSpPr>
          <p:spPr>
            <a:xfrm>
              <a:off x="876356" y="3586296"/>
              <a:ext cx="150336"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G</a:t>
              </a:r>
            </a:p>
          </p:txBody>
        </p:sp>
        <p:sp>
          <p:nvSpPr>
            <p:cNvPr id="109" name="TextBox 108">
              <a:extLst>
                <a:ext uri="{FF2B5EF4-FFF2-40B4-BE49-F238E27FC236}">
                  <a16:creationId xmlns:a16="http://schemas.microsoft.com/office/drawing/2014/main" id="{7274DC61-670B-4667-BC7E-B6C7E8090636}"/>
                </a:ext>
              </a:extLst>
            </p:cNvPr>
            <p:cNvSpPr txBox="1"/>
            <p:nvPr/>
          </p:nvSpPr>
          <p:spPr>
            <a:xfrm>
              <a:off x="1636830" y="3586296"/>
              <a:ext cx="458188"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Ev3</a:t>
              </a:r>
            </a:p>
          </p:txBody>
        </p:sp>
        <p:sp>
          <p:nvSpPr>
            <p:cNvPr id="110" name="TextBox 109">
              <a:extLst>
                <a:ext uri="{FF2B5EF4-FFF2-40B4-BE49-F238E27FC236}">
                  <a16:creationId xmlns:a16="http://schemas.microsoft.com/office/drawing/2014/main" id="{7AC2310F-F27E-4B9D-83F0-21684D3CEA25}"/>
                </a:ext>
              </a:extLst>
            </p:cNvPr>
            <p:cNvSpPr txBox="1"/>
            <p:nvPr/>
          </p:nvSpPr>
          <p:spPr>
            <a:xfrm>
              <a:off x="2528081" y="3586296"/>
              <a:ext cx="458188"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M</a:t>
              </a:r>
            </a:p>
          </p:txBody>
        </p:sp>
        <p:sp>
          <p:nvSpPr>
            <p:cNvPr id="148" name="chip">
              <a:extLst>
                <a:ext uri="{FF2B5EF4-FFF2-40B4-BE49-F238E27FC236}">
                  <a16:creationId xmlns:a16="http://schemas.microsoft.com/office/drawing/2014/main" id="{7DF68E63-3A3C-4BC9-AEE9-88384AB8866D}"/>
                </a:ext>
              </a:extLst>
            </p:cNvPr>
            <p:cNvSpPr>
              <a:spLocks noChangeAspect="1" noEditPoints="1"/>
            </p:cNvSpPr>
            <p:nvPr/>
          </p:nvSpPr>
          <p:spPr bwMode="auto">
            <a:xfrm>
              <a:off x="1695843" y="2252529"/>
              <a:ext cx="334050" cy="340952"/>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chemeClr val="bg1"/>
            </a:solidFill>
            <a:ln w="15875" cap="sq">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b="1">
                <a:gradFill>
                  <a:gsLst>
                    <a:gs pos="0">
                      <a:srgbClr val="505050"/>
                    </a:gs>
                    <a:gs pos="100000">
                      <a:srgbClr val="505050"/>
                    </a:gs>
                  </a:gsLst>
                </a:gradFill>
                <a:cs typeface="Segoe UI Semibold" panose="020B0702040204020203" pitchFamily="34" charset="0"/>
              </a:endParaRPr>
            </a:p>
          </p:txBody>
        </p:sp>
      </p:grpSp>
      <p:grpSp>
        <p:nvGrpSpPr>
          <p:cNvPr id="149" name="Group 148">
            <a:extLst>
              <a:ext uri="{FF2B5EF4-FFF2-40B4-BE49-F238E27FC236}">
                <a16:creationId xmlns:a16="http://schemas.microsoft.com/office/drawing/2014/main" id="{D46D48FA-6CC5-4C59-B670-CF9B111F46C1}"/>
              </a:ext>
            </a:extLst>
          </p:cNvPr>
          <p:cNvGrpSpPr/>
          <p:nvPr/>
        </p:nvGrpSpPr>
        <p:grpSpPr>
          <a:xfrm>
            <a:off x="5447438" y="2283950"/>
            <a:ext cx="393292" cy="278110"/>
            <a:chOff x="3625197" y="3354490"/>
            <a:chExt cx="699154" cy="494394"/>
          </a:xfrm>
        </p:grpSpPr>
        <p:sp>
          <p:nvSpPr>
            <p:cNvPr id="155" name="Freeform: Shape 154">
              <a:extLst>
                <a:ext uri="{FF2B5EF4-FFF2-40B4-BE49-F238E27FC236}">
                  <a16:creationId xmlns:a16="http://schemas.microsoft.com/office/drawing/2014/main" id="{2BB14C23-F041-44F8-900F-CBE6CF0F77EB}"/>
                </a:ext>
              </a:extLst>
            </p:cNvPr>
            <p:cNvSpPr/>
            <p:nvPr/>
          </p:nvSpPr>
          <p:spPr>
            <a:xfrm>
              <a:off x="3769637" y="3459636"/>
              <a:ext cx="410274" cy="284102"/>
            </a:xfrm>
            <a:custGeom>
              <a:avLst/>
              <a:gdLst>
                <a:gd name="connsiteX0" fmla="*/ 318636 w 427150"/>
                <a:gd name="connsiteY0" fmla="*/ 95385 h 295788"/>
                <a:gd name="connsiteX1" fmla="*/ 427150 w 427150"/>
                <a:gd name="connsiteY1" fmla="*/ 270625 h 295788"/>
                <a:gd name="connsiteX2" fmla="*/ 395186 w 427150"/>
                <a:gd name="connsiteY2" fmla="*/ 290043 h 295788"/>
                <a:gd name="connsiteX3" fmla="*/ 387503 w 427150"/>
                <a:gd name="connsiteY3" fmla="*/ 295788 h 295788"/>
                <a:gd name="connsiteX4" fmla="*/ 270100 w 427150"/>
                <a:gd name="connsiteY4" fmla="*/ 295788 h 295788"/>
                <a:gd name="connsiteX5" fmla="*/ 194540 w 427150"/>
                <a:gd name="connsiteY5" fmla="*/ 295788 h 295788"/>
                <a:gd name="connsiteX6" fmla="*/ 21907 w 427150"/>
                <a:gd name="connsiteY6" fmla="*/ 295788 h 295788"/>
                <a:gd name="connsiteX7" fmla="*/ 146003 w 427150"/>
                <a:gd name="connsiteY7" fmla="*/ 174715 h 295788"/>
                <a:gd name="connsiteX8" fmla="*/ 222997 w 427150"/>
                <a:gd name="connsiteY8" fmla="*/ 249833 h 295788"/>
                <a:gd name="connsiteX9" fmla="*/ 73664 w 427150"/>
                <a:gd name="connsiteY9" fmla="*/ 0 h 295788"/>
                <a:gd name="connsiteX10" fmla="*/ 147328 w 427150"/>
                <a:gd name="connsiteY10" fmla="*/ 73663 h 295788"/>
                <a:gd name="connsiteX11" fmla="*/ 73664 w 427150"/>
                <a:gd name="connsiteY11" fmla="*/ 147327 h 295788"/>
                <a:gd name="connsiteX12" fmla="*/ 0 w 427150"/>
                <a:gd name="connsiteY12" fmla="*/ 73663 h 295788"/>
                <a:gd name="connsiteX13" fmla="*/ 73664 w 427150"/>
                <a:gd name="connsiteY13" fmla="*/ 0 h 295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7150" h="295788">
                  <a:moveTo>
                    <a:pt x="318636" y="95385"/>
                  </a:moveTo>
                  <a:lnTo>
                    <a:pt x="427150" y="270625"/>
                  </a:lnTo>
                  <a:lnTo>
                    <a:pt x="395186" y="290043"/>
                  </a:lnTo>
                  <a:lnTo>
                    <a:pt x="387503" y="295788"/>
                  </a:lnTo>
                  <a:lnTo>
                    <a:pt x="270100" y="295788"/>
                  </a:lnTo>
                  <a:lnTo>
                    <a:pt x="194540" y="295788"/>
                  </a:lnTo>
                  <a:lnTo>
                    <a:pt x="21907" y="295788"/>
                  </a:lnTo>
                  <a:lnTo>
                    <a:pt x="146003" y="174715"/>
                  </a:lnTo>
                  <a:lnTo>
                    <a:pt x="222997" y="249833"/>
                  </a:lnTo>
                  <a:close/>
                  <a:moveTo>
                    <a:pt x="73664" y="0"/>
                  </a:moveTo>
                  <a:cubicBezTo>
                    <a:pt x="114347" y="0"/>
                    <a:pt x="147328" y="32980"/>
                    <a:pt x="147328" y="73663"/>
                  </a:cubicBezTo>
                  <a:cubicBezTo>
                    <a:pt x="147328" y="114347"/>
                    <a:pt x="114347" y="147327"/>
                    <a:pt x="73664" y="147327"/>
                  </a:cubicBezTo>
                  <a:cubicBezTo>
                    <a:pt x="32981" y="147327"/>
                    <a:pt x="0" y="114347"/>
                    <a:pt x="0" y="73663"/>
                  </a:cubicBezTo>
                  <a:cubicBezTo>
                    <a:pt x="0" y="32980"/>
                    <a:pt x="32981" y="0"/>
                    <a:pt x="73664" y="0"/>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ln>
                  <a:solidFill>
                    <a:schemeClr val="bg1">
                      <a:alpha val="0"/>
                    </a:schemeClr>
                  </a:solidFill>
                </a:ln>
                <a:latin typeface="Segoe UI Semibold" panose="020B0702040204020203" pitchFamily="34" charset="0"/>
                <a:cs typeface="Segoe UI Semibold" panose="020B0702040204020203" pitchFamily="34" charset="0"/>
              </a:endParaRPr>
            </a:p>
          </p:txBody>
        </p:sp>
        <p:sp>
          <p:nvSpPr>
            <p:cNvPr id="156" name="Freeform 27">
              <a:extLst>
                <a:ext uri="{FF2B5EF4-FFF2-40B4-BE49-F238E27FC236}">
                  <a16:creationId xmlns:a16="http://schemas.microsoft.com/office/drawing/2014/main" id="{2DC3C744-81D7-4EDA-9166-E918AD40A5D5}"/>
                </a:ext>
              </a:extLst>
            </p:cNvPr>
            <p:cNvSpPr>
              <a:spLocks noEditPoints="1"/>
            </p:cNvSpPr>
            <p:nvPr/>
          </p:nvSpPr>
          <p:spPr bwMode="black">
            <a:xfrm>
              <a:off x="3625197" y="3354490"/>
              <a:ext cx="699154" cy="494394"/>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40740"/>
              <a:endParaRPr lang="en-US" dirty="0">
                <a:solidFill>
                  <a:schemeClr val="tx1">
                    <a:lumMod val="50000"/>
                  </a:schemeClr>
                </a:solidFill>
                <a:latin typeface="Segoe UI Semibold" panose="020B0702040204020203" pitchFamily="34" charset="0"/>
                <a:cs typeface="Segoe UI Semibold" panose="020B0702040204020203" pitchFamily="34" charset="0"/>
              </a:endParaRPr>
            </a:p>
          </p:txBody>
        </p:sp>
      </p:grpSp>
      <p:grpSp>
        <p:nvGrpSpPr>
          <p:cNvPr id="18" name="Group 17">
            <a:extLst>
              <a:ext uri="{FF2B5EF4-FFF2-40B4-BE49-F238E27FC236}">
                <a16:creationId xmlns:a16="http://schemas.microsoft.com/office/drawing/2014/main" id="{81B7B787-DF7C-4700-82A6-11C67E1FB444}"/>
              </a:ext>
            </a:extLst>
          </p:cNvPr>
          <p:cNvGrpSpPr/>
          <p:nvPr/>
        </p:nvGrpSpPr>
        <p:grpSpPr>
          <a:xfrm>
            <a:off x="8028698" y="2107629"/>
            <a:ext cx="1920240" cy="3134931"/>
            <a:chOff x="8028698" y="2107629"/>
            <a:chExt cx="1920240" cy="2997579"/>
          </a:xfrm>
        </p:grpSpPr>
        <p:sp>
          <p:nvSpPr>
            <p:cNvPr id="88" name="Rectangle 87">
              <a:extLst>
                <a:ext uri="{FF2B5EF4-FFF2-40B4-BE49-F238E27FC236}">
                  <a16:creationId xmlns:a16="http://schemas.microsoft.com/office/drawing/2014/main" id="{9BAAED3D-2444-443C-90EF-359E6D894783}"/>
                </a:ext>
              </a:extLst>
            </p:cNvPr>
            <p:cNvSpPr/>
            <p:nvPr/>
          </p:nvSpPr>
          <p:spPr bwMode="auto">
            <a:xfrm>
              <a:off x="8028698" y="2824223"/>
              <a:ext cx="1920240" cy="228098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dirty="0">
                  <a:solidFill>
                    <a:schemeClr val="accent1"/>
                  </a:solidFill>
                  <a:ea typeface="Segoe UI" pitchFamily="34" charset="0"/>
                  <a:cs typeface="Segoe UI Semibold" panose="020B0702040204020203" pitchFamily="34" charset="0"/>
                </a:rPr>
                <a:t>High Performance</a:t>
              </a:r>
              <a:br>
                <a:rPr lang="en-US" sz="1600" b="1" dirty="0">
                  <a:solidFill>
                    <a:schemeClr val="accent1"/>
                  </a:solidFill>
                  <a:ea typeface="Segoe UI" pitchFamily="34" charset="0"/>
                  <a:cs typeface="Segoe UI Semibold" panose="020B0702040204020203" pitchFamily="34" charset="0"/>
                </a:rPr>
              </a:br>
              <a:r>
                <a:rPr lang="en-US" sz="1600" b="1" dirty="0">
                  <a:solidFill>
                    <a:schemeClr val="accent1"/>
                  </a:solidFill>
                  <a:ea typeface="Segoe UI" pitchFamily="34" charset="0"/>
                  <a:cs typeface="Segoe UI Semibold" panose="020B0702040204020203" pitchFamily="34" charset="0"/>
                </a:rPr>
                <a:t>Computing</a:t>
              </a:r>
            </a:p>
          </p:txBody>
        </p:sp>
        <p:sp>
          <p:nvSpPr>
            <p:cNvPr id="89" name="Freeform: Shape 88">
              <a:extLst>
                <a:ext uri="{FF2B5EF4-FFF2-40B4-BE49-F238E27FC236}">
                  <a16:creationId xmlns:a16="http://schemas.microsoft.com/office/drawing/2014/main" id="{17D298A4-2557-47BC-9290-12F47D533292}"/>
                </a:ext>
              </a:extLst>
            </p:cNvPr>
            <p:cNvSpPr>
              <a:spLocks/>
            </p:cNvSpPr>
            <p:nvPr/>
          </p:nvSpPr>
          <p:spPr bwMode="auto">
            <a:xfrm>
              <a:off x="8651047" y="3429651"/>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06" name="Oval 105">
              <a:extLst>
                <a:ext uri="{FF2B5EF4-FFF2-40B4-BE49-F238E27FC236}">
                  <a16:creationId xmlns:a16="http://schemas.microsoft.com/office/drawing/2014/main" id="{C721A483-6597-4838-88BF-38ADB7291058}"/>
                </a:ext>
              </a:extLst>
            </p:cNvPr>
            <p:cNvSpPr/>
            <p:nvPr/>
          </p:nvSpPr>
          <p:spPr bwMode="auto">
            <a:xfrm>
              <a:off x="8673441" y="2107629"/>
              <a:ext cx="630754" cy="630752"/>
            </a:xfrm>
            <a:prstGeom prst="ellipse">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Semibold" panose="020B0702040204020203" pitchFamily="34" charset="0"/>
              </a:endParaRPr>
            </a:p>
          </p:txBody>
        </p:sp>
        <p:sp>
          <p:nvSpPr>
            <p:cNvPr id="138" name="TextBox 137">
              <a:extLst>
                <a:ext uri="{FF2B5EF4-FFF2-40B4-BE49-F238E27FC236}">
                  <a16:creationId xmlns:a16="http://schemas.microsoft.com/office/drawing/2014/main" id="{9F613751-CCD2-4E82-8C8A-3AC3C1A5E092}"/>
                </a:ext>
              </a:extLst>
            </p:cNvPr>
            <p:cNvSpPr txBox="1"/>
            <p:nvPr/>
          </p:nvSpPr>
          <p:spPr>
            <a:xfrm>
              <a:off x="8732111" y="3586296"/>
              <a:ext cx="458188" cy="206005"/>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H</a:t>
              </a:r>
            </a:p>
          </p:txBody>
        </p:sp>
        <p:sp>
          <p:nvSpPr>
            <p:cNvPr id="175" name="LightningBolt_E945">
              <a:extLst>
                <a:ext uri="{FF2B5EF4-FFF2-40B4-BE49-F238E27FC236}">
                  <a16:creationId xmlns:a16="http://schemas.microsoft.com/office/drawing/2014/main" id="{31BECD5C-177E-4E9B-A4D6-10753FE5E83C}"/>
                </a:ext>
              </a:extLst>
            </p:cNvPr>
            <p:cNvSpPr>
              <a:spLocks noChangeAspect="1"/>
            </p:cNvSpPr>
            <p:nvPr/>
          </p:nvSpPr>
          <p:spPr bwMode="auto">
            <a:xfrm>
              <a:off x="8868658" y="2255327"/>
              <a:ext cx="240320" cy="33535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1"/>
            </a:solidFill>
            <a:ln w="15875" cap="sq">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sz="900" b="1">
                <a:gradFill>
                  <a:gsLst>
                    <a:gs pos="0">
                      <a:srgbClr val="505050"/>
                    </a:gs>
                    <a:gs pos="100000">
                      <a:srgbClr val="505050"/>
                    </a:gs>
                  </a:gsLst>
                  <a:lin ang="5400000" scaled="1"/>
                </a:gradFill>
                <a:cs typeface="Segoe UI Semibold" panose="020B0702040204020203" pitchFamily="34" charset="0"/>
              </a:endParaRPr>
            </a:p>
          </p:txBody>
        </p:sp>
      </p:grpSp>
      <p:grpSp>
        <p:nvGrpSpPr>
          <p:cNvPr id="17" name="Group 16">
            <a:extLst>
              <a:ext uri="{FF2B5EF4-FFF2-40B4-BE49-F238E27FC236}">
                <a16:creationId xmlns:a16="http://schemas.microsoft.com/office/drawing/2014/main" id="{C9EF7E03-A16C-4CB8-94FC-20F453098344}"/>
              </a:ext>
            </a:extLst>
          </p:cNvPr>
          <p:cNvGrpSpPr/>
          <p:nvPr/>
        </p:nvGrpSpPr>
        <p:grpSpPr>
          <a:xfrm>
            <a:off x="10055666" y="2107629"/>
            <a:ext cx="1920240" cy="3134931"/>
            <a:chOff x="10055666" y="2107629"/>
            <a:chExt cx="1920240" cy="3134931"/>
          </a:xfrm>
        </p:grpSpPr>
        <p:sp>
          <p:nvSpPr>
            <p:cNvPr id="87" name="Rectangle 86">
              <a:extLst>
                <a:ext uri="{FF2B5EF4-FFF2-40B4-BE49-F238E27FC236}">
                  <a16:creationId xmlns:a16="http://schemas.microsoft.com/office/drawing/2014/main" id="{B143B8CB-B4D0-4F47-AC1C-EF245CB9AB14}"/>
                </a:ext>
              </a:extLst>
            </p:cNvPr>
            <p:cNvSpPr/>
            <p:nvPr/>
          </p:nvSpPr>
          <p:spPr bwMode="auto">
            <a:xfrm>
              <a:off x="10055666" y="2824223"/>
              <a:ext cx="1920240" cy="241833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dirty="0">
                  <a:solidFill>
                    <a:schemeClr val="accent1"/>
                  </a:solidFill>
                  <a:ea typeface="Segoe UI" pitchFamily="34" charset="0"/>
                  <a:cs typeface="Segoe UI Semibold" panose="020B0702040204020203" pitchFamily="34" charset="0"/>
                </a:rPr>
                <a:t>Purpose-built SAP HANA</a:t>
              </a:r>
            </a:p>
          </p:txBody>
        </p:sp>
        <p:sp>
          <p:nvSpPr>
            <p:cNvPr id="90" name="Freeform: Shape 89">
              <a:extLst>
                <a:ext uri="{FF2B5EF4-FFF2-40B4-BE49-F238E27FC236}">
                  <a16:creationId xmlns:a16="http://schemas.microsoft.com/office/drawing/2014/main" id="{383AE775-F2C2-4E0B-837D-243121D765EA}"/>
                </a:ext>
              </a:extLst>
            </p:cNvPr>
            <p:cNvSpPr>
              <a:spLocks/>
            </p:cNvSpPr>
            <p:nvPr/>
          </p:nvSpPr>
          <p:spPr bwMode="auto">
            <a:xfrm>
              <a:off x="10675731" y="3429651"/>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764" b="1" dirty="0">
                <a:solidFill>
                  <a:srgbClr val="000000"/>
                </a:solidFill>
                <a:cs typeface="Segoe UI Semibold" panose="020B0702040204020203" pitchFamily="34" charset="0"/>
              </a:endParaRPr>
            </a:p>
          </p:txBody>
        </p:sp>
        <p:sp>
          <p:nvSpPr>
            <p:cNvPr id="107" name="Oval 106">
              <a:extLst>
                <a:ext uri="{FF2B5EF4-FFF2-40B4-BE49-F238E27FC236}">
                  <a16:creationId xmlns:a16="http://schemas.microsoft.com/office/drawing/2014/main" id="{0C1BC914-10C2-48EE-B275-D6BE71B27C55}"/>
                </a:ext>
              </a:extLst>
            </p:cNvPr>
            <p:cNvSpPr/>
            <p:nvPr/>
          </p:nvSpPr>
          <p:spPr bwMode="auto">
            <a:xfrm>
              <a:off x="10700409" y="2107629"/>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Semibold" panose="020B0702040204020203" pitchFamily="34" charset="0"/>
              </a:endParaRPr>
            </a:p>
          </p:txBody>
        </p:sp>
        <p:sp>
          <p:nvSpPr>
            <p:cNvPr id="139" name="TextBox 138">
              <a:extLst>
                <a:ext uri="{FF2B5EF4-FFF2-40B4-BE49-F238E27FC236}">
                  <a16:creationId xmlns:a16="http://schemas.microsoft.com/office/drawing/2014/main" id="{A1E56FCB-CAFD-48D7-A546-781EBCAFB32D}"/>
                </a:ext>
              </a:extLst>
            </p:cNvPr>
            <p:cNvSpPr txBox="1"/>
            <p:nvPr/>
          </p:nvSpPr>
          <p:spPr>
            <a:xfrm>
              <a:off x="10834267" y="3689807"/>
              <a:ext cx="453650" cy="184538"/>
            </a:xfrm>
            <a:prstGeom prst="rect">
              <a:avLst/>
            </a:prstGeom>
            <a:noFill/>
          </p:spPr>
          <p:txBody>
            <a:bodyPr wrap="none" lIns="0" tIns="0" rIns="0" bIns="0" rtlCol="0">
              <a:spAutoFit/>
            </a:bodyPr>
            <a:lstStyle/>
            <a:p>
              <a:pPr defTabSz="932563">
                <a:spcAft>
                  <a:spcPts val="600"/>
                </a:spcAft>
                <a:defRPr/>
              </a:pPr>
              <a:r>
                <a:rPr lang="en-US" sz="1199" b="1" dirty="0">
                  <a:solidFill>
                    <a:schemeClr val="tx2"/>
                  </a:solidFill>
                  <a:cs typeface="Segoe UI Semibold" panose="020B0702040204020203" pitchFamily="34" charset="0"/>
                </a:rPr>
                <a:t>HANA</a:t>
              </a:r>
            </a:p>
          </p:txBody>
        </p:sp>
        <p:pic>
          <p:nvPicPr>
            <p:cNvPr id="140" name="Picture 139">
              <a:extLst>
                <a:ext uri="{FF2B5EF4-FFF2-40B4-BE49-F238E27FC236}">
                  <a16:creationId xmlns:a16="http://schemas.microsoft.com/office/drawing/2014/main" id="{323B2587-D13E-48EE-B275-7096EA91CB07}"/>
                </a:ext>
              </a:extLst>
            </p:cNvPr>
            <p:cNvPicPr>
              <a:picLocks noChangeAspect="1"/>
            </p:cNvPicPr>
            <p:nvPr/>
          </p:nvPicPr>
          <p:blipFill>
            <a:blip r:embed="rId3">
              <a:duotone>
                <a:prstClr val="black"/>
                <a:schemeClr val="accent5">
                  <a:tint val="45000"/>
                  <a:satMod val="400000"/>
                </a:schemeClr>
              </a:duotone>
              <a:lum bright="-40000" contrast="-20000"/>
            </a:blip>
            <a:stretch>
              <a:fillRect/>
            </a:stretch>
          </p:blipFill>
          <p:spPr>
            <a:xfrm>
              <a:off x="10746483" y="3493704"/>
              <a:ext cx="454260" cy="224608"/>
            </a:xfrm>
            <a:prstGeom prst="rect">
              <a:avLst/>
            </a:prstGeom>
          </p:spPr>
        </p:pic>
        <p:sp>
          <p:nvSpPr>
            <p:cNvPr id="181" name="Freeform: Shape 180">
              <a:extLst>
                <a:ext uri="{FF2B5EF4-FFF2-40B4-BE49-F238E27FC236}">
                  <a16:creationId xmlns:a16="http://schemas.microsoft.com/office/drawing/2014/main" id="{6C2816B8-072C-4C25-85D4-08D7DC4B38BB}"/>
                </a:ext>
              </a:extLst>
            </p:cNvPr>
            <p:cNvSpPr/>
            <p:nvPr/>
          </p:nvSpPr>
          <p:spPr>
            <a:xfrm>
              <a:off x="10858878" y="2273974"/>
              <a:ext cx="313816" cy="298062"/>
            </a:xfrm>
            <a:custGeom>
              <a:avLst/>
              <a:gdLst>
                <a:gd name="connsiteX0" fmla="*/ 105912 w 951068"/>
                <a:gd name="connsiteY0" fmla="*/ 724667 h 903325"/>
                <a:gd name="connsiteX1" fmla="*/ 105912 w 951068"/>
                <a:gd name="connsiteY1" fmla="*/ 783348 h 903325"/>
                <a:gd name="connsiteX2" fmla="*/ 842760 w 951068"/>
                <a:gd name="connsiteY2" fmla="*/ 783348 h 903325"/>
                <a:gd name="connsiteX3" fmla="*/ 842760 w 951068"/>
                <a:gd name="connsiteY3" fmla="*/ 724667 h 903325"/>
                <a:gd name="connsiteX4" fmla="*/ 105912 w 951068"/>
                <a:gd name="connsiteY4" fmla="*/ 624825 h 903325"/>
                <a:gd name="connsiteX5" fmla="*/ 105912 w 951068"/>
                <a:gd name="connsiteY5" fmla="*/ 683506 h 903325"/>
                <a:gd name="connsiteX6" fmla="*/ 842760 w 951068"/>
                <a:gd name="connsiteY6" fmla="*/ 683506 h 903325"/>
                <a:gd name="connsiteX7" fmla="*/ 842760 w 951068"/>
                <a:gd name="connsiteY7" fmla="*/ 624825 h 903325"/>
                <a:gd name="connsiteX8" fmla="*/ 105912 w 951068"/>
                <a:gd name="connsiteY8" fmla="*/ 524983 h 903325"/>
                <a:gd name="connsiteX9" fmla="*/ 105912 w 951068"/>
                <a:gd name="connsiteY9" fmla="*/ 583664 h 903325"/>
                <a:gd name="connsiteX10" fmla="*/ 842760 w 951068"/>
                <a:gd name="connsiteY10" fmla="*/ 583664 h 903325"/>
                <a:gd name="connsiteX11" fmla="*/ 842760 w 951068"/>
                <a:gd name="connsiteY11" fmla="*/ 524983 h 903325"/>
                <a:gd name="connsiteX12" fmla="*/ 105912 w 951068"/>
                <a:gd name="connsiteY12" fmla="*/ 425141 h 903325"/>
                <a:gd name="connsiteX13" fmla="*/ 105912 w 951068"/>
                <a:gd name="connsiteY13" fmla="*/ 483822 h 903325"/>
                <a:gd name="connsiteX14" fmla="*/ 842760 w 951068"/>
                <a:gd name="connsiteY14" fmla="*/ 483822 h 903325"/>
                <a:gd name="connsiteX15" fmla="*/ 842760 w 951068"/>
                <a:gd name="connsiteY15" fmla="*/ 425141 h 903325"/>
                <a:gd name="connsiteX16" fmla="*/ 582678 w 951068"/>
                <a:gd name="connsiteY16" fmla="*/ 294282 h 903325"/>
                <a:gd name="connsiteX17" fmla="*/ 582678 w 951068"/>
                <a:gd name="connsiteY17" fmla="*/ 352962 h 903325"/>
                <a:gd name="connsiteX18" fmla="*/ 842760 w 951068"/>
                <a:gd name="connsiteY18" fmla="*/ 352962 h 903325"/>
                <a:gd name="connsiteX19" fmla="*/ 842760 w 951068"/>
                <a:gd name="connsiteY19" fmla="*/ 294282 h 903325"/>
                <a:gd name="connsiteX20" fmla="*/ 582678 w 951068"/>
                <a:gd name="connsiteY20" fmla="*/ 213863 h 903325"/>
                <a:gd name="connsiteX21" fmla="*/ 582678 w 951068"/>
                <a:gd name="connsiteY21" fmla="*/ 272544 h 903325"/>
                <a:gd name="connsiteX22" fmla="*/ 842760 w 951068"/>
                <a:gd name="connsiteY22" fmla="*/ 272544 h 903325"/>
                <a:gd name="connsiteX23" fmla="*/ 842760 w 951068"/>
                <a:gd name="connsiteY23" fmla="*/ 213863 h 903325"/>
                <a:gd name="connsiteX24" fmla="*/ 582678 w 951068"/>
                <a:gd name="connsiteY24" fmla="*/ 133444 h 903325"/>
                <a:gd name="connsiteX25" fmla="*/ 582678 w 951068"/>
                <a:gd name="connsiteY25" fmla="*/ 192124 h 903325"/>
                <a:gd name="connsiteX26" fmla="*/ 842760 w 951068"/>
                <a:gd name="connsiteY26" fmla="*/ 192124 h 903325"/>
                <a:gd name="connsiteX27" fmla="*/ 842760 w 951068"/>
                <a:gd name="connsiteY27" fmla="*/ 133444 h 903325"/>
                <a:gd name="connsiteX28" fmla="*/ 105912 w 951068"/>
                <a:gd name="connsiteY28" fmla="*/ 105331 h 903325"/>
                <a:gd name="connsiteX29" fmla="*/ 105912 w 951068"/>
                <a:gd name="connsiteY29" fmla="*/ 352962 h 903325"/>
                <a:gd name="connsiteX30" fmla="*/ 542463 w 951068"/>
                <a:gd name="connsiteY30" fmla="*/ 352962 h 903325"/>
                <a:gd name="connsiteX31" fmla="*/ 542463 w 951068"/>
                <a:gd name="connsiteY31" fmla="*/ 105331 h 903325"/>
                <a:gd name="connsiteX32" fmla="*/ 63023 w 951068"/>
                <a:gd name="connsiteY32" fmla="*/ 50675 h 903325"/>
                <a:gd name="connsiteX33" fmla="*/ 885649 w 951068"/>
                <a:gd name="connsiteY33" fmla="*/ 50675 h 903325"/>
                <a:gd name="connsiteX34" fmla="*/ 885649 w 951068"/>
                <a:gd name="connsiteY34" fmla="*/ 829140 h 903325"/>
                <a:gd name="connsiteX35" fmla="*/ 63023 w 951068"/>
                <a:gd name="connsiteY35" fmla="*/ 829140 h 903325"/>
                <a:gd name="connsiteX36" fmla="*/ 44490 w 951068"/>
                <a:gd name="connsiteY36" fmla="*/ 24227 h 903325"/>
                <a:gd name="connsiteX37" fmla="*/ 44490 w 951068"/>
                <a:gd name="connsiteY37" fmla="*/ 859360 h 903325"/>
                <a:gd name="connsiteX38" fmla="*/ 906578 w 951068"/>
                <a:gd name="connsiteY38" fmla="*/ 859360 h 903325"/>
                <a:gd name="connsiteX39" fmla="*/ 906578 w 951068"/>
                <a:gd name="connsiteY39" fmla="*/ 24227 h 903325"/>
                <a:gd name="connsiteX40" fmla="*/ 0 w 951068"/>
                <a:gd name="connsiteY40" fmla="*/ 0 h 903325"/>
                <a:gd name="connsiteX41" fmla="*/ 951068 w 951068"/>
                <a:gd name="connsiteY41" fmla="*/ 0 h 903325"/>
                <a:gd name="connsiteX42" fmla="*/ 951068 w 951068"/>
                <a:gd name="connsiteY42" fmla="*/ 903325 h 903325"/>
                <a:gd name="connsiteX43" fmla="*/ 68337 w 951068"/>
                <a:gd name="connsiteY43" fmla="*/ 903325 h 903325"/>
                <a:gd name="connsiteX44" fmla="*/ 25044 w 951068"/>
                <a:gd name="connsiteY44" fmla="*/ 903325 h 903325"/>
                <a:gd name="connsiteX45" fmla="*/ 0 w 951068"/>
                <a:gd name="connsiteY45" fmla="*/ 903325 h 90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951068" h="903325">
                  <a:moveTo>
                    <a:pt x="105912" y="724667"/>
                  </a:moveTo>
                  <a:lnTo>
                    <a:pt x="105912" y="783348"/>
                  </a:lnTo>
                  <a:lnTo>
                    <a:pt x="842760" y="783348"/>
                  </a:lnTo>
                  <a:lnTo>
                    <a:pt x="842760" y="724667"/>
                  </a:lnTo>
                  <a:close/>
                  <a:moveTo>
                    <a:pt x="105912" y="624825"/>
                  </a:moveTo>
                  <a:lnTo>
                    <a:pt x="105912" y="683506"/>
                  </a:lnTo>
                  <a:lnTo>
                    <a:pt x="842760" y="683506"/>
                  </a:lnTo>
                  <a:lnTo>
                    <a:pt x="842760" y="624825"/>
                  </a:lnTo>
                  <a:close/>
                  <a:moveTo>
                    <a:pt x="105912" y="524983"/>
                  </a:moveTo>
                  <a:lnTo>
                    <a:pt x="105912" y="583664"/>
                  </a:lnTo>
                  <a:lnTo>
                    <a:pt x="842760" y="583664"/>
                  </a:lnTo>
                  <a:lnTo>
                    <a:pt x="842760" y="524983"/>
                  </a:lnTo>
                  <a:close/>
                  <a:moveTo>
                    <a:pt x="105912" y="425141"/>
                  </a:moveTo>
                  <a:lnTo>
                    <a:pt x="105912" y="483822"/>
                  </a:lnTo>
                  <a:lnTo>
                    <a:pt x="842760" y="483822"/>
                  </a:lnTo>
                  <a:lnTo>
                    <a:pt x="842760" y="425141"/>
                  </a:lnTo>
                  <a:close/>
                  <a:moveTo>
                    <a:pt x="582678" y="294282"/>
                  </a:moveTo>
                  <a:lnTo>
                    <a:pt x="582678" y="352962"/>
                  </a:lnTo>
                  <a:lnTo>
                    <a:pt x="842760" y="352962"/>
                  </a:lnTo>
                  <a:lnTo>
                    <a:pt x="842760" y="294282"/>
                  </a:lnTo>
                  <a:close/>
                  <a:moveTo>
                    <a:pt x="582678" y="213863"/>
                  </a:moveTo>
                  <a:lnTo>
                    <a:pt x="582678" y="272544"/>
                  </a:lnTo>
                  <a:lnTo>
                    <a:pt x="842760" y="272544"/>
                  </a:lnTo>
                  <a:lnTo>
                    <a:pt x="842760" y="213863"/>
                  </a:lnTo>
                  <a:close/>
                  <a:moveTo>
                    <a:pt x="582678" y="133444"/>
                  </a:moveTo>
                  <a:lnTo>
                    <a:pt x="582678" y="192124"/>
                  </a:lnTo>
                  <a:lnTo>
                    <a:pt x="842760" y="192124"/>
                  </a:lnTo>
                  <a:lnTo>
                    <a:pt x="842760" y="133444"/>
                  </a:lnTo>
                  <a:close/>
                  <a:moveTo>
                    <a:pt x="105912" y="105331"/>
                  </a:moveTo>
                  <a:lnTo>
                    <a:pt x="105912" y="352962"/>
                  </a:lnTo>
                  <a:lnTo>
                    <a:pt x="542463" y="352962"/>
                  </a:lnTo>
                  <a:lnTo>
                    <a:pt x="542463" y="105331"/>
                  </a:lnTo>
                  <a:close/>
                  <a:moveTo>
                    <a:pt x="63023" y="50675"/>
                  </a:moveTo>
                  <a:lnTo>
                    <a:pt x="885649" y="50675"/>
                  </a:lnTo>
                  <a:lnTo>
                    <a:pt x="885649" y="829140"/>
                  </a:lnTo>
                  <a:lnTo>
                    <a:pt x="63023" y="829140"/>
                  </a:lnTo>
                  <a:close/>
                  <a:moveTo>
                    <a:pt x="44490" y="24227"/>
                  </a:moveTo>
                  <a:lnTo>
                    <a:pt x="44490" y="859360"/>
                  </a:lnTo>
                  <a:lnTo>
                    <a:pt x="906578" y="859360"/>
                  </a:lnTo>
                  <a:lnTo>
                    <a:pt x="906578" y="24227"/>
                  </a:lnTo>
                  <a:close/>
                  <a:moveTo>
                    <a:pt x="0" y="0"/>
                  </a:moveTo>
                  <a:lnTo>
                    <a:pt x="951068" y="0"/>
                  </a:lnTo>
                  <a:lnTo>
                    <a:pt x="951068" y="903325"/>
                  </a:lnTo>
                  <a:lnTo>
                    <a:pt x="68337" y="903325"/>
                  </a:lnTo>
                  <a:lnTo>
                    <a:pt x="25044" y="903325"/>
                  </a:lnTo>
                  <a:lnTo>
                    <a:pt x="0" y="9033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b="1">
                <a:cs typeface="Segoe UI Semibold" panose="020B0702040204020203" pitchFamily="34" charset="0"/>
              </a:endParaRPr>
            </a:p>
          </p:txBody>
        </p:sp>
      </p:grpSp>
      <p:cxnSp>
        <p:nvCxnSpPr>
          <p:cNvPr id="184" name="Straight Connector 183">
            <a:extLst>
              <a:ext uri="{FF2B5EF4-FFF2-40B4-BE49-F238E27FC236}">
                <a16:creationId xmlns:a16="http://schemas.microsoft.com/office/drawing/2014/main" id="{5A40577C-A022-47C0-B547-6CFA4AE51D2B}"/>
              </a:ext>
            </a:extLst>
          </p:cNvPr>
          <p:cNvCxnSpPr>
            <a:cxnSpLocks/>
          </p:cNvCxnSpPr>
          <p:nvPr/>
        </p:nvCxnSpPr>
        <p:spPr>
          <a:xfrm>
            <a:off x="2743200" y="4027990"/>
            <a:ext cx="0" cy="1597306"/>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7538A961-56DD-453B-9F8A-A921FA7C3DF5}"/>
              </a:ext>
            </a:extLst>
          </p:cNvPr>
          <p:cNvCxnSpPr>
            <a:cxnSpLocks/>
          </p:cNvCxnSpPr>
          <p:nvPr/>
        </p:nvCxnSpPr>
        <p:spPr>
          <a:xfrm>
            <a:off x="5150164" y="4861367"/>
            <a:ext cx="0" cy="752355"/>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48101B25-206D-49D8-AA1B-0851D64595AC}"/>
              </a:ext>
            </a:extLst>
          </p:cNvPr>
          <p:cNvCxnSpPr>
            <a:cxnSpLocks/>
          </p:cNvCxnSpPr>
          <p:nvPr/>
        </p:nvCxnSpPr>
        <p:spPr>
          <a:xfrm>
            <a:off x="7125847" y="4861367"/>
            <a:ext cx="0" cy="752355"/>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89134E6A-3D64-4ADF-83B5-44C23CA033E5}"/>
              </a:ext>
            </a:extLst>
          </p:cNvPr>
          <p:cNvCxnSpPr>
            <a:cxnSpLocks/>
          </p:cNvCxnSpPr>
          <p:nvPr/>
        </p:nvCxnSpPr>
        <p:spPr>
          <a:xfrm>
            <a:off x="8977797" y="4055441"/>
            <a:ext cx="0" cy="1558281"/>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3C32E289-297F-431C-9F01-EA73C6FA97FF}"/>
              </a:ext>
            </a:extLst>
          </p:cNvPr>
          <p:cNvCxnSpPr>
            <a:cxnSpLocks/>
            <a:stCxn id="117" idx="3"/>
          </p:cNvCxnSpPr>
          <p:nvPr/>
        </p:nvCxnSpPr>
        <p:spPr>
          <a:xfrm flipV="1">
            <a:off x="6458674" y="1863379"/>
            <a:ext cx="130997" cy="2645230"/>
          </a:xfrm>
          <a:prstGeom prst="bentConnector2">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4A366EEC-4340-4095-99F0-EA8948063172}"/>
              </a:ext>
            </a:extLst>
          </p:cNvPr>
          <p:cNvSpPr txBox="1"/>
          <p:nvPr/>
        </p:nvSpPr>
        <p:spPr>
          <a:xfrm>
            <a:off x="6696399" y="4900262"/>
            <a:ext cx="1005083" cy="184538"/>
          </a:xfrm>
          <a:prstGeom prst="rect">
            <a:avLst/>
          </a:prstGeom>
          <a:solidFill>
            <a:schemeClr val="bg1"/>
          </a:solidFill>
        </p:spPr>
        <p:txBody>
          <a:bodyPr wrap="none" lIns="0" tIns="0" rIns="0" bIns="0" rtlCol="0">
            <a:spAutoFit/>
          </a:bodyPr>
          <a:lstStyle/>
          <a:p>
            <a:pPr defTabSz="932563">
              <a:spcAft>
                <a:spcPts val="600"/>
              </a:spcAft>
              <a:defRPr/>
            </a:pPr>
            <a:r>
              <a:rPr lang="en-US" sz="1199" dirty="0">
                <a:solidFill>
                  <a:schemeClr val="tx2"/>
                </a:solidFill>
                <a:latin typeface="Segoe UI Semibold" panose="020B0702040204020203" pitchFamily="34" charset="0"/>
                <a:cs typeface="Segoe UI Semibold" panose="020B0702040204020203" pitchFamily="34" charset="0"/>
              </a:rPr>
              <a:t>(coming soon)</a:t>
            </a:r>
          </a:p>
        </p:txBody>
      </p:sp>
    </p:spTree>
    <p:extLst>
      <p:ext uri="{BB962C8B-B14F-4D97-AF65-F5344CB8AC3E}">
        <p14:creationId xmlns:p14="http://schemas.microsoft.com/office/powerpoint/2010/main" val="2968624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22" presetClass="entr" presetSubtype="4" fill="hold" nodeType="withEffect">
                                  <p:stCondLst>
                                    <p:cond delay="0"/>
                                  </p:stCondLst>
                                  <p:childTnLst>
                                    <p:set>
                                      <p:cBhvr>
                                        <p:cTn id="12" dur="1" fill="hold">
                                          <p:stCondLst>
                                            <p:cond delay="0"/>
                                          </p:stCondLst>
                                        </p:cTn>
                                        <p:tgtEl>
                                          <p:spTgt spid="182"/>
                                        </p:tgtEl>
                                        <p:attrNameLst>
                                          <p:attrName>style.visibility</p:attrName>
                                        </p:attrNameLst>
                                      </p:cBhvr>
                                      <p:to>
                                        <p:strVal val="visible"/>
                                      </p:to>
                                    </p:set>
                                    <p:animEffect transition="in" filter="wipe(down)">
                                      <p:cBhvr>
                                        <p:cTn id="13" dur="500"/>
                                        <p:tgtEl>
                                          <p:spTgt spid="182"/>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58"/>
                                        </p:tgtEl>
                                        <p:attrNameLst>
                                          <p:attrName>style.visibility</p:attrName>
                                        </p:attrNameLst>
                                      </p:cBhvr>
                                      <p:to>
                                        <p:strVal val="visible"/>
                                      </p:to>
                                    </p:set>
                                    <p:animEffect transition="in" filter="fade">
                                      <p:cBhvr>
                                        <p:cTn id="16" dur="400"/>
                                        <p:tgtEl>
                                          <p:spTgt spid="158"/>
                                        </p:tgtEl>
                                      </p:cBhvr>
                                    </p:animEffect>
                                  </p:childTnLst>
                                </p:cTn>
                              </p:par>
                              <p:par>
                                <p:cTn id="17" presetID="42" presetClass="path" presetSubtype="0" decel="100000" fill="hold" grpId="1" nodeType="withEffect">
                                  <p:stCondLst>
                                    <p:cond delay="500"/>
                                  </p:stCondLst>
                                  <p:childTnLst>
                                    <p:animMotion origin="layout" path="M 1.94537E-6 -1.28915E-6 L 1.94537E-6 0.09623 " pathEditMode="relative" rAng="0" ptsTypes="AA">
                                      <p:cBhvr>
                                        <p:cTn id="18" dur="700" spd="-100000" fill="hold"/>
                                        <p:tgtEl>
                                          <p:spTgt spid="158"/>
                                        </p:tgtEl>
                                        <p:attrNameLst>
                                          <p:attrName>ppt_x</p:attrName>
                                          <p:attrName>ppt_y</p:attrName>
                                        </p:attrNameLst>
                                      </p:cBhvr>
                                      <p:rCtr x="0" y="4812"/>
                                    </p:animMotion>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2" nodeType="clickEffect">
                                  <p:stCondLst>
                                    <p:cond delay="0"/>
                                  </p:stCondLst>
                                  <p:childTnLst>
                                    <p:animEffect transition="out" filter="fade">
                                      <p:cBhvr>
                                        <p:cTn id="22" dur="500"/>
                                        <p:tgtEl>
                                          <p:spTgt spid="158"/>
                                        </p:tgtEl>
                                      </p:cBhvr>
                                    </p:animEffect>
                                    <p:set>
                                      <p:cBhvr>
                                        <p:cTn id="23" dur="1" fill="hold">
                                          <p:stCondLst>
                                            <p:cond delay="499"/>
                                          </p:stCondLst>
                                        </p:cTn>
                                        <p:tgtEl>
                                          <p:spTgt spid="158"/>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182"/>
                                        </p:tgtEl>
                                      </p:cBhvr>
                                    </p:animEffect>
                                    <p:set>
                                      <p:cBhvr>
                                        <p:cTn id="26" dur="1" fill="hold">
                                          <p:stCondLst>
                                            <p:cond delay="499"/>
                                          </p:stCondLst>
                                        </p:cTn>
                                        <p:tgtEl>
                                          <p:spTgt spid="182"/>
                                        </p:tgtEl>
                                        <p:attrNameLst>
                                          <p:attrName>style.visibility</p:attrName>
                                        </p:attrNameLst>
                                      </p:cBhvr>
                                      <p:to>
                                        <p:strVal val="hidden"/>
                                      </p:to>
                                    </p:set>
                                  </p:childTnLst>
                                </p:cTn>
                              </p:par>
                              <p:par>
                                <p:cTn id="27" presetID="22" presetClass="entr" presetSubtype="1" fill="hold" nodeType="withEffect">
                                  <p:stCondLst>
                                    <p:cond delay="0"/>
                                  </p:stCondLst>
                                  <p:childTnLst>
                                    <p:set>
                                      <p:cBhvr>
                                        <p:cTn id="28" dur="1" fill="hold">
                                          <p:stCondLst>
                                            <p:cond delay="0"/>
                                          </p:stCondLst>
                                        </p:cTn>
                                        <p:tgtEl>
                                          <p:spTgt spid="184"/>
                                        </p:tgtEl>
                                        <p:attrNameLst>
                                          <p:attrName>style.visibility</p:attrName>
                                        </p:attrNameLst>
                                      </p:cBhvr>
                                      <p:to>
                                        <p:strVal val="visible"/>
                                      </p:to>
                                    </p:set>
                                    <p:animEffect transition="in" filter="wipe(up)">
                                      <p:cBhvr>
                                        <p:cTn id="29" dur="500"/>
                                        <p:tgtEl>
                                          <p:spTgt spid="184"/>
                                        </p:tgtEl>
                                      </p:cBhvr>
                                    </p:animEffect>
                                  </p:childTnLst>
                                </p:cTn>
                              </p:par>
                              <p:par>
                                <p:cTn id="30" presetID="10" presetClass="entr" presetSubtype="0" fill="hold" grpId="0" nodeType="withEffect">
                                  <p:stCondLst>
                                    <p:cond delay="750"/>
                                  </p:stCondLst>
                                  <p:childTnLst>
                                    <p:set>
                                      <p:cBhvr>
                                        <p:cTn id="31" dur="1" fill="hold">
                                          <p:stCondLst>
                                            <p:cond delay="0"/>
                                          </p:stCondLst>
                                        </p:cTn>
                                        <p:tgtEl>
                                          <p:spTgt spid="159"/>
                                        </p:tgtEl>
                                        <p:attrNameLst>
                                          <p:attrName>style.visibility</p:attrName>
                                        </p:attrNameLst>
                                      </p:cBhvr>
                                      <p:to>
                                        <p:strVal val="visible"/>
                                      </p:to>
                                    </p:set>
                                    <p:animEffect transition="in" filter="fade">
                                      <p:cBhvr>
                                        <p:cTn id="32" dur="400"/>
                                        <p:tgtEl>
                                          <p:spTgt spid="159"/>
                                        </p:tgtEl>
                                      </p:cBhvr>
                                    </p:animEffect>
                                  </p:childTnLst>
                                </p:cTn>
                              </p:par>
                              <p:par>
                                <p:cTn id="33" presetID="42" presetClass="path" presetSubtype="0" decel="100000" fill="hold" grpId="1" nodeType="withEffect">
                                  <p:stCondLst>
                                    <p:cond delay="500"/>
                                  </p:stCondLst>
                                  <p:childTnLst>
                                    <p:animMotion origin="layout" path="M 1.94537E-6 -1.28915E-6 L 1.94537E-6 0.09623 " pathEditMode="relative" rAng="0" ptsTypes="AA">
                                      <p:cBhvr>
                                        <p:cTn id="34" dur="700" spd="-100000" fill="hold"/>
                                        <p:tgtEl>
                                          <p:spTgt spid="159"/>
                                        </p:tgtEl>
                                        <p:attrNameLst>
                                          <p:attrName>ppt_x</p:attrName>
                                          <p:attrName>ppt_y</p:attrName>
                                        </p:attrNameLst>
                                      </p:cBhvr>
                                      <p:rCtr x="0" y="4812"/>
                                    </p:animMotion>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2" nodeType="clickEffect">
                                  <p:stCondLst>
                                    <p:cond delay="0"/>
                                  </p:stCondLst>
                                  <p:childTnLst>
                                    <p:animEffect transition="out" filter="fade">
                                      <p:cBhvr>
                                        <p:cTn id="38" dur="500"/>
                                        <p:tgtEl>
                                          <p:spTgt spid="159"/>
                                        </p:tgtEl>
                                      </p:cBhvr>
                                    </p:animEffect>
                                    <p:set>
                                      <p:cBhvr>
                                        <p:cTn id="39" dur="1" fill="hold">
                                          <p:stCondLst>
                                            <p:cond delay="499"/>
                                          </p:stCondLst>
                                        </p:cTn>
                                        <p:tgtEl>
                                          <p:spTgt spid="159"/>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184"/>
                                        </p:tgtEl>
                                      </p:cBhvr>
                                    </p:animEffect>
                                    <p:set>
                                      <p:cBhvr>
                                        <p:cTn id="42" dur="1" fill="hold">
                                          <p:stCondLst>
                                            <p:cond delay="499"/>
                                          </p:stCondLst>
                                        </p:cTn>
                                        <p:tgtEl>
                                          <p:spTgt spid="184"/>
                                        </p:tgtEl>
                                        <p:attrNameLst>
                                          <p:attrName>style.visibility</p:attrName>
                                        </p:attrNameLst>
                                      </p:cBhvr>
                                      <p:to>
                                        <p:strVal val="hidden"/>
                                      </p:to>
                                    </p:set>
                                  </p:childTnLst>
                                </p:cTn>
                              </p:par>
                              <p:par>
                                <p:cTn id="43" presetID="22" presetClass="entr" presetSubtype="1" fill="hold" nodeType="withEffect">
                                  <p:stCondLst>
                                    <p:cond delay="0"/>
                                  </p:stCondLst>
                                  <p:childTnLst>
                                    <p:set>
                                      <p:cBhvr>
                                        <p:cTn id="44" dur="1" fill="hold">
                                          <p:stCondLst>
                                            <p:cond delay="0"/>
                                          </p:stCondLst>
                                        </p:cTn>
                                        <p:tgtEl>
                                          <p:spTgt spid="188"/>
                                        </p:tgtEl>
                                        <p:attrNameLst>
                                          <p:attrName>style.visibility</p:attrName>
                                        </p:attrNameLst>
                                      </p:cBhvr>
                                      <p:to>
                                        <p:strVal val="visible"/>
                                      </p:to>
                                    </p:set>
                                    <p:animEffect transition="in" filter="wipe(up)">
                                      <p:cBhvr>
                                        <p:cTn id="45" dur="500"/>
                                        <p:tgtEl>
                                          <p:spTgt spid="188"/>
                                        </p:tgtEl>
                                      </p:cBhvr>
                                    </p:animEffect>
                                  </p:childTnLst>
                                </p:cTn>
                              </p:par>
                              <p:par>
                                <p:cTn id="46" presetID="10" presetClass="entr" presetSubtype="0" fill="hold" grpId="0" nodeType="withEffect">
                                  <p:stCondLst>
                                    <p:cond delay="750"/>
                                  </p:stCondLst>
                                  <p:childTnLst>
                                    <p:set>
                                      <p:cBhvr>
                                        <p:cTn id="47" dur="1" fill="hold">
                                          <p:stCondLst>
                                            <p:cond delay="0"/>
                                          </p:stCondLst>
                                        </p:cTn>
                                        <p:tgtEl>
                                          <p:spTgt spid="163"/>
                                        </p:tgtEl>
                                        <p:attrNameLst>
                                          <p:attrName>style.visibility</p:attrName>
                                        </p:attrNameLst>
                                      </p:cBhvr>
                                      <p:to>
                                        <p:strVal val="visible"/>
                                      </p:to>
                                    </p:set>
                                    <p:animEffect transition="in" filter="fade">
                                      <p:cBhvr>
                                        <p:cTn id="48" dur="400"/>
                                        <p:tgtEl>
                                          <p:spTgt spid="163"/>
                                        </p:tgtEl>
                                      </p:cBhvr>
                                    </p:animEffect>
                                  </p:childTnLst>
                                </p:cTn>
                              </p:par>
                              <p:par>
                                <p:cTn id="49" presetID="42" presetClass="path" presetSubtype="0" decel="100000" fill="hold" grpId="1" nodeType="withEffect">
                                  <p:stCondLst>
                                    <p:cond delay="500"/>
                                  </p:stCondLst>
                                  <p:childTnLst>
                                    <p:animMotion origin="layout" path="M 1.94537E-6 -1.28915E-6 L 1.94537E-6 0.09623 " pathEditMode="relative" rAng="0" ptsTypes="AA">
                                      <p:cBhvr>
                                        <p:cTn id="50" dur="700" spd="-100000" fill="hold"/>
                                        <p:tgtEl>
                                          <p:spTgt spid="163"/>
                                        </p:tgtEl>
                                        <p:attrNameLst>
                                          <p:attrName>ppt_x</p:attrName>
                                          <p:attrName>ppt_y</p:attrName>
                                        </p:attrNameLst>
                                      </p:cBhvr>
                                      <p:rCtr x="0" y="4812"/>
                                    </p:animMotion>
                                  </p:childTnLst>
                                </p:cTn>
                              </p:par>
                            </p:childTnLst>
                          </p:cTn>
                        </p:par>
                        <p:par>
                          <p:cTn id="51" fill="hold">
                            <p:stCondLst>
                              <p:cond delay="1200"/>
                            </p:stCondLst>
                            <p:childTnLst>
                              <p:par>
                                <p:cTn id="52" presetID="22" presetClass="entr" presetSubtype="4" fill="hold" nodeType="afterEffect">
                                  <p:stCondLst>
                                    <p:cond delay="0"/>
                                  </p:stCondLst>
                                  <p:childTnLst>
                                    <p:set>
                                      <p:cBhvr>
                                        <p:cTn id="53" dur="1" fill="hold">
                                          <p:stCondLst>
                                            <p:cond delay="0"/>
                                          </p:stCondLst>
                                        </p:cTn>
                                        <p:tgtEl>
                                          <p:spTgt spid="190"/>
                                        </p:tgtEl>
                                        <p:attrNameLst>
                                          <p:attrName>style.visibility</p:attrName>
                                        </p:attrNameLst>
                                      </p:cBhvr>
                                      <p:to>
                                        <p:strVal val="visible"/>
                                      </p:to>
                                    </p:set>
                                    <p:animEffect transition="in" filter="wipe(down)">
                                      <p:cBhvr>
                                        <p:cTn id="54" dur="500"/>
                                        <p:tgtEl>
                                          <p:spTgt spid="190"/>
                                        </p:tgtEl>
                                      </p:cBhvr>
                                    </p:animEffect>
                                  </p:childTnLst>
                                </p:cTn>
                              </p:par>
                              <p:par>
                                <p:cTn id="55" presetID="10" presetClass="entr" presetSubtype="0" fill="hold" grpId="0" nodeType="withEffect">
                                  <p:stCondLst>
                                    <p:cond delay="500"/>
                                  </p:stCondLst>
                                  <p:childTnLst>
                                    <p:set>
                                      <p:cBhvr>
                                        <p:cTn id="56" dur="1" fill="hold">
                                          <p:stCondLst>
                                            <p:cond delay="0"/>
                                          </p:stCondLst>
                                        </p:cTn>
                                        <p:tgtEl>
                                          <p:spTgt spid="185"/>
                                        </p:tgtEl>
                                        <p:attrNameLst>
                                          <p:attrName>style.visibility</p:attrName>
                                        </p:attrNameLst>
                                      </p:cBhvr>
                                      <p:to>
                                        <p:strVal val="visible"/>
                                      </p:to>
                                    </p:set>
                                    <p:animEffect transition="in" filter="fade">
                                      <p:cBhvr>
                                        <p:cTn id="57" dur="400"/>
                                        <p:tgtEl>
                                          <p:spTgt spid="185"/>
                                        </p:tgtEl>
                                      </p:cBhvr>
                                    </p:animEffect>
                                  </p:childTnLst>
                                </p:cTn>
                              </p:par>
                              <p:par>
                                <p:cTn id="58" presetID="42" presetClass="path" presetSubtype="0" decel="100000" fill="hold" grpId="1" nodeType="withEffect">
                                  <p:stCondLst>
                                    <p:cond delay="500"/>
                                  </p:stCondLst>
                                  <p:childTnLst>
                                    <p:animMotion origin="layout" path="M 1.94537E-6 -1.28915E-6 L 1.94537E-6 0.09623 " pathEditMode="relative" rAng="0" ptsTypes="AA">
                                      <p:cBhvr>
                                        <p:cTn id="59" dur="700" spd="-100000" fill="hold"/>
                                        <p:tgtEl>
                                          <p:spTgt spid="185"/>
                                        </p:tgtEl>
                                        <p:attrNameLst>
                                          <p:attrName>ppt_x</p:attrName>
                                          <p:attrName>ppt_y</p:attrName>
                                        </p:attrNameLst>
                                      </p:cBhvr>
                                      <p:rCtr x="0" y="4812"/>
                                    </p:animMotion>
                                  </p:childTnLst>
                                </p:cTn>
                              </p:par>
                            </p:childTnLst>
                          </p:cTn>
                        </p:par>
                      </p:childTnLst>
                    </p:cTn>
                  </p:par>
                  <p:par>
                    <p:cTn id="60" fill="hold">
                      <p:stCondLst>
                        <p:cond delay="indefinite"/>
                      </p:stCondLst>
                      <p:childTnLst>
                        <p:par>
                          <p:cTn id="61" fill="hold">
                            <p:stCondLst>
                              <p:cond delay="0"/>
                            </p:stCondLst>
                            <p:childTnLst>
                              <p:par>
                                <p:cTn id="62" presetID="10" presetClass="exit" presetSubtype="0" fill="hold" grpId="2" nodeType="clickEffect">
                                  <p:stCondLst>
                                    <p:cond delay="0"/>
                                  </p:stCondLst>
                                  <p:childTnLst>
                                    <p:animEffect transition="out" filter="fade">
                                      <p:cBhvr>
                                        <p:cTn id="63" dur="500"/>
                                        <p:tgtEl>
                                          <p:spTgt spid="163"/>
                                        </p:tgtEl>
                                      </p:cBhvr>
                                    </p:animEffect>
                                    <p:set>
                                      <p:cBhvr>
                                        <p:cTn id="64" dur="1" fill="hold">
                                          <p:stCondLst>
                                            <p:cond delay="499"/>
                                          </p:stCondLst>
                                        </p:cTn>
                                        <p:tgtEl>
                                          <p:spTgt spid="163"/>
                                        </p:tgtEl>
                                        <p:attrNameLst>
                                          <p:attrName>style.visibility</p:attrName>
                                        </p:attrNameLst>
                                      </p:cBhvr>
                                      <p:to>
                                        <p:strVal val="hidden"/>
                                      </p:to>
                                    </p:set>
                                  </p:childTnLst>
                                </p:cTn>
                              </p:par>
                            </p:childTnLst>
                          </p:cTn>
                        </p:par>
                        <p:par>
                          <p:cTn id="65" fill="hold">
                            <p:stCondLst>
                              <p:cond delay="500"/>
                            </p:stCondLst>
                            <p:childTnLst>
                              <p:par>
                                <p:cTn id="66" presetID="10" presetClass="exit" presetSubtype="0" fill="hold" nodeType="afterEffect">
                                  <p:stCondLst>
                                    <p:cond delay="0"/>
                                  </p:stCondLst>
                                  <p:childTnLst>
                                    <p:animEffect transition="out" filter="fade">
                                      <p:cBhvr>
                                        <p:cTn id="67" dur="500"/>
                                        <p:tgtEl>
                                          <p:spTgt spid="190"/>
                                        </p:tgtEl>
                                      </p:cBhvr>
                                    </p:animEffect>
                                    <p:set>
                                      <p:cBhvr>
                                        <p:cTn id="68" dur="1" fill="hold">
                                          <p:stCondLst>
                                            <p:cond delay="499"/>
                                          </p:stCondLst>
                                        </p:cTn>
                                        <p:tgtEl>
                                          <p:spTgt spid="190"/>
                                        </p:tgtEl>
                                        <p:attrNameLst>
                                          <p:attrName>style.visibility</p:attrName>
                                        </p:attrNameLst>
                                      </p:cBhvr>
                                      <p:to>
                                        <p:strVal val="hidden"/>
                                      </p:to>
                                    </p:set>
                                  </p:childTnLst>
                                </p:cTn>
                              </p:par>
                              <p:par>
                                <p:cTn id="69" presetID="10" presetClass="exit" presetSubtype="0" fill="hold" nodeType="withEffect">
                                  <p:stCondLst>
                                    <p:cond delay="0"/>
                                  </p:stCondLst>
                                  <p:childTnLst>
                                    <p:animEffect transition="out" filter="fade">
                                      <p:cBhvr>
                                        <p:cTn id="70" dur="500"/>
                                        <p:tgtEl>
                                          <p:spTgt spid="188"/>
                                        </p:tgtEl>
                                      </p:cBhvr>
                                    </p:animEffect>
                                    <p:set>
                                      <p:cBhvr>
                                        <p:cTn id="71" dur="1" fill="hold">
                                          <p:stCondLst>
                                            <p:cond delay="499"/>
                                          </p:stCondLst>
                                        </p:cTn>
                                        <p:tgtEl>
                                          <p:spTgt spid="188"/>
                                        </p:tgtEl>
                                        <p:attrNameLst>
                                          <p:attrName>style.visibility</p:attrName>
                                        </p:attrNameLst>
                                      </p:cBhvr>
                                      <p:to>
                                        <p:strVal val="hidden"/>
                                      </p:to>
                                    </p:set>
                                  </p:childTnLst>
                                </p:cTn>
                              </p:par>
                              <p:par>
                                <p:cTn id="72" presetID="10" presetClass="exit" presetSubtype="0" fill="hold" grpId="2" nodeType="withEffect">
                                  <p:stCondLst>
                                    <p:cond delay="0"/>
                                  </p:stCondLst>
                                  <p:childTnLst>
                                    <p:animEffect transition="out" filter="fade">
                                      <p:cBhvr>
                                        <p:cTn id="73" dur="500"/>
                                        <p:tgtEl>
                                          <p:spTgt spid="185"/>
                                        </p:tgtEl>
                                      </p:cBhvr>
                                    </p:animEffect>
                                    <p:set>
                                      <p:cBhvr>
                                        <p:cTn id="74" dur="1" fill="hold">
                                          <p:stCondLst>
                                            <p:cond delay="499"/>
                                          </p:stCondLst>
                                        </p:cTn>
                                        <p:tgtEl>
                                          <p:spTgt spid="185"/>
                                        </p:tgtEl>
                                        <p:attrNameLst>
                                          <p:attrName>style.visibility</p:attrName>
                                        </p:attrNameLst>
                                      </p:cBhvr>
                                      <p:to>
                                        <p:strVal val="hidden"/>
                                      </p:to>
                                    </p:set>
                                  </p:childTnLst>
                                </p:cTn>
                              </p:par>
                              <p:par>
                                <p:cTn id="75" presetID="22" presetClass="entr" presetSubtype="1" fill="hold" nodeType="withEffect">
                                  <p:stCondLst>
                                    <p:cond delay="0"/>
                                  </p:stCondLst>
                                  <p:childTnLst>
                                    <p:set>
                                      <p:cBhvr>
                                        <p:cTn id="76" dur="1" fill="hold">
                                          <p:stCondLst>
                                            <p:cond delay="0"/>
                                          </p:stCondLst>
                                        </p:cTn>
                                        <p:tgtEl>
                                          <p:spTgt spid="187"/>
                                        </p:tgtEl>
                                        <p:attrNameLst>
                                          <p:attrName>style.visibility</p:attrName>
                                        </p:attrNameLst>
                                      </p:cBhvr>
                                      <p:to>
                                        <p:strVal val="visible"/>
                                      </p:to>
                                    </p:set>
                                    <p:animEffect transition="in" filter="wipe(up)">
                                      <p:cBhvr>
                                        <p:cTn id="77" dur="500"/>
                                        <p:tgtEl>
                                          <p:spTgt spid="187"/>
                                        </p:tgtEl>
                                      </p:cBhvr>
                                    </p:animEffect>
                                  </p:childTnLst>
                                </p:cTn>
                              </p:par>
                              <p:par>
                                <p:cTn id="78" presetID="22" presetClass="entr" presetSubtype="1" fill="hold" nodeType="withEffect">
                                  <p:stCondLst>
                                    <p:cond delay="0"/>
                                  </p:stCondLst>
                                  <p:childTnLst>
                                    <p:set>
                                      <p:cBhvr>
                                        <p:cTn id="79" dur="1" fill="hold">
                                          <p:stCondLst>
                                            <p:cond delay="0"/>
                                          </p:stCondLst>
                                        </p:cTn>
                                        <p:tgtEl>
                                          <p:spTgt spid="189"/>
                                        </p:tgtEl>
                                        <p:attrNameLst>
                                          <p:attrName>style.visibility</p:attrName>
                                        </p:attrNameLst>
                                      </p:cBhvr>
                                      <p:to>
                                        <p:strVal val="visible"/>
                                      </p:to>
                                    </p:set>
                                    <p:animEffect transition="in" filter="wipe(up)">
                                      <p:cBhvr>
                                        <p:cTn id="80" dur="500"/>
                                        <p:tgtEl>
                                          <p:spTgt spid="189"/>
                                        </p:tgtEl>
                                      </p:cBhvr>
                                    </p:animEffect>
                                  </p:childTnLst>
                                </p:cTn>
                              </p:par>
                              <p:par>
                                <p:cTn id="81" presetID="10" presetClass="entr" presetSubtype="0" fill="hold" grpId="0" nodeType="withEffect">
                                  <p:stCondLst>
                                    <p:cond delay="750"/>
                                  </p:stCondLst>
                                  <p:childTnLst>
                                    <p:set>
                                      <p:cBhvr>
                                        <p:cTn id="82" dur="1" fill="hold">
                                          <p:stCondLst>
                                            <p:cond delay="0"/>
                                          </p:stCondLst>
                                        </p:cTn>
                                        <p:tgtEl>
                                          <p:spTgt spid="191"/>
                                        </p:tgtEl>
                                        <p:attrNameLst>
                                          <p:attrName>style.visibility</p:attrName>
                                        </p:attrNameLst>
                                      </p:cBhvr>
                                      <p:to>
                                        <p:strVal val="visible"/>
                                      </p:to>
                                    </p:set>
                                    <p:animEffect transition="in" filter="fade">
                                      <p:cBhvr>
                                        <p:cTn id="83" dur="400"/>
                                        <p:tgtEl>
                                          <p:spTgt spid="191"/>
                                        </p:tgtEl>
                                      </p:cBhvr>
                                    </p:animEffect>
                                  </p:childTnLst>
                                </p:cTn>
                              </p:par>
                              <p:par>
                                <p:cTn id="84" presetID="42" presetClass="path" presetSubtype="0" decel="100000" fill="hold" grpId="1" nodeType="withEffect">
                                  <p:stCondLst>
                                    <p:cond delay="500"/>
                                  </p:stCondLst>
                                  <p:childTnLst>
                                    <p:animMotion origin="layout" path="M 1.94537E-6 -1.28915E-6 L 1.94537E-6 0.09623 " pathEditMode="relative" rAng="0" ptsTypes="AA">
                                      <p:cBhvr>
                                        <p:cTn id="85" dur="700" spd="-100000" fill="hold"/>
                                        <p:tgtEl>
                                          <p:spTgt spid="191"/>
                                        </p:tgtEl>
                                        <p:attrNameLst>
                                          <p:attrName>ppt_x</p:attrName>
                                          <p:attrName>ppt_y</p:attrName>
                                        </p:attrNameLst>
                                      </p:cBhvr>
                                      <p:rCtr x="0" y="4812"/>
                                    </p:animMotion>
                                  </p:childTnLst>
                                </p:cTn>
                              </p:par>
                              <p:par>
                                <p:cTn id="86" presetID="10" presetClass="entr" presetSubtype="0" fill="hold" grpId="0" nodeType="withEffect">
                                  <p:stCondLst>
                                    <p:cond delay="750"/>
                                  </p:stCondLst>
                                  <p:childTnLst>
                                    <p:set>
                                      <p:cBhvr>
                                        <p:cTn id="87" dur="1" fill="hold">
                                          <p:stCondLst>
                                            <p:cond delay="0"/>
                                          </p:stCondLst>
                                        </p:cTn>
                                        <p:tgtEl>
                                          <p:spTgt spid="193"/>
                                        </p:tgtEl>
                                        <p:attrNameLst>
                                          <p:attrName>style.visibility</p:attrName>
                                        </p:attrNameLst>
                                      </p:cBhvr>
                                      <p:to>
                                        <p:strVal val="visible"/>
                                      </p:to>
                                    </p:set>
                                    <p:animEffect transition="in" filter="fade">
                                      <p:cBhvr>
                                        <p:cTn id="88" dur="400"/>
                                        <p:tgtEl>
                                          <p:spTgt spid="193"/>
                                        </p:tgtEl>
                                      </p:cBhvr>
                                    </p:animEffect>
                                  </p:childTnLst>
                                </p:cTn>
                              </p:par>
                              <p:par>
                                <p:cTn id="89" presetID="42" presetClass="path" presetSubtype="0" decel="100000" fill="hold" grpId="1" nodeType="withEffect">
                                  <p:stCondLst>
                                    <p:cond delay="500"/>
                                  </p:stCondLst>
                                  <p:childTnLst>
                                    <p:animMotion origin="layout" path="M 1.94537E-6 -1.28915E-6 L 1.94537E-6 0.09623 " pathEditMode="relative" rAng="0" ptsTypes="AA">
                                      <p:cBhvr>
                                        <p:cTn id="90" dur="700" spd="-100000" fill="hold"/>
                                        <p:tgtEl>
                                          <p:spTgt spid="193"/>
                                        </p:tgtEl>
                                        <p:attrNameLst>
                                          <p:attrName>ppt_x</p:attrName>
                                          <p:attrName>ppt_y</p:attrName>
                                        </p:attrNameLst>
                                      </p:cBhvr>
                                      <p:rCtr x="0" y="4812"/>
                                    </p:animMotion>
                                  </p:childTnLst>
                                </p:cTn>
                              </p:par>
                            </p:childTnLst>
                          </p:cTn>
                        </p:par>
                      </p:childTnLst>
                    </p:cTn>
                  </p:par>
                  <p:par>
                    <p:cTn id="91" fill="hold">
                      <p:stCondLst>
                        <p:cond delay="indefinite"/>
                      </p:stCondLst>
                      <p:childTnLst>
                        <p:par>
                          <p:cTn id="92" fill="hold">
                            <p:stCondLst>
                              <p:cond delay="0"/>
                            </p:stCondLst>
                            <p:childTnLst>
                              <p:par>
                                <p:cTn id="93" presetID="10" presetClass="exit" presetSubtype="0" fill="hold" grpId="2" nodeType="clickEffect">
                                  <p:stCondLst>
                                    <p:cond delay="0"/>
                                  </p:stCondLst>
                                  <p:childTnLst>
                                    <p:animEffect transition="out" filter="fade">
                                      <p:cBhvr>
                                        <p:cTn id="94" dur="500"/>
                                        <p:tgtEl>
                                          <p:spTgt spid="193"/>
                                        </p:tgtEl>
                                      </p:cBhvr>
                                    </p:animEffect>
                                    <p:set>
                                      <p:cBhvr>
                                        <p:cTn id="95" dur="1" fill="hold">
                                          <p:stCondLst>
                                            <p:cond delay="499"/>
                                          </p:stCondLst>
                                        </p:cTn>
                                        <p:tgtEl>
                                          <p:spTgt spid="193"/>
                                        </p:tgtEl>
                                        <p:attrNameLst>
                                          <p:attrName>style.visibility</p:attrName>
                                        </p:attrNameLst>
                                      </p:cBhvr>
                                      <p:to>
                                        <p:strVal val="hidden"/>
                                      </p:to>
                                    </p:set>
                                  </p:childTnLst>
                                </p:cTn>
                              </p:par>
                              <p:par>
                                <p:cTn id="96" presetID="10" presetClass="exit" presetSubtype="0" fill="hold" grpId="2" nodeType="withEffect">
                                  <p:stCondLst>
                                    <p:cond delay="0"/>
                                  </p:stCondLst>
                                  <p:childTnLst>
                                    <p:animEffect transition="out" filter="fade">
                                      <p:cBhvr>
                                        <p:cTn id="97" dur="500"/>
                                        <p:tgtEl>
                                          <p:spTgt spid="191"/>
                                        </p:tgtEl>
                                      </p:cBhvr>
                                    </p:animEffect>
                                    <p:set>
                                      <p:cBhvr>
                                        <p:cTn id="98" dur="1" fill="hold">
                                          <p:stCondLst>
                                            <p:cond delay="499"/>
                                          </p:stCondLst>
                                        </p:cTn>
                                        <p:tgtEl>
                                          <p:spTgt spid="191"/>
                                        </p:tgtEl>
                                        <p:attrNameLst>
                                          <p:attrName>style.visibility</p:attrName>
                                        </p:attrNameLst>
                                      </p:cBhvr>
                                      <p:to>
                                        <p:strVal val="hidden"/>
                                      </p:to>
                                    </p:set>
                                  </p:childTnLst>
                                </p:cTn>
                              </p:par>
                              <p:par>
                                <p:cTn id="99" presetID="10" presetClass="exit" presetSubtype="0" fill="hold" nodeType="withEffect">
                                  <p:stCondLst>
                                    <p:cond delay="0"/>
                                  </p:stCondLst>
                                  <p:childTnLst>
                                    <p:animEffect transition="out" filter="fade">
                                      <p:cBhvr>
                                        <p:cTn id="100" dur="500"/>
                                        <p:tgtEl>
                                          <p:spTgt spid="187"/>
                                        </p:tgtEl>
                                      </p:cBhvr>
                                    </p:animEffect>
                                    <p:set>
                                      <p:cBhvr>
                                        <p:cTn id="101" dur="1" fill="hold">
                                          <p:stCondLst>
                                            <p:cond delay="499"/>
                                          </p:stCondLst>
                                        </p:cTn>
                                        <p:tgtEl>
                                          <p:spTgt spid="187"/>
                                        </p:tgtEl>
                                        <p:attrNameLst>
                                          <p:attrName>style.visibility</p:attrName>
                                        </p:attrNameLst>
                                      </p:cBhvr>
                                      <p:to>
                                        <p:strVal val="hidden"/>
                                      </p:to>
                                    </p:set>
                                  </p:childTnLst>
                                </p:cTn>
                              </p:par>
                              <p:par>
                                <p:cTn id="102" presetID="10" presetClass="exit" presetSubtype="0" fill="hold" nodeType="withEffect">
                                  <p:stCondLst>
                                    <p:cond delay="0"/>
                                  </p:stCondLst>
                                  <p:childTnLst>
                                    <p:animEffect transition="out" filter="fade">
                                      <p:cBhvr>
                                        <p:cTn id="103" dur="500"/>
                                        <p:tgtEl>
                                          <p:spTgt spid="189"/>
                                        </p:tgtEl>
                                      </p:cBhvr>
                                    </p:animEffect>
                                    <p:set>
                                      <p:cBhvr>
                                        <p:cTn id="104" dur="1" fill="hold">
                                          <p:stCondLst>
                                            <p:cond delay="499"/>
                                          </p:stCondLst>
                                        </p:cTn>
                                        <p:tgtEl>
                                          <p:spTgt spid="18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p:bldP spid="158" grpId="1"/>
      <p:bldP spid="158" grpId="2"/>
      <p:bldP spid="159" grpId="0"/>
      <p:bldP spid="159" grpId="1"/>
      <p:bldP spid="159" grpId="2"/>
      <p:bldP spid="163" grpId="0"/>
      <p:bldP spid="163" grpId="1"/>
      <p:bldP spid="163" grpId="2"/>
      <p:bldP spid="185" grpId="0"/>
      <p:bldP spid="185" grpId="1"/>
      <p:bldP spid="185" grpId="2"/>
      <p:bldP spid="191" grpId="0"/>
      <p:bldP spid="191" grpId="1"/>
      <p:bldP spid="191" grpId="2"/>
      <p:bldP spid="193" grpId="0"/>
      <p:bldP spid="193" grpId="1"/>
      <p:bldP spid="193" grpId="2"/>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p:cNvPicPr>
            <a:picLocks noChangeAspect="1"/>
          </p:cNvPicPr>
          <p:nvPr/>
        </p:nvPicPr>
        <p:blipFill>
          <a:blip r:embed="rId3"/>
          <a:stretch>
            <a:fillRect/>
          </a:stretch>
        </p:blipFill>
        <p:spPr>
          <a:xfrm>
            <a:off x="2585097" y="4849090"/>
            <a:ext cx="1049322" cy="351576"/>
          </a:xfrm>
          <a:prstGeom prst="rect">
            <a:avLst/>
          </a:prstGeom>
        </p:spPr>
      </p:pic>
      <p:pic>
        <p:nvPicPr>
          <p:cNvPr id="111" name="Picture 110"/>
          <p:cNvPicPr>
            <a:picLocks noChangeAspect="1"/>
          </p:cNvPicPr>
          <p:nvPr/>
        </p:nvPicPr>
        <p:blipFill>
          <a:blip r:embed="rId4"/>
          <a:stretch>
            <a:fillRect/>
          </a:stretch>
        </p:blipFill>
        <p:spPr>
          <a:xfrm>
            <a:off x="2772722" y="4345830"/>
            <a:ext cx="1191914" cy="281208"/>
          </a:xfrm>
          <a:prstGeom prst="rect">
            <a:avLst/>
          </a:prstGeom>
        </p:spPr>
      </p:pic>
      <p:pic>
        <p:nvPicPr>
          <p:cNvPr id="112" name="Picture 111"/>
          <p:cNvPicPr>
            <a:picLocks noChangeAspect="1"/>
          </p:cNvPicPr>
          <p:nvPr/>
        </p:nvPicPr>
        <p:blipFill>
          <a:blip r:embed="rId5"/>
          <a:stretch>
            <a:fillRect/>
          </a:stretch>
        </p:blipFill>
        <p:spPr>
          <a:xfrm>
            <a:off x="1174921" y="4632840"/>
            <a:ext cx="1023910" cy="387122"/>
          </a:xfrm>
          <a:prstGeom prst="rect">
            <a:avLst/>
          </a:prstGeom>
        </p:spPr>
      </p:pic>
      <p:pic>
        <p:nvPicPr>
          <p:cNvPr id="113" name="Picture 112"/>
          <p:cNvPicPr>
            <a:picLocks noChangeAspect="1"/>
          </p:cNvPicPr>
          <p:nvPr/>
        </p:nvPicPr>
        <p:blipFill rotWithShape="1">
          <a:blip r:embed="rId6">
            <a:extLst>
              <a:ext uri="{28A0092B-C50C-407E-A947-70E740481C1C}">
                <a14:useLocalDpi xmlns:a14="http://schemas.microsoft.com/office/drawing/2010/main" val="0"/>
              </a:ext>
            </a:extLst>
          </a:blip>
          <a:srcRect t="21745" b="32540"/>
          <a:stretch/>
        </p:blipFill>
        <p:spPr>
          <a:xfrm>
            <a:off x="9196146" y="3066291"/>
            <a:ext cx="1277484" cy="422464"/>
          </a:xfrm>
          <a:prstGeom prst="rect">
            <a:avLst/>
          </a:prstGeom>
        </p:spPr>
      </p:pic>
      <p:pic>
        <p:nvPicPr>
          <p:cNvPr id="114" name="Picture 113"/>
          <p:cNvPicPr>
            <a:picLocks noChangeAspect="1"/>
          </p:cNvPicPr>
          <p:nvPr/>
        </p:nvPicPr>
        <p:blipFill>
          <a:blip r:embed="rId7"/>
          <a:stretch>
            <a:fillRect/>
          </a:stretch>
        </p:blipFill>
        <p:spPr>
          <a:xfrm>
            <a:off x="648808" y="2511609"/>
            <a:ext cx="1466272" cy="302752"/>
          </a:xfrm>
          <a:prstGeom prst="rect">
            <a:avLst/>
          </a:prstGeom>
        </p:spPr>
      </p:pic>
      <p:pic>
        <p:nvPicPr>
          <p:cNvPr id="115" name="Picture 114"/>
          <p:cNvPicPr>
            <a:picLocks noChangeAspect="1"/>
          </p:cNvPicPr>
          <p:nvPr/>
        </p:nvPicPr>
        <p:blipFill rotWithShape="1">
          <a:blip r:embed="rId8" cstate="print">
            <a:extLst>
              <a:ext uri="{28A0092B-C50C-407E-A947-70E740481C1C}">
                <a14:useLocalDpi xmlns:a14="http://schemas.microsoft.com/office/drawing/2010/main" val="0"/>
              </a:ext>
            </a:extLst>
          </a:blip>
          <a:srcRect t="7014" b="6823"/>
          <a:stretch/>
        </p:blipFill>
        <p:spPr>
          <a:xfrm>
            <a:off x="4281854" y="5854184"/>
            <a:ext cx="1504044" cy="548416"/>
          </a:xfrm>
          <a:prstGeom prst="rect">
            <a:avLst/>
          </a:prstGeom>
        </p:spPr>
      </p:pic>
      <p:pic>
        <p:nvPicPr>
          <p:cNvPr id="116" name="Picture 1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89837" y="2349173"/>
            <a:ext cx="1119726" cy="449158"/>
          </a:xfrm>
          <a:prstGeom prst="rect">
            <a:avLst/>
          </a:prstGeom>
        </p:spPr>
      </p:pic>
      <p:pic>
        <p:nvPicPr>
          <p:cNvPr id="117" name="Picture 11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858547" y="1734067"/>
            <a:ext cx="990176" cy="372768"/>
          </a:xfrm>
          <a:prstGeom prst="rect">
            <a:avLst/>
          </a:prstGeom>
        </p:spPr>
      </p:pic>
      <p:pic>
        <p:nvPicPr>
          <p:cNvPr id="118" name="Picture 11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728953" y="1761039"/>
            <a:ext cx="1197326" cy="464336"/>
          </a:xfrm>
          <a:prstGeom prst="rect">
            <a:avLst/>
          </a:prstGeom>
        </p:spPr>
      </p:pic>
      <p:pic>
        <p:nvPicPr>
          <p:cNvPr id="119" name="Picture 118"/>
          <p:cNvPicPr>
            <a:picLocks noChangeAspect="1"/>
          </p:cNvPicPr>
          <p:nvPr/>
        </p:nvPicPr>
        <p:blipFill>
          <a:blip r:embed="rId12"/>
          <a:stretch>
            <a:fillRect/>
          </a:stretch>
        </p:blipFill>
        <p:spPr>
          <a:xfrm>
            <a:off x="2455121" y="2941635"/>
            <a:ext cx="994556" cy="182418"/>
          </a:xfrm>
          <a:prstGeom prst="rect">
            <a:avLst/>
          </a:prstGeom>
        </p:spPr>
      </p:pic>
      <p:pic>
        <p:nvPicPr>
          <p:cNvPr id="120" name="Picture 11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864797" y="1372722"/>
            <a:ext cx="774820" cy="165804"/>
          </a:xfrm>
          <a:prstGeom prst="rect">
            <a:avLst/>
          </a:prstGeom>
        </p:spPr>
      </p:pic>
      <p:pic>
        <p:nvPicPr>
          <p:cNvPr id="121" name="Picture 120"/>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641706" y="1843679"/>
            <a:ext cx="1181640" cy="282172"/>
          </a:xfrm>
          <a:prstGeom prst="rect">
            <a:avLst/>
          </a:prstGeom>
        </p:spPr>
      </p:pic>
      <p:pic>
        <p:nvPicPr>
          <p:cNvPr id="122" name="Picture 121"/>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21843" y="1302646"/>
            <a:ext cx="672630" cy="331476"/>
          </a:xfrm>
          <a:prstGeom prst="rect">
            <a:avLst/>
          </a:prstGeom>
        </p:spPr>
      </p:pic>
      <p:pic>
        <p:nvPicPr>
          <p:cNvPr id="123" name="Picture 122"/>
          <p:cNvPicPr>
            <a:picLocks noChangeAspect="1"/>
          </p:cNvPicPr>
          <p:nvPr/>
        </p:nvPicPr>
        <p:blipFill>
          <a:blip r:embed="rId16"/>
          <a:stretch>
            <a:fillRect/>
          </a:stretch>
        </p:blipFill>
        <p:spPr>
          <a:xfrm>
            <a:off x="7069175" y="2416799"/>
            <a:ext cx="1072126" cy="243562"/>
          </a:xfrm>
          <a:prstGeom prst="rect">
            <a:avLst/>
          </a:prstGeom>
        </p:spPr>
      </p:pic>
      <p:pic>
        <p:nvPicPr>
          <p:cNvPr id="125"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710189" y="1329058"/>
            <a:ext cx="1123872" cy="19632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6" name="Picture 6" descr="http://res.cloudinary.com/octopusdeploy/image/upload/v1411729274/Logo-Text-BlueBlackWhite-400_f6zxbu.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417595" y="3776319"/>
            <a:ext cx="1438802" cy="280566"/>
          </a:xfrm>
          <a:prstGeom prst="rect">
            <a:avLst/>
          </a:prstGeom>
          <a:extLst>
            <a:ext uri="{909E8E84-426E-40DD-AFC4-6F175D3DCCD1}">
              <a14:hiddenFill xmlns:a14="http://schemas.microsoft.com/office/drawing/2010/main">
                <a:solidFill>
                  <a:srgbClr val="FFFFFF"/>
                </a:solidFill>
              </a14:hiddenFill>
            </a:ext>
          </a:extLst>
        </p:spPr>
      </p:pic>
      <p:pic>
        <p:nvPicPr>
          <p:cNvPr id="127" name="Picture 8" descr="http://himss.eu/sites/default/files/ibm-logo.jp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666649" y="1244086"/>
            <a:ext cx="804274" cy="313814"/>
          </a:xfrm>
          <a:prstGeom prst="rect">
            <a:avLst/>
          </a:prstGeom>
          <a:extLst>
            <a:ext uri="{909E8E84-426E-40DD-AFC4-6F175D3DCCD1}">
              <a14:hiddenFill xmlns:a14="http://schemas.microsoft.com/office/drawing/2010/main">
                <a:solidFill>
                  <a:srgbClr val="FFFFFF"/>
                </a:solidFill>
              </a14:hiddenFill>
            </a:ext>
          </a:extLst>
        </p:spPr>
      </p:pic>
      <p:pic>
        <p:nvPicPr>
          <p:cNvPr id="128" name="Picture 12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444518" y="6141282"/>
            <a:ext cx="863542" cy="225270"/>
          </a:xfrm>
          <a:prstGeom prst="rect">
            <a:avLst/>
          </a:prstGeom>
        </p:spPr>
      </p:pic>
      <p:pic>
        <p:nvPicPr>
          <p:cNvPr id="129" name="Picture 128"/>
          <p:cNvPicPr>
            <a:picLocks noChangeAspect="1"/>
          </p:cNvPicPr>
          <p:nvPr/>
        </p:nvPicPr>
        <p:blipFill rotWithShape="1">
          <a:blip r:embed="rId21" cstate="print">
            <a:extLst>
              <a:ext uri="{28A0092B-C50C-407E-A947-70E740481C1C}">
                <a14:useLocalDpi xmlns:a14="http://schemas.microsoft.com/office/drawing/2010/main" val="0"/>
              </a:ext>
            </a:extLst>
          </a:blip>
          <a:srcRect r="3889"/>
          <a:stretch/>
        </p:blipFill>
        <p:spPr>
          <a:xfrm>
            <a:off x="3803248" y="3187427"/>
            <a:ext cx="1096788" cy="244706"/>
          </a:xfrm>
          <a:prstGeom prst="rect">
            <a:avLst/>
          </a:prstGeom>
        </p:spPr>
      </p:pic>
      <p:pic>
        <p:nvPicPr>
          <p:cNvPr id="130" name="Picture 129"/>
          <p:cNvPicPr>
            <a:picLocks noChangeAspect="1"/>
          </p:cNvPicPr>
          <p:nvPr/>
        </p:nvPicPr>
        <p:blipFill rotWithShape="1">
          <a:blip r:embed="rId22">
            <a:extLst>
              <a:ext uri="{28A0092B-C50C-407E-A947-70E740481C1C}">
                <a14:useLocalDpi xmlns:a14="http://schemas.microsoft.com/office/drawing/2010/main" val="0"/>
              </a:ext>
            </a:extLst>
          </a:blip>
          <a:srcRect t="35054" b="34474"/>
          <a:stretch/>
        </p:blipFill>
        <p:spPr>
          <a:xfrm>
            <a:off x="2499263" y="2337145"/>
            <a:ext cx="1107582" cy="337498"/>
          </a:xfrm>
          <a:prstGeom prst="rect">
            <a:avLst/>
          </a:prstGeom>
        </p:spPr>
      </p:pic>
      <p:pic>
        <p:nvPicPr>
          <p:cNvPr id="131" name="Picture 130"/>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5366560" y="2755670"/>
            <a:ext cx="1237688" cy="223736"/>
          </a:xfrm>
          <a:prstGeom prst="rect">
            <a:avLst/>
          </a:prstGeom>
        </p:spPr>
      </p:pic>
      <p:pic>
        <p:nvPicPr>
          <p:cNvPr id="132" name="Picture 131"/>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876388" y="5253194"/>
            <a:ext cx="1124328" cy="242092"/>
          </a:xfrm>
          <a:prstGeom prst="rect">
            <a:avLst/>
          </a:prstGeom>
        </p:spPr>
      </p:pic>
      <p:pic>
        <p:nvPicPr>
          <p:cNvPr id="133" name="Picture 13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5680908" y="4615914"/>
            <a:ext cx="1036926" cy="337726"/>
          </a:xfrm>
          <a:prstGeom prst="rect">
            <a:avLst/>
          </a:prstGeom>
        </p:spPr>
      </p:pic>
      <p:pic>
        <p:nvPicPr>
          <p:cNvPr id="134" name="Picture 133"/>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6784414" y="2950395"/>
            <a:ext cx="1079218" cy="302708"/>
          </a:xfrm>
          <a:prstGeom prst="rect">
            <a:avLst/>
          </a:prstGeom>
        </p:spPr>
      </p:pic>
      <p:pic>
        <p:nvPicPr>
          <p:cNvPr id="135" name="Picture 134"/>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6169267" y="5881080"/>
            <a:ext cx="447100" cy="447100"/>
          </a:xfrm>
          <a:prstGeom prst="rect">
            <a:avLst/>
          </a:prstGeom>
        </p:spPr>
      </p:pic>
      <p:pic>
        <p:nvPicPr>
          <p:cNvPr id="136" name="Picture 135"/>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0245755" y="4320496"/>
            <a:ext cx="1451352" cy="402104"/>
          </a:xfrm>
          <a:prstGeom prst="rect">
            <a:avLst/>
          </a:prstGeom>
        </p:spPr>
      </p:pic>
      <p:pic>
        <p:nvPicPr>
          <p:cNvPr id="137" name="Picture 136"/>
          <p:cNvPicPr>
            <a:picLocks noChangeAspect="1"/>
          </p:cNvPicPr>
          <p:nvPr/>
        </p:nvPicPr>
        <p:blipFill rotWithShape="1">
          <a:blip r:embed="rId29" cstate="print">
            <a:extLst>
              <a:ext uri="{28A0092B-C50C-407E-A947-70E740481C1C}">
                <a14:useLocalDpi xmlns:a14="http://schemas.microsoft.com/office/drawing/2010/main" val="0"/>
              </a:ext>
            </a:extLst>
          </a:blip>
          <a:srcRect t="26550" b="31411"/>
          <a:stretch/>
        </p:blipFill>
        <p:spPr>
          <a:xfrm>
            <a:off x="9080905" y="1671294"/>
            <a:ext cx="1004532" cy="422296"/>
          </a:xfrm>
          <a:prstGeom prst="rect">
            <a:avLst/>
          </a:prstGeom>
        </p:spPr>
      </p:pic>
      <p:pic>
        <p:nvPicPr>
          <p:cNvPr id="138" name="Picture 137"/>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554243" y="2736979"/>
            <a:ext cx="1250022" cy="388690"/>
          </a:xfrm>
          <a:prstGeom prst="rect">
            <a:avLst/>
          </a:prstGeom>
        </p:spPr>
      </p:pic>
      <p:pic>
        <p:nvPicPr>
          <p:cNvPr id="139" name="Picture 138"/>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529574" y="5516550"/>
            <a:ext cx="1012988" cy="257850"/>
          </a:xfrm>
          <a:prstGeom prst="rect">
            <a:avLst/>
          </a:prstGeom>
        </p:spPr>
      </p:pic>
      <p:pic>
        <p:nvPicPr>
          <p:cNvPr id="140" name="Picture 13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595476" y="1922601"/>
            <a:ext cx="997466" cy="287244"/>
          </a:xfrm>
          <a:prstGeom prst="rect">
            <a:avLst/>
          </a:prstGeom>
        </p:spPr>
      </p:pic>
      <p:pic>
        <p:nvPicPr>
          <p:cNvPr id="141" name="Picture 140"/>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5514491" y="2035717"/>
            <a:ext cx="1005434" cy="320482"/>
          </a:xfrm>
          <a:prstGeom prst="rect">
            <a:avLst/>
          </a:prstGeom>
        </p:spPr>
      </p:pic>
      <p:pic>
        <p:nvPicPr>
          <p:cNvPr id="142" name="Picture 141"/>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278095" y="3257286"/>
            <a:ext cx="1321284" cy="288864"/>
          </a:xfrm>
          <a:prstGeom prst="rect">
            <a:avLst/>
          </a:prstGeom>
        </p:spPr>
      </p:pic>
      <p:pic>
        <p:nvPicPr>
          <p:cNvPr id="143" name="Picture 142"/>
          <p:cNvPicPr>
            <a:picLocks noChangeAspect="1"/>
          </p:cNvPicPr>
          <p:nvPr/>
        </p:nvPicPr>
        <p:blipFill rotWithShape="1">
          <a:blip r:embed="rId35" cstate="print">
            <a:extLst>
              <a:ext uri="{28A0092B-C50C-407E-A947-70E740481C1C}">
                <a14:useLocalDpi xmlns:a14="http://schemas.microsoft.com/office/drawing/2010/main" val="0"/>
              </a:ext>
            </a:extLst>
          </a:blip>
          <a:srcRect t="15709" r="4558" b="24173"/>
          <a:stretch/>
        </p:blipFill>
        <p:spPr>
          <a:xfrm>
            <a:off x="8710231" y="1203088"/>
            <a:ext cx="1273084" cy="374930"/>
          </a:xfrm>
          <a:prstGeom prst="rect">
            <a:avLst/>
          </a:prstGeom>
        </p:spPr>
      </p:pic>
      <p:pic>
        <p:nvPicPr>
          <p:cNvPr id="144" name="Picture 143"/>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7594830" y="1509238"/>
            <a:ext cx="980094" cy="266060"/>
          </a:xfrm>
          <a:prstGeom prst="rect">
            <a:avLst/>
          </a:prstGeom>
        </p:spPr>
      </p:pic>
      <p:pic>
        <p:nvPicPr>
          <p:cNvPr id="145" name="Picture 144"/>
          <p:cNvPicPr>
            <a:picLocks noChangeAspect="1"/>
          </p:cNvPicPr>
          <p:nvPr/>
        </p:nvPicPr>
        <p:blipFill rotWithShape="1">
          <a:blip r:embed="rId37" cstate="print">
            <a:extLst>
              <a:ext uri="{28A0092B-C50C-407E-A947-70E740481C1C}">
                <a14:useLocalDpi xmlns:a14="http://schemas.microsoft.com/office/drawing/2010/main" val="0"/>
              </a:ext>
            </a:extLst>
          </a:blip>
          <a:srcRect t="7295" b="8644"/>
          <a:stretch/>
        </p:blipFill>
        <p:spPr>
          <a:xfrm>
            <a:off x="3032940" y="5914694"/>
            <a:ext cx="870174" cy="356650"/>
          </a:xfrm>
          <a:prstGeom prst="rect">
            <a:avLst/>
          </a:prstGeom>
        </p:spPr>
      </p:pic>
      <p:pic>
        <p:nvPicPr>
          <p:cNvPr id="146" name="Picture 145"/>
          <p:cNvPicPr>
            <a:picLocks noChangeAspect="1"/>
          </p:cNvPicPr>
          <p:nvPr/>
        </p:nvPicPr>
        <p:blipFill rotWithShape="1">
          <a:blip r:embed="rId38" cstate="print">
            <a:extLst>
              <a:ext uri="{28A0092B-C50C-407E-A947-70E740481C1C}">
                <a14:useLocalDpi xmlns:a14="http://schemas.microsoft.com/office/drawing/2010/main" val="0"/>
              </a:ext>
            </a:extLst>
          </a:blip>
          <a:srcRect t="12690" b="17711"/>
          <a:stretch/>
        </p:blipFill>
        <p:spPr>
          <a:xfrm>
            <a:off x="8489915" y="2263219"/>
            <a:ext cx="1079888" cy="309736"/>
          </a:xfrm>
          <a:prstGeom prst="rect">
            <a:avLst/>
          </a:prstGeom>
        </p:spPr>
      </p:pic>
      <p:pic>
        <p:nvPicPr>
          <p:cNvPr id="147" name="Picture 146"/>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4273534" y="4901256"/>
            <a:ext cx="842054" cy="316954"/>
          </a:xfrm>
          <a:prstGeom prst="rect">
            <a:avLst/>
          </a:prstGeom>
        </p:spPr>
      </p:pic>
      <p:pic>
        <p:nvPicPr>
          <p:cNvPr id="148" name="Picture 2" descr="MyFileBridge"/>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5289077" y="5210191"/>
            <a:ext cx="1067262" cy="39395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9" name="Picture 148"/>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7061778" y="5859814"/>
            <a:ext cx="1157592" cy="411904"/>
          </a:xfrm>
          <a:prstGeom prst="rect">
            <a:avLst/>
          </a:prstGeom>
        </p:spPr>
      </p:pic>
      <p:pic>
        <p:nvPicPr>
          <p:cNvPr id="150" name="Picture 149"/>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663361" y="3283322"/>
            <a:ext cx="1287324" cy="231692"/>
          </a:xfrm>
          <a:prstGeom prst="rect">
            <a:avLst/>
          </a:prstGeom>
        </p:spPr>
      </p:pic>
      <p:pic>
        <p:nvPicPr>
          <p:cNvPr id="151" name="Picture 150"/>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9776765" y="5897280"/>
            <a:ext cx="1027506" cy="357942"/>
          </a:xfrm>
          <a:prstGeom prst="rect">
            <a:avLst/>
          </a:prstGeom>
        </p:spPr>
      </p:pic>
      <p:pic>
        <p:nvPicPr>
          <p:cNvPr id="152" name="Picture 151"/>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9928410" y="5234704"/>
            <a:ext cx="878600" cy="474736"/>
          </a:xfrm>
          <a:prstGeom prst="rect">
            <a:avLst/>
          </a:prstGeom>
        </p:spPr>
      </p:pic>
      <p:pic>
        <p:nvPicPr>
          <p:cNvPr id="153" name="Picture 152"/>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986815" y="6132217"/>
            <a:ext cx="1461044" cy="242224"/>
          </a:xfrm>
          <a:prstGeom prst="rect">
            <a:avLst/>
          </a:prstGeom>
        </p:spPr>
      </p:pic>
      <p:pic>
        <p:nvPicPr>
          <p:cNvPr id="154" name="Picture 2" descr="http://www.appzero.com/sites/default/files/content/appzero_logo_.pngforweb.png"/>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3598471" y="1847634"/>
            <a:ext cx="1351752" cy="175652"/>
          </a:xfrm>
          <a:prstGeom prst="rect">
            <a:avLst/>
          </a:prstGeom>
          <a:extLst>
            <a:ext uri="{909E8E84-426E-40DD-AFC4-6F175D3DCCD1}">
              <a14:hiddenFill xmlns:a14="http://schemas.microsoft.com/office/drawing/2010/main">
                <a:solidFill>
                  <a:srgbClr val="FFFFFF"/>
                </a:solidFill>
              </a14:hiddenFill>
            </a:ext>
          </a:extLst>
        </p:spPr>
      </p:pic>
      <p:pic>
        <p:nvPicPr>
          <p:cNvPr id="155" name="Picture 4" descr="http://www.metavistech.com/sites/all/themes/custom/metavistech_design/img/logo.png"/>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10977798" y="2510058"/>
            <a:ext cx="856498" cy="243688"/>
          </a:xfrm>
          <a:prstGeom prst="rect">
            <a:avLst/>
          </a:prstGeom>
          <a:extLst>
            <a:ext uri="{909E8E84-426E-40DD-AFC4-6F175D3DCCD1}">
              <a14:hiddenFill xmlns:a14="http://schemas.microsoft.com/office/drawing/2010/main">
                <a:solidFill>
                  <a:srgbClr val="FFFFFF"/>
                </a:solidFill>
              </a14:hiddenFill>
            </a:ext>
          </a:extLst>
        </p:spPr>
      </p:pic>
      <p:pic>
        <p:nvPicPr>
          <p:cNvPr id="156" name="Picture 155"/>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8472291" y="5676515"/>
            <a:ext cx="1074018" cy="257950"/>
          </a:xfrm>
          <a:prstGeom prst="rect">
            <a:avLst/>
          </a:prstGeom>
        </p:spPr>
      </p:pic>
      <p:pic>
        <p:nvPicPr>
          <p:cNvPr id="157" name="Picture 156"/>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2410243" y="3485716"/>
            <a:ext cx="541012" cy="534332"/>
          </a:xfrm>
          <a:prstGeom prst="rect">
            <a:avLst/>
          </a:prstGeom>
        </p:spPr>
      </p:pic>
      <p:pic>
        <p:nvPicPr>
          <p:cNvPr id="158" name="Picture 157"/>
          <p:cNvPicPr>
            <a:picLocks noChangeAspect="1"/>
          </p:cNvPicPr>
          <p:nvPr/>
        </p:nvPicPr>
        <p:blipFill rotWithShape="1">
          <a:blip r:embed="rId50" cstate="print">
            <a:extLst>
              <a:ext uri="{28A0092B-C50C-407E-A947-70E740481C1C}">
                <a14:useLocalDpi xmlns:a14="http://schemas.microsoft.com/office/drawing/2010/main" val="0"/>
              </a:ext>
            </a:extLst>
          </a:blip>
          <a:srcRect t="25992" b="25674"/>
          <a:stretch/>
        </p:blipFill>
        <p:spPr>
          <a:xfrm>
            <a:off x="7054319" y="4698786"/>
            <a:ext cx="876166" cy="423488"/>
          </a:xfrm>
          <a:prstGeom prst="rect">
            <a:avLst/>
          </a:prstGeom>
        </p:spPr>
      </p:pic>
      <p:pic>
        <p:nvPicPr>
          <p:cNvPr id="160" name="Picture 74" descr="http://www.filecluster.com/news/wp-content/uploads/2014/05/Symantec-Logo.png"/>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4405736" y="3640359"/>
            <a:ext cx="1161772" cy="367118"/>
          </a:xfrm>
          <a:prstGeom prst="rect">
            <a:avLst/>
          </a:prstGeom>
          <a:extLst>
            <a:ext uri="{909E8E84-426E-40DD-AFC4-6F175D3DCCD1}">
              <a14:hiddenFill xmlns:a14="http://schemas.microsoft.com/office/drawing/2010/main">
                <a:solidFill>
                  <a:srgbClr val="FFFFFF"/>
                </a:solidFill>
              </a14:hiddenFill>
            </a:ext>
          </a:extLst>
        </p:spPr>
      </p:pic>
      <p:pic>
        <p:nvPicPr>
          <p:cNvPr id="161" name="Picture 78" descr="http://www.kuali.org/sites/default/files/foundation/images/AppDynamics_Logo.png"/>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580997" y="5243221"/>
            <a:ext cx="690506" cy="561608"/>
          </a:xfrm>
          <a:prstGeom prst="rect">
            <a:avLst/>
          </a:prstGeom>
          <a:extLst>
            <a:ext uri="{909E8E84-426E-40DD-AFC4-6F175D3DCCD1}">
              <a14:hiddenFill xmlns:a14="http://schemas.microsoft.com/office/drawing/2010/main">
                <a:solidFill>
                  <a:srgbClr val="FFFFFF"/>
                </a:solidFill>
              </a14:hiddenFill>
            </a:ext>
          </a:extLst>
        </p:spPr>
      </p:pic>
      <p:pic>
        <p:nvPicPr>
          <p:cNvPr id="162" name="Picture 84" descr="http://ayende.com/blog/Images/Windows-Live-Writer/RavenDB-2.5-is-out--about_BA68/RavenDB_Logo_5.png"/>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7733047" y="3508406"/>
            <a:ext cx="1243114" cy="270138"/>
          </a:xfrm>
          <a:prstGeom prst="rect">
            <a:avLst/>
          </a:prstGeom>
          <a:extLst>
            <a:ext uri="{909E8E84-426E-40DD-AFC4-6F175D3DCCD1}">
              <a14:hiddenFill xmlns:a14="http://schemas.microsoft.com/office/drawing/2010/main">
                <a:solidFill>
                  <a:srgbClr val="FFFFFF"/>
                </a:solidFill>
              </a14:hiddenFill>
            </a:ext>
          </a:extLst>
        </p:spPr>
      </p:pic>
      <p:pic>
        <p:nvPicPr>
          <p:cNvPr id="163" name="Picture 162" descr="http://wordimpress.com/assets/wordpressIcon2.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3440990" y="3790263"/>
            <a:ext cx="489264" cy="436842"/>
          </a:xfrm>
          <a:prstGeom prst="rect">
            <a:avLst/>
          </a:prstGeom>
          <a:extLst>
            <a:ext uri="{909E8E84-426E-40DD-AFC4-6F175D3DCCD1}">
              <a14:hiddenFill xmlns:a14="http://schemas.microsoft.com/office/drawing/2010/main">
                <a:solidFill>
                  <a:srgbClr val="FFFFFF"/>
                </a:solidFill>
              </a14:hiddenFill>
            </a:ext>
          </a:extLst>
        </p:spPr>
      </p:pic>
      <p:pic>
        <p:nvPicPr>
          <p:cNvPr id="164" name="Picture 88" descr="http://www.analystone.com/wp-content/uploads/2013/03/cloudant.png"/>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5603523" y="3977844"/>
            <a:ext cx="455096" cy="456008"/>
          </a:xfrm>
          <a:prstGeom prst="rect">
            <a:avLst/>
          </a:prstGeom>
          <a:extLst>
            <a:ext uri="{909E8E84-426E-40DD-AFC4-6F175D3DCCD1}">
              <a14:hiddenFill xmlns:a14="http://schemas.microsoft.com/office/drawing/2010/main">
                <a:solidFill>
                  <a:srgbClr val="FFFFFF"/>
                </a:solidFill>
              </a14:hiddenFill>
            </a:ext>
          </a:extLst>
        </p:spPr>
      </p:pic>
      <p:pic>
        <p:nvPicPr>
          <p:cNvPr id="165" name="Picture 90" descr="http://res.cloudinary.com/cloudinary/image/upload/p2ntnbwskfy47lnc6quu.png"/>
          <p:cNvPicPr>
            <a:picLocks noChangeAspect="1" noChangeArrowheads="1"/>
          </p:cNvPicPr>
          <p:nvPr/>
        </p:nvPicPr>
        <p:blipFill>
          <a:blip r:embed="rId56" cstate="print">
            <a:extLst>
              <a:ext uri="{28A0092B-C50C-407E-A947-70E740481C1C}">
                <a14:useLocalDpi xmlns:a14="http://schemas.microsoft.com/office/drawing/2010/main" val="0"/>
              </a:ext>
            </a:extLst>
          </a:blip>
          <a:srcRect/>
          <a:stretch>
            <a:fillRect/>
          </a:stretch>
        </p:blipFill>
        <p:spPr bwMode="auto">
          <a:xfrm>
            <a:off x="9539323" y="3903821"/>
            <a:ext cx="464140" cy="759268"/>
          </a:xfrm>
          <a:prstGeom prst="rect">
            <a:avLst/>
          </a:prstGeom>
          <a:extLst>
            <a:ext uri="{909E8E84-426E-40DD-AFC4-6F175D3DCCD1}">
              <a14:hiddenFill xmlns:a14="http://schemas.microsoft.com/office/drawing/2010/main">
                <a:solidFill>
                  <a:srgbClr val="FFFFFF"/>
                </a:solidFill>
              </a14:hiddenFill>
            </a:ext>
          </a:extLst>
        </p:spPr>
      </p:pic>
      <p:pic>
        <p:nvPicPr>
          <p:cNvPr id="166" name="Picture 94" descr="https://www.memcachier.com/assets/logo.pn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10713850" y="3206011"/>
            <a:ext cx="1145090" cy="171764"/>
          </a:xfrm>
          <a:prstGeom prst="rect">
            <a:avLst/>
          </a:prstGeom>
          <a:extLst>
            <a:ext uri="{909E8E84-426E-40DD-AFC4-6F175D3DCCD1}">
              <a14:hiddenFill xmlns:a14="http://schemas.microsoft.com/office/drawing/2010/main">
                <a:solidFill>
                  <a:srgbClr val="FFFFFF"/>
                </a:solidFill>
              </a14:hiddenFill>
            </a:ext>
          </a:extLst>
        </p:spPr>
      </p:pic>
      <p:pic>
        <p:nvPicPr>
          <p:cNvPr id="167" name="Picture 8" descr="https://www.percona.com/live/mysql-conference-2013/sites/default/files/clearDB.png"/>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9527237" y="4849811"/>
            <a:ext cx="1067058" cy="400146"/>
          </a:xfrm>
          <a:prstGeom prst="rect">
            <a:avLst/>
          </a:prstGeom>
          <a:extLst>
            <a:ext uri="{909E8E84-426E-40DD-AFC4-6F175D3DCCD1}">
              <a14:hiddenFill xmlns:a14="http://schemas.microsoft.com/office/drawing/2010/main">
                <a:solidFill>
                  <a:srgbClr val="FFFFFF"/>
                </a:solidFill>
              </a14:hiddenFill>
            </a:ext>
          </a:extLst>
        </p:spPr>
      </p:pic>
      <p:pic>
        <p:nvPicPr>
          <p:cNvPr id="168" name="Picture 12" descr="http://design.ubuntu.com/wp-content/uploads/logo-ubuntu_st_no%C2%AE-orange-hex.png"/>
          <p:cNvPicPr>
            <a:picLocks noChangeAspect="1" noChangeArrowheads="1"/>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6936071" y="3938701"/>
            <a:ext cx="1093832" cy="773304"/>
          </a:xfrm>
          <a:prstGeom prst="rect">
            <a:avLst/>
          </a:prstGeom>
          <a:extLst>
            <a:ext uri="{909E8E84-426E-40DD-AFC4-6F175D3DCCD1}">
              <a14:hiddenFill xmlns:a14="http://schemas.microsoft.com/office/drawing/2010/main">
                <a:solidFill>
                  <a:srgbClr val="FFFFFF"/>
                </a:solidFill>
              </a14:hiddenFill>
            </a:ext>
          </a:extLst>
        </p:spPr>
      </p:pic>
      <p:pic>
        <p:nvPicPr>
          <p:cNvPr id="169" name="Picture 14" descr="https://wiki.videolan.org/images/archive/20111228204602!Centos.png"/>
          <p:cNvPicPr>
            <a:picLocks noChangeAspect="1" noChangeArrowheads="1"/>
          </p:cNvPicPr>
          <p:nvPr/>
        </p:nvPicPr>
        <p:blipFill>
          <a:blip r:embed="rId60" cstate="print">
            <a:extLst>
              <a:ext uri="{28A0092B-C50C-407E-A947-70E740481C1C}">
                <a14:useLocalDpi xmlns:a14="http://schemas.microsoft.com/office/drawing/2010/main" val="0"/>
              </a:ext>
            </a:extLst>
          </a:blip>
          <a:srcRect/>
          <a:stretch>
            <a:fillRect/>
          </a:stretch>
        </p:blipFill>
        <p:spPr bwMode="auto">
          <a:xfrm>
            <a:off x="8225990" y="3982132"/>
            <a:ext cx="1042512" cy="398334"/>
          </a:xfrm>
          <a:prstGeom prst="rect">
            <a:avLst/>
          </a:prstGeom>
          <a:extLst>
            <a:ext uri="{909E8E84-426E-40DD-AFC4-6F175D3DCCD1}">
              <a14:hiddenFill xmlns:a14="http://schemas.microsoft.com/office/drawing/2010/main">
                <a:solidFill>
                  <a:srgbClr val="FFFFFF"/>
                </a:solidFill>
              </a14:hiddenFill>
            </a:ext>
          </a:extLst>
        </p:spPr>
      </p:pic>
      <p:pic>
        <p:nvPicPr>
          <p:cNvPr id="170" name="Picture 16" descr="http://www.lex-web.net/wp2012/wordpress/wp-content/uploads/2011/02/Linux_Logo.png"/>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9859098" y="2162857"/>
            <a:ext cx="383196" cy="450886"/>
          </a:xfrm>
          <a:prstGeom prst="rect">
            <a:avLst/>
          </a:prstGeom>
          <a:extLst>
            <a:ext uri="{909E8E84-426E-40DD-AFC4-6F175D3DCCD1}">
              <a14:hiddenFill xmlns:a14="http://schemas.microsoft.com/office/drawing/2010/main">
                <a:solidFill>
                  <a:srgbClr val="FFFFFF"/>
                </a:solidFill>
              </a14:hiddenFill>
            </a:ext>
          </a:extLst>
        </p:spPr>
      </p:pic>
      <p:pic>
        <p:nvPicPr>
          <p:cNvPr id="171" name="Picture 18" descr="http://www.comunidadtic.com.ar/wp/wp-content/subidas/2012/05/suse.png"/>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4050389" y="3737302"/>
            <a:ext cx="1676010" cy="1295098"/>
          </a:xfrm>
          <a:prstGeom prst="rect">
            <a:avLst/>
          </a:prstGeom>
          <a:extLst>
            <a:ext uri="{909E8E84-426E-40DD-AFC4-6F175D3DCCD1}">
              <a14:hiddenFill xmlns:a14="http://schemas.microsoft.com/office/drawing/2010/main">
                <a:solidFill>
                  <a:srgbClr val="FFFFFF"/>
                </a:solidFill>
              </a14:hiddenFill>
            </a:ext>
          </a:extLst>
        </p:spPr>
      </p:pic>
      <p:pic>
        <p:nvPicPr>
          <p:cNvPr id="172" name="Picture 22" descr="http://kinlane-productions.s3.amazonaws.com/api-evangelist-site/company/logos/dreamfactory.png"/>
          <p:cNvPicPr>
            <a:picLocks noChangeAspect="1" noChangeArrowheads="1"/>
          </p:cNvPicPr>
          <p:nvPr/>
        </p:nvPicPr>
        <p:blipFill rotWithShape="1">
          <a:blip r:embed="rId63" cstate="print">
            <a:extLst>
              <a:ext uri="{28A0092B-C50C-407E-A947-70E740481C1C}">
                <a14:useLocalDpi xmlns:a14="http://schemas.microsoft.com/office/drawing/2010/main" val="0"/>
              </a:ext>
            </a:extLst>
          </a:blip>
          <a:stretch/>
        </p:blipFill>
        <p:spPr bwMode="auto">
          <a:xfrm>
            <a:off x="6159511" y="3561502"/>
            <a:ext cx="980949" cy="590232"/>
          </a:xfrm>
          <a:prstGeom prst="rect">
            <a:avLst/>
          </a:prstGeom>
          <a:extLst>
            <a:ext uri="{909E8E84-426E-40DD-AFC4-6F175D3DCCD1}">
              <a14:hiddenFill xmlns:a14="http://schemas.microsoft.com/office/drawing/2010/main">
                <a:solidFill>
                  <a:srgbClr val="FFFFFF"/>
                </a:solidFill>
              </a14:hiddenFill>
            </a:ext>
          </a:extLst>
        </p:spPr>
      </p:pic>
      <p:pic>
        <p:nvPicPr>
          <p:cNvPr id="173" name="Picture 24" descr="https://d33np9n32j53g7.cloudfront.net/assets/stacks/rubystack/img/rubystack-stack-110x117-cdb307d10e46a746b64be8523a5b228f.pn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10998956" y="4785728"/>
            <a:ext cx="541606" cy="576072"/>
          </a:xfrm>
          <a:prstGeom prst="rect">
            <a:avLst/>
          </a:prstGeom>
          <a:extLst>
            <a:ext uri="{909E8E84-426E-40DD-AFC4-6F175D3DCCD1}">
              <a14:hiddenFill xmlns:a14="http://schemas.microsoft.com/office/drawing/2010/main">
                <a:solidFill>
                  <a:srgbClr val="FFFFFF"/>
                </a:solidFill>
              </a14:hiddenFill>
            </a:ext>
          </a:extLst>
        </p:spPr>
      </p:pic>
      <p:pic>
        <p:nvPicPr>
          <p:cNvPr id="174" name="Picture 26" descr="http://www.microwebworld.naukrihire.com/images/tec/cakephp.png"/>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981808" y="5362244"/>
            <a:ext cx="1062392" cy="313888"/>
          </a:xfrm>
          <a:prstGeom prst="rect">
            <a:avLst/>
          </a:prstGeom>
          <a:extLst>
            <a:ext uri="{909E8E84-426E-40DD-AFC4-6F175D3DCCD1}">
              <a14:hiddenFill xmlns:a14="http://schemas.microsoft.com/office/drawing/2010/main">
                <a:solidFill>
                  <a:srgbClr val="FFFFFF"/>
                </a:solidFill>
              </a14:hiddenFill>
            </a:ext>
          </a:extLst>
        </p:spPr>
      </p:pic>
      <p:pic>
        <p:nvPicPr>
          <p:cNvPr id="175" name="Picture 2" descr="http://newrelic.com/assets/newrelic/logo_NR-fb.png"/>
          <p:cNvPicPr>
            <a:picLocks noChangeAspect="1" noChangeArrowheads="1"/>
          </p:cNvPicPr>
          <p:nvPr/>
        </p:nvPicPr>
        <p:blipFill>
          <a:blip r:embed="rId66" cstate="print">
            <a:extLst>
              <a:ext uri="{28A0092B-C50C-407E-A947-70E740481C1C}">
                <a14:useLocalDpi xmlns:a14="http://schemas.microsoft.com/office/drawing/2010/main" val="0"/>
              </a:ext>
            </a:extLst>
          </a:blip>
          <a:srcRect/>
          <a:stretch>
            <a:fillRect/>
          </a:stretch>
        </p:blipFill>
        <p:spPr bwMode="auto">
          <a:xfrm>
            <a:off x="5830276" y="980457"/>
            <a:ext cx="1320916" cy="880612"/>
          </a:xfrm>
          <a:prstGeom prst="rect">
            <a:avLst/>
          </a:prstGeom>
          <a:extLst>
            <a:ext uri="{909E8E84-426E-40DD-AFC4-6F175D3DCCD1}">
              <a14:hiddenFill xmlns:a14="http://schemas.microsoft.com/office/drawing/2010/main">
                <a:solidFill>
                  <a:srgbClr val="FFFFFF"/>
                </a:solidFill>
              </a14:hiddenFill>
            </a:ext>
          </a:extLst>
        </p:spPr>
      </p:pic>
      <p:pic>
        <p:nvPicPr>
          <p:cNvPr id="176" name="Picture 12" descr="http://www.puppetlabs.com/wp-content/uploads/2010/07/Puppet-Labs-horizontal.png"/>
          <p:cNvPicPr>
            <a:picLocks noChangeAspect="1"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8328602" y="4755323"/>
            <a:ext cx="985482" cy="460064"/>
          </a:xfrm>
          <a:prstGeom prst="rect">
            <a:avLst/>
          </a:prstGeom>
          <a:extLst>
            <a:ext uri="{909E8E84-426E-40DD-AFC4-6F175D3DCCD1}">
              <a14:hiddenFill xmlns:a14="http://schemas.microsoft.com/office/drawing/2010/main">
                <a:solidFill>
                  <a:srgbClr val="FFFFFF"/>
                </a:solidFill>
              </a14:hiddenFill>
            </a:ext>
          </a:extLst>
        </p:spPr>
      </p:pic>
      <p:pic>
        <p:nvPicPr>
          <p:cNvPr id="177" name="Picture 4" descr="http://upload.wikimedia.org/wikipedia/en/thumb/e/eb/MongoDB_Logo.png/640px-MongoDB_Logo.png"/>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8057171" y="2727752"/>
            <a:ext cx="1303308" cy="382846"/>
          </a:xfrm>
          <a:prstGeom prst="rect">
            <a:avLst/>
          </a:prstGeom>
          <a:extLst>
            <a:ext uri="{909E8E84-426E-40DD-AFC4-6F175D3DCCD1}">
              <a14:hiddenFill xmlns:a14="http://schemas.microsoft.com/office/drawing/2010/main">
                <a:solidFill>
                  <a:srgbClr val="FFFFFF"/>
                </a:solidFill>
              </a14:hiddenFill>
            </a:ext>
          </a:extLst>
        </p:spPr>
      </p:pic>
      <p:pic>
        <p:nvPicPr>
          <p:cNvPr id="179" name="Picture 28" descr="http://2yj23r14cytosbxol4cavq337g.wpengine.netdna-cdn.com/wp-content/uploads/2014/12/docker.png"/>
          <p:cNvPicPr>
            <a:picLocks noChangeAspect="1" noChangeArrowheads="1"/>
          </p:cNvPicPr>
          <p:nvPr/>
        </p:nvPicPr>
        <p:blipFill>
          <a:blip r:embed="rId69" cstate="print">
            <a:extLst>
              <a:ext uri="{28A0092B-C50C-407E-A947-70E740481C1C}">
                <a14:useLocalDpi xmlns:a14="http://schemas.microsoft.com/office/drawing/2010/main" val="0"/>
              </a:ext>
            </a:extLst>
          </a:blip>
          <a:srcRect/>
          <a:stretch>
            <a:fillRect/>
          </a:stretch>
        </p:blipFill>
        <p:spPr bwMode="auto">
          <a:xfrm>
            <a:off x="614050" y="3957044"/>
            <a:ext cx="1571556" cy="532424"/>
          </a:xfrm>
          <a:prstGeom prst="rect">
            <a:avLst/>
          </a:prstGeom>
          <a:extLst>
            <a:ext uri="{909E8E84-426E-40DD-AFC4-6F175D3DCCD1}">
              <a14:hiddenFill xmlns:a14="http://schemas.microsoft.com/office/drawing/2010/main">
                <a:solidFill>
                  <a:srgbClr val="FFFFFF"/>
                </a:solidFill>
              </a14:hiddenFill>
            </a:ext>
          </a:extLst>
        </p:spPr>
      </p:pic>
      <p:pic>
        <p:nvPicPr>
          <p:cNvPr id="1026" name="Picture 2" descr="http://logonoid.com/images/splunk-logo.png"/>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3146475" y="1184320"/>
            <a:ext cx="1080820" cy="375458"/>
          </a:xfrm>
          <a:prstGeom prst="rect">
            <a:avLst/>
          </a:prstGeom>
          <a:extLst>
            <a:ext uri="{909E8E84-426E-40DD-AFC4-6F175D3DCCD1}">
              <a14:hiddenFill xmlns:a14="http://schemas.microsoft.com/office/drawing/2010/main">
                <a:solidFill>
                  <a:srgbClr val="FFFFFF"/>
                </a:solidFill>
              </a14:hiddenFill>
            </a:ext>
          </a:extLst>
        </p:spPr>
      </p:pic>
      <p:pic>
        <p:nvPicPr>
          <p:cNvPr id="2" name="Picture 2" descr="Red Hat">
            <a:extLst>
              <a:ext uri="{FF2B5EF4-FFF2-40B4-BE49-F238E27FC236}">
                <a16:creationId xmlns:a16="http://schemas.microsoft.com/office/drawing/2014/main" id="{9A52F72C-1325-44E3-B328-642C6AE7A620}"/>
              </a:ext>
            </a:extLst>
          </p:cNvPr>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11164600" y="5835900"/>
            <a:ext cx="484128" cy="484126"/>
          </a:xfrm>
          <a:prstGeom prst="rect">
            <a:avLst/>
          </a:prstGeom>
          <a:extLst>
            <a:ext uri="{909E8E84-426E-40DD-AFC4-6F175D3DCCD1}">
              <a14:hiddenFill xmlns:a14="http://schemas.microsoft.com/office/drawing/2010/main">
                <a:solidFill>
                  <a:srgbClr val="FFFFFF"/>
                </a:solidFill>
              </a14:hiddenFill>
            </a:ext>
          </a:extLst>
        </p:spPr>
      </p:pic>
      <p:sp>
        <p:nvSpPr>
          <p:cNvPr id="72" name="Title 1">
            <a:extLst>
              <a:ext uri="{FF2B5EF4-FFF2-40B4-BE49-F238E27FC236}">
                <a16:creationId xmlns:a16="http://schemas.microsoft.com/office/drawing/2014/main" id="{546659CD-4AC9-458A-B0F5-E12C6984E48E}"/>
              </a:ext>
            </a:extLst>
          </p:cNvPr>
          <p:cNvSpPr>
            <a:spLocks noGrp="1"/>
          </p:cNvSpPr>
          <p:nvPr>
            <p:ph type="title"/>
          </p:nvPr>
        </p:nvSpPr>
        <p:spPr/>
        <p:txBody>
          <a:bodyPr/>
          <a:lstStyle/>
          <a:p>
            <a:r>
              <a:rPr lang="en-US" dirty="0"/>
              <a:t>Leverage Azure Marketplace</a:t>
            </a:r>
          </a:p>
        </p:txBody>
      </p:sp>
      <p:sp>
        <p:nvSpPr>
          <p:cNvPr id="9" name="Rectangle 8">
            <a:extLst>
              <a:ext uri="{FF2B5EF4-FFF2-40B4-BE49-F238E27FC236}">
                <a16:creationId xmlns:a16="http://schemas.microsoft.com/office/drawing/2014/main" id="{E05F1FAB-2ED6-4B8B-98D8-1B269DDC8AA0}"/>
              </a:ext>
            </a:extLst>
          </p:cNvPr>
          <p:cNvSpPr/>
          <p:nvPr/>
        </p:nvSpPr>
        <p:spPr bwMode="auto">
          <a:xfrm>
            <a:off x="465138" y="1115368"/>
            <a:ext cx="11506200" cy="5529907"/>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8595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2"/>
                                        </p:tgtEl>
                                        <p:attrNameLst>
                                          <p:attrName>style.visibility</p:attrName>
                                        </p:attrNameLst>
                                      </p:cBhvr>
                                      <p:to>
                                        <p:strVal val="visible"/>
                                      </p:to>
                                    </p:set>
                                    <p:animEffect transition="in" filter="fade">
                                      <p:cBhvr>
                                        <p:cTn id="7" dur="200"/>
                                        <p:tgtEl>
                                          <p:spTgt spid="122"/>
                                        </p:tgtEl>
                                      </p:cBhvr>
                                    </p:animEffect>
                                  </p:childTnLst>
                                </p:cTn>
                              </p:par>
                            </p:childTnLst>
                          </p:cTn>
                        </p:par>
                        <p:par>
                          <p:cTn id="8" fill="hold">
                            <p:stCondLst>
                              <p:cond delay="200"/>
                            </p:stCondLst>
                            <p:childTnLst>
                              <p:par>
                                <p:cTn id="9" presetID="10" presetClass="entr" presetSubtype="0" fill="hold" nodeType="afterEffect">
                                  <p:stCondLst>
                                    <p:cond delay="0"/>
                                  </p:stCondLst>
                                  <p:childTnLst>
                                    <p:set>
                                      <p:cBhvr>
                                        <p:cTn id="10" dur="1" fill="hold">
                                          <p:stCondLst>
                                            <p:cond delay="0"/>
                                          </p:stCondLst>
                                        </p:cTn>
                                        <p:tgtEl>
                                          <p:spTgt spid="146"/>
                                        </p:tgtEl>
                                        <p:attrNameLst>
                                          <p:attrName>style.visibility</p:attrName>
                                        </p:attrNameLst>
                                      </p:cBhvr>
                                      <p:to>
                                        <p:strVal val="visible"/>
                                      </p:to>
                                    </p:set>
                                    <p:animEffect transition="in" filter="fade">
                                      <p:cBhvr>
                                        <p:cTn id="11" dur="100"/>
                                        <p:tgtEl>
                                          <p:spTgt spid="146"/>
                                        </p:tgtEl>
                                      </p:cBhvr>
                                    </p:animEffect>
                                  </p:childTnLst>
                                </p:cTn>
                              </p:par>
                            </p:childTnLst>
                          </p:cTn>
                        </p:par>
                        <p:par>
                          <p:cTn id="12" fill="hold">
                            <p:stCondLst>
                              <p:cond delay="300"/>
                            </p:stCondLst>
                            <p:childTnLst>
                              <p:par>
                                <p:cTn id="13" presetID="10" presetClass="entr" presetSubtype="0" fill="hold" nodeType="afterEffect">
                                  <p:stCondLst>
                                    <p:cond delay="0"/>
                                  </p:stCondLst>
                                  <p:childTnLst>
                                    <p:set>
                                      <p:cBhvr>
                                        <p:cTn id="14" dur="1" fill="hold">
                                          <p:stCondLst>
                                            <p:cond delay="0"/>
                                          </p:stCondLst>
                                        </p:cTn>
                                        <p:tgtEl>
                                          <p:spTgt spid="134"/>
                                        </p:tgtEl>
                                        <p:attrNameLst>
                                          <p:attrName>style.visibility</p:attrName>
                                        </p:attrNameLst>
                                      </p:cBhvr>
                                      <p:to>
                                        <p:strVal val="visible"/>
                                      </p:to>
                                    </p:set>
                                    <p:animEffect transition="in" filter="fade">
                                      <p:cBhvr>
                                        <p:cTn id="15" dur="100"/>
                                        <p:tgtEl>
                                          <p:spTgt spid="134"/>
                                        </p:tgtEl>
                                      </p:cBhvr>
                                    </p:animEffect>
                                  </p:childTnLst>
                                </p:cTn>
                              </p:par>
                            </p:childTnLst>
                          </p:cTn>
                        </p:par>
                        <p:par>
                          <p:cTn id="16" fill="hold">
                            <p:stCondLst>
                              <p:cond delay="400"/>
                            </p:stCondLst>
                            <p:childTnLst>
                              <p:par>
                                <p:cTn id="17" presetID="10" presetClass="entr" presetSubtype="0" fill="hold" nodeType="afterEffect">
                                  <p:stCondLst>
                                    <p:cond delay="0"/>
                                  </p:stCondLst>
                                  <p:childTnLst>
                                    <p:set>
                                      <p:cBhvr>
                                        <p:cTn id="18" dur="1" fill="hold">
                                          <p:stCondLst>
                                            <p:cond delay="0"/>
                                          </p:stCondLst>
                                        </p:cTn>
                                        <p:tgtEl>
                                          <p:spTgt spid="133"/>
                                        </p:tgtEl>
                                        <p:attrNameLst>
                                          <p:attrName>style.visibility</p:attrName>
                                        </p:attrNameLst>
                                      </p:cBhvr>
                                      <p:to>
                                        <p:strVal val="visible"/>
                                      </p:to>
                                    </p:set>
                                    <p:animEffect transition="in" filter="fade">
                                      <p:cBhvr>
                                        <p:cTn id="19" dur="100"/>
                                        <p:tgtEl>
                                          <p:spTgt spid="133"/>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150"/>
                                        </p:tgtEl>
                                        <p:attrNameLst>
                                          <p:attrName>style.visibility</p:attrName>
                                        </p:attrNameLst>
                                      </p:cBhvr>
                                      <p:to>
                                        <p:strVal val="visible"/>
                                      </p:to>
                                    </p:set>
                                    <p:animEffect transition="in" filter="fade">
                                      <p:cBhvr>
                                        <p:cTn id="23" dur="100"/>
                                        <p:tgtEl>
                                          <p:spTgt spid="150"/>
                                        </p:tgtEl>
                                      </p:cBhvr>
                                    </p:animEffect>
                                  </p:childTnLst>
                                </p:cTn>
                              </p:par>
                            </p:childTnLst>
                          </p:cTn>
                        </p:par>
                        <p:par>
                          <p:cTn id="24" fill="hold">
                            <p:stCondLst>
                              <p:cond delay="600"/>
                            </p:stCondLst>
                            <p:childTnLst>
                              <p:par>
                                <p:cTn id="25" presetID="10" presetClass="entr" presetSubtype="0" fill="hold" nodeType="afterEffect">
                                  <p:stCondLst>
                                    <p:cond delay="0"/>
                                  </p:stCondLst>
                                  <p:childTnLst>
                                    <p:set>
                                      <p:cBhvr>
                                        <p:cTn id="26" dur="1" fill="hold">
                                          <p:stCondLst>
                                            <p:cond delay="0"/>
                                          </p:stCondLst>
                                        </p:cTn>
                                        <p:tgtEl>
                                          <p:spTgt spid="156"/>
                                        </p:tgtEl>
                                        <p:attrNameLst>
                                          <p:attrName>style.visibility</p:attrName>
                                        </p:attrNameLst>
                                      </p:cBhvr>
                                      <p:to>
                                        <p:strVal val="visible"/>
                                      </p:to>
                                    </p:set>
                                    <p:animEffect transition="in" filter="fade">
                                      <p:cBhvr>
                                        <p:cTn id="27" dur="100"/>
                                        <p:tgtEl>
                                          <p:spTgt spid="156"/>
                                        </p:tgtEl>
                                      </p:cBhvr>
                                    </p:animEffect>
                                  </p:childTnLst>
                                </p:cTn>
                              </p:par>
                            </p:childTnLst>
                          </p:cTn>
                        </p:par>
                        <p:par>
                          <p:cTn id="28" fill="hold">
                            <p:stCondLst>
                              <p:cond delay="700"/>
                            </p:stCondLst>
                            <p:childTnLst>
                              <p:par>
                                <p:cTn id="29" presetID="10" presetClass="entr" presetSubtype="0" fill="hold" nodeType="afterEffect">
                                  <p:stCondLst>
                                    <p:cond delay="0"/>
                                  </p:stCondLst>
                                  <p:childTnLst>
                                    <p:set>
                                      <p:cBhvr>
                                        <p:cTn id="30" dur="1" fill="hold">
                                          <p:stCondLst>
                                            <p:cond delay="0"/>
                                          </p:stCondLst>
                                        </p:cTn>
                                        <p:tgtEl>
                                          <p:spTgt spid="158"/>
                                        </p:tgtEl>
                                        <p:attrNameLst>
                                          <p:attrName>style.visibility</p:attrName>
                                        </p:attrNameLst>
                                      </p:cBhvr>
                                      <p:to>
                                        <p:strVal val="visible"/>
                                      </p:to>
                                    </p:set>
                                    <p:animEffect transition="in" filter="fade">
                                      <p:cBhvr>
                                        <p:cTn id="31" dur="100"/>
                                        <p:tgtEl>
                                          <p:spTgt spid="158"/>
                                        </p:tgtEl>
                                      </p:cBhvr>
                                    </p:animEffect>
                                  </p:childTnLst>
                                </p:cTn>
                              </p:par>
                            </p:childTnLst>
                          </p:cTn>
                        </p:par>
                        <p:par>
                          <p:cTn id="32" fill="hold">
                            <p:stCondLst>
                              <p:cond delay="800"/>
                            </p:stCondLst>
                            <p:childTnLst>
                              <p:par>
                                <p:cTn id="33" presetID="10" presetClass="entr" presetSubtype="0" fill="hold" nodeType="afterEffect">
                                  <p:stCondLst>
                                    <p:cond delay="0"/>
                                  </p:stCondLst>
                                  <p:childTnLst>
                                    <p:set>
                                      <p:cBhvr>
                                        <p:cTn id="34" dur="1" fill="hold">
                                          <p:stCondLst>
                                            <p:cond delay="0"/>
                                          </p:stCondLst>
                                        </p:cTn>
                                        <p:tgtEl>
                                          <p:spTgt spid="173"/>
                                        </p:tgtEl>
                                        <p:attrNameLst>
                                          <p:attrName>style.visibility</p:attrName>
                                        </p:attrNameLst>
                                      </p:cBhvr>
                                      <p:to>
                                        <p:strVal val="visible"/>
                                      </p:to>
                                    </p:set>
                                    <p:animEffect transition="in" filter="fade">
                                      <p:cBhvr>
                                        <p:cTn id="35" dur="100"/>
                                        <p:tgtEl>
                                          <p:spTgt spid="173"/>
                                        </p:tgtEl>
                                      </p:cBhvr>
                                    </p:animEffect>
                                  </p:childTnLst>
                                </p:cTn>
                              </p:par>
                            </p:childTnLst>
                          </p:cTn>
                        </p:par>
                        <p:par>
                          <p:cTn id="36" fill="hold">
                            <p:stCondLst>
                              <p:cond delay="900"/>
                            </p:stCondLst>
                            <p:childTnLst>
                              <p:par>
                                <p:cTn id="37" presetID="10" presetClass="entr" presetSubtype="0" fill="hold" nodeType="afterEffect">
                                  <p:stCondLst>
                                    <p:cond delay="0"/>
                                  </p:stCondLst>
                                  <p:childTnLst>
                                    <p:set>
                                      <p:cBhvr>
                                        <p:cTn id="38" dur="1" fill="hold">
                                          <p:stCondLst>
                                            <p:cond delay="0"/>
                                          </p:stCondLst>
                                        </p:cTn>
                                        <p:tgtEl>
                                          <p:spTgt spid="136"/>
                                        </p:tgtEl>
                                        <p:attrNameLst>
                                          <p:attrName>style.visibility</p:attrName>
                                        </p:attrNameLst>
                                      </p:cBhvr>
                                      <p:to>
                                        <p:strVal val="visible"/>
                                      </p:to>
                                    </p:set>
                                    <p:animEffect transition="in" filter="fade">
                                      <p:cBhvr>
                                        <p:cTn id="39" dur="100"/>
                                        <p:tgtEl>
                                          <p:spTgt spid="136"/>
                                        </p:tgtEl>
                                      </p:cBhvr>
                                    </p:animEffect>
                                  </p:childTnLst>
                                </p:cTn>
                              </p:par>
                            </p:childTnLst>
                          </p:cTn>
                        </p:par>
                        <p:par>
                          <p:cTn id="40" fill="hold">
                            <p:stCondLst>
                              <p:cond delay="1000"/>
                            </p:stCondLst>
                            <p:childTnLst>
                              <p:par>
                                <p:cTn id="41" presetID="10" presetClass="entr" presetSubtype="0" fill="hold" nodeType="afterEffect">
                                  <p:stCondLst>
                                    <p:cond delay="0"/>
                                  </p:stCondLst>
                                  <p:childTnLst>
                                    <p:set>
                                      <p:cBhvr>
                                        <p:cTn id="42" dur="1" fill="hold">
                                          <p:stCondLst>
                                            <p:cond delay="0"/>
                                          </p:stCondLst>
                                        </p:cTn>
                                        <p:tgtEl>
                                          <p:spTgt spid="127"/>
                                        </p:tgtEl>
                                        <p:attrNameLst>
                                          <p:attrName>style.visibility</p:attrName>
                                        </p:attrNameLst>
                                      </p:cBhvr>
                                      <p:to>
                                        <p:strVal val="visible"/>
                                      </p:to>
                                    </p:set>
                                    <p:animEffect transition="in" filter="fade">
                                      <p:cBhvr>
                                        <p:cTn id="43" dur="100"/>
                                        <p:tgtEl>
                                          <p:spTgt spid="127"/>
                                        </p:tgtEl>
                                      </p:cBhvr>
                                    </p:animEffect>
                                  </p:childTnLst>
                                </p:cTn>
                              </p:par>
                            </p:childTnLst>
                          </p:cTn>
                        </p:par>
                        <p:par>
                          <p:cTn id="44" fill="hold">
                            <p:stCondLst>
                              <p:cond delay="1100"/>
                            </p:stCondLst>
                            <p:childTnLst>
                              <p:par>
                                <p:cTn id="45" presetID="10" presetClass="entr" presetSubtype="0" fill="hold" nodeType="afterEffect">
                                  <p:stCondLst>
                                    <p:cond delay="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100"/>
                                        <p:tgtEl>
                                          <p:spTgt spid="117"/>
                                        </p:tgtEl>
                                      </p:cBhvr>
                                    </p:animEffect>
                                  </p:childTnLst>
                                </p:cTn>
                              </p:par>
                            </p:childTnLst>
                          </p:cTn>
                        </p:par>
                        <p:par>
                          <p:cTn id="48" fill="hold">
                            <p:stCondLst>
                              <p:cond delay="1200"/>
                            </p:stCondLst>
                            <p:childTnLst>
                              <p:par>
                                <p:cTn id="49" presetID="10" presetClass="entr" presetSubtype="0" fill="hold" nodeType="afterEffect">
                                  <p:stCondLst>
                                    <p:cond delay="0"/>
                                  </p:stCondLst>
                                  <p:childTnLst>
                                    <p:set>
                                      <p:cBhvr>
                                        <p:cTn id="50" dur="1" fill="hold">
                                          <p:stCondLst>
                                            <p:cond delay="0"/>
                                          </p:stCondLst>
                                        </p:cTn>
                                        <p:tgtEl>
                                          <p:spTgt spid="128"/>
                                        </p:tgtEl>
                                        <p:attrNameLst>
                                          <p:attrName>style.visibility</p:attrName>
                                        </p:attrNameLst>
                                      </p:cBhvr>
                                      <p:to>
                                        <p:strVal val="visible"/>
                                      </p:to>
                                    </p:set>
                                    <p:animEffect transition="in" filter="fade">
                                      <p:cBhvr>
                                        <p:cTn id="51" dur="100"/>
                                        <p:tgtEl>
                                          <p:spTgt spid="128"/>
                                        </p:tgtEl>
                                      </p:cBhvr>
                                    </p:animEffect>
                                  </p:childTnLst>
                                </p:cTn>
                              </p:par>
                            </p:childTnLst>
                          </p:cTn>
                        </p:par>
                        <p:par>
                          <p:cTn id="52" fill="hold">
                            <p:stCondLst>
                              <p:cond delay="1300"/>
                            </p:stCondLst>
                            <p:childTnLst>
                              <p:par>
                                <p:cTn id="53" presetID="10" presetClass="entr" presetSubtype="0" fill="hold" nodeType="afterEffect">
                                  <p:stCondLst>
                                    <p:cond delay="0"/>
                                  </p:stCondLst>
                                  <p:childTnLst>
                                    <p:set>
                                      <p:cBhvr>
                                        <p:cTn id="54" dur="1" fill="hold">
                                          <p:stCondLst>
                                            <p:cond delay="0"/>
                                          </p:stCondLst>
                                        </p:cTn>
                                        <p:tgtEl>
                                          <p:spTgt spid="121"/>
                                        </p:tgtEl>
                                        <p:attrNameLst>
                                          <p:attrName>style.visibility</p:attrName>
                                        </p:attrNameLst>
                                      </p:cBhvr>
                                      <p:to>
                                        <p:strVal val="visible"/>
                                      </p:to>
                                    </p:set>
                                    <p:animEffect transition="in" filter="fade">
                                      <p:cBhvr>
                                        <p:cTn id="55" dur="100"/>
                                        <p:tgtEl>
                                          <p:spTgt spid="121"/>
                                        </p:tgtEl>
                                      </p:cBhvr>
                                    </p:animEffect>
                                  </p:childTnLst>
                                </p:cTn>
                              </p:par>
                            </p:childTnLst>
                          </p:cTn>
                        </p:par>
                        <p:par>
                          <p:cTn id="56" fill="hold">
                            <p:stCondLst>
                              <p:cond delay="1400"/>
                            </p:stCondLst>
                            <p:childTnLst>
                              <p:par>
                                <p:cTn id="57" presetID="10" presetClass="entr" presetSubtype="0" fill="hold" nodeType="afterEffect">
                                  <p:stCondLst>
                                    <p:cond delay="0"/>
                                  </p:stCondLst>
                                  <p:childTnLst>
                                    <p:set>
                                      <p:cBhvr>
                                        <p:cTn id="58" dur="1" fill="hold">
                                          <p:stCondLst>
                                            <p:cond delay="0"/>
                                          </p:stCondLst>
                                        </p:cTn>
                                        <p:tgtEl>
                                          <p:spTgt spid="144"/>
                                        </p:tgtEl>
                                        <p:attrNameLst>
                                          <p:attrName>style.visibility</p:attrName>
                                        </p:attrNameLst>
                                      </p:cBhvr>
                                      <p:to>
                                        <p:strVal val="visible"/>
                                      </p:to>
                                    </p:set>
                                    <p:animEffect transition="in" filter="fade">
                                      <p:cBhvr>
                                        <p:cTn id="59" dur="100"/>
                                        <p:tgtEl>
                                          <p:spTgt spid="144"/>
                                        </p:tgtEl>
                                      </p:cBhvr>
                                    </p:animEffect>
                                  </p:childTnLst>
                                </p:cTn>
                              </p:par>
                            </p:childTnLst>
                          </p:cTn>
                        </p:par>
                        <p:par>
                          <p:cTn id="60" fill="hold">
                            <p:stCondLst>
                              <p:cond delay="1500"/>
                            </p:stCondLst>
                            <p:childTnLst>
                              <p:par>
                                <p:cTn id="61" presetID="10" presetClass="entr" presetSubtype="0" fill="hold" nodeType="afterEffect">
                                  <p:stCondLst>
                                    <p:cond delay="0"/>
                                  </p:stCondLst>
                                  <p:childTnLst>
                                    <p:set>
                                      <p:cBhvr>
                                        <p:cTn id="62" dur="1" fill="hold">
                                          <p:stCondLst>
                                            <p:cond delay="0"/>
                                          </p:stCondLst>
                                        </p:cTn>
                                        <p:tgtEl>
                                          <p:spTgt spid="175"/>
                                        </p:tgtEl>
                                        <p:attrNameLst>
                                          <p:attrName>style.visibility</p:attrName>
                                        </p:attrNameLst>
                                      </p:cBhvr>
                                      <p:to>
                                        <p:strVal val="visible"/>
                                      </p:to>
                                    </p:set>
                                    <p:animEffect transition="in" filter="fade">
                                      <p:cBhvr>
                                        <p:cTn id="63" dur="100"/>
                                        <p:tgtEl>
                                          <p:spTgt spid="175"/>
                                        </p:tgtEl>
                                      </p:cBhvr>
                                    </p:animEffect>
                                  </p:childTnLst>
                                </p:cTn>
                              </p:par>
                            </p:childTnLst>
                          </p:cTn>
                        </p:par>
                        <p:par>
                          <p:cTn id="64" fill="hold">
                            <p:stCondLst>
                              <p:cond delay="1600"/>
                            </p:stCondLst>
                            <p:childTnLst>
                              <p:par>
                                <p:cTn id="65" presetID="10" presetClass="entr" presetSubtype="0" fill="hold" nodeType="afterEffect">
                                  <p:stCondLst>
                                    <p:cond delay="0"/>
                                  </p:stCondLst>
                                  <p:childTnLst>
                                    <p:set>
                                      <p:cBhvr>
                                        <p:cTn id="66" dur="1" fill="hold">
                                          <p:stCondLst>
                                            <p:cond delay="0"/>
                                          </p:stCondLst>
                                        </p:cTn>
                                        <p:tgtEl>
                                          <p:spTgt spid="168"/>
                                        </p:tgtEl>
                                        <p:attrNameLst>
                                          <p:attrName>style.visibility</p:attrName>
                                        </p:attrNameLst>
                                      </p:cBhvr>
                                      <p:to>
                                        <p:strVal val="visible"/>
                                      </p:to>
                                    </p:set>
                                    <p:animEffect transition="in" filter="fade">
                                      <p:cBhvr>
                                        <p:cTn id="67" dur="100"/>
                                        <p:tgtEl>
                                          <p:spTgt spid="168"/>
                                        </p:tgtEl>
                                      </p:cBhvr>
                                    </p:animEffect>
                                  </p:childTnLst>
                                </p:cTn>
                              </p:par>
                            </p:childTnLst>
                          </p:cTn>
                        </p:par>
                        <p:par>
                          <p:cTn id="68" fill="hold">
                            <p:stCondLst>
                              <p:cond delay="1700"/>
                            </p:stCondLst>
                            <p:childTnLst>
                              <p:par>
                                <p:cTn id="69" presetID="10" presetClass="entr" presetSubtype="0" fill="hold" nodeType="afterEffect">
                                  <p:stCondLst>
                                    <p:cond delay="0"/>
                                  </p:stCondLst>
                                  <p:childTnLst>
                                    <p:set>
                                      <p:cBhvr>
                                        <p:cTn id="70" dur="1" fill="hold">
                                          <p:stCondLst>
                                            <p:cond delay="0"/>
                                          </p:stCondLst>
                                        </p:cTn>
                                        <p:tgtEl>
                                          <p:spTgt spid="164"/>
                                        </p:tgtEl>
                                        <p:attrNameLst>
                                          <p:attrName>style.visibility</p:attrName>
                                        </p:attrNameLst>
                                      </p:cBhvr>
                                      <p:to>
                                        <p:strVal val="visible"/>
                                      </p:to>
                                    </p:set>
                                    <p:animEffect transition="in" filter="fade">
                                      <p:cBhvr>
                                        <p:cTn id="71" dur="100"/>
                                        <p:tgtEl>
                                          <p:spTgt spid="164"/>
                                        </p:tgtEl>
                                      </p:cBhvr>
                                    </p:animEffect>
                                  </p:childTnLst>
                                </p:cTn>
                              </p:par>
                            </p:childTnLst>
                          </p:cTn>
                        </p:par>
                        <p:par>
                          <p:cTn id="72" fill="hold">
                            <p:stCondLst>
                              <p:cond delay="1800"/>
                            </p:stCondLst>
                            <p:childTnLst>
                              <p:par>
                                <p:cTn id="73" presetID="10" presetClass="entr" presetSubtype="0" fill="hold" nodeType="afterEffect">
                                  <p:stCondLst>
                                    <p:cond delay="0"/>
                                  </p:stCondLst>
                                  <p:childTnLst>
                                    <p:set>
                                      <p:cBhvr>
                                        <p:cTn id="74" dur="1" fill="hold">
                                          <p:stCondLst>
                                            <p:cond delay="0"/>
                                          </p:stCondLst>
                                        </p:cTn>
                                        <p:tgtEl>
                                          <p:spTgt spid="137"/>
                                        </p:tgtEl>
                                        <p:attrNameLst>
                                          <p:attrName>style.visibility</p:attrName>
                                        </p:attrNameLst>
                                      </p:cBhvr>
                                      <p:to>
                                        <p:strVal val="visible"/>
                                      </p:to>
                                    </p:set>
                                    <p:animEffect transition="in" filter="fade">
                                      <p:cBhvr>
                                        <p:cTn id="75" dur="100"/>
                                        <p:tgtEl>
                                          <p:spTgt spid="137"/>
                                        </p:tgtEl>
                                      </p:cBhvr>
                                    </p:animEffect>
                                  </p:childTnLst>
                                </p:cTn>
                              </p:par>
                            </p:childTnLst>
                          </p:cTn>
                        </p:par>
                        <p:par>
                          <p:cTn id="76" fill="hold">
                            <p:stCondLst>
                              <p:cond delay="1900"/>
                            </p:stCondLst>
                            <p:childTnLst>
                              <p:par>
                                <p:cTn id="77" presetID="10" presetClass="entr" presetSubtype="0" fill="hold" nodeType="afterEffect">
                                  <p:stCondLst>
                                    <p:cond delay="0"/>
                                  </p:stCondLst>
                                  <p:childTnLst>
                                    <p:set>
                                      <p:cBhvr>
                                        <p:cTn id="78" dur="1" fill="hold">
                                          <p:stCondLst>
                                            <p:cond delay="0"/>
                                          </p:stCondLst>
                                        </p:cTn>
                                        <p:tgtEl>
                                          <p:spTgt spid="130"/>
                                        </p:tgtEl>
                                        <p:attrNameLst>
                                          <p:attrName>style.visibility</p:attrName>
                                        </p:attrNameLst>
                                      </p:cBhvr>
                                      <p:to>
                                        <p:strVal val="visible"/>
                                      </p:to>
                                    </p:set>
                                    <p:animEffect transition="in" filter="fade">
                                      <p:cBhvr>
                                        <p:cTn id="79" dur="100"/>
                                        <p:tgtEl>
                                          <p:spTgt spid="130"/>
                                        </p:tgtEl>
                                      </p:cBhvr>
                                    </p:animEffect>
                                  </p:childTnLst>
                                </p:cTn>
                              </p:par>
                            </p:childTnLst>
                          </p:cTn>
                        </p:par>
                        <p:par>
                          <p:cTn id="80" fill="hold">
                            <p:stCondLst>
                              <p:cond delay="2000"/>
                            </p:stCondLst>
                            <p:childTnLst>
                              <p:par>
                                <p:cTn id="81" presetID="10" presetClass="entr" presetSubtype="0" fill="hold" nodeType="afterEffect">
                                  <p:stCondLst>
                                    <p:cond delay="0"/>
                                  </p:stCondLst>
                                  <p:childTnLst>
                                    <p:set>
                                      <p:cBhvr>
                                        <p:cTn id="82" dur="1" fill="hold">
                                          <p:stCondLst>
                                            <p:cond delay="0"/>
                                          </p:stCondLst>
                                        </p:cTn>
                                        <p:tgtEl>
                                          <p:spTgt spid="145"/>
                                        </p:tgtEl>
                                        <p:attrNameLst>
                                          <p:attrName>style.visibility</p:attrName>
                                        </p:attrNameLst>
                                      </p:cBhvr>
                                      <p:to>
                                        <p:strVal val="visible"/>
                                      </p:to>
                                    </p:set>
                                    <p:animEffect transition="in" filter="fade">
                                      <p:cBhvr>
                                        <p:cTn id="83" dur="100"/>
                                        <p:tgtEl>
                                          <p:spTgt spid="145"/>
                                        </p:tgtEl>
                                      </p:cBhvr>
                                    </p:animEffect>
                                  </p:childTnLst>
                                </p:cTn>
                              </p:par>
                            </p:childTnLst>
                          </p:cTn>
                        </p:par>
                        <p:par>
                          <p:cTn id="84" fill="hold">
                            <p:stCondLst>
                              <p:cond delay="2100"/>
                            </p:stCondLst>
                            <p:childTnLst>
                              <p:par>
                                <p:cTn id="85" presetID="10" presetClass="entr" presetSubtype="0" fill="hold" nodeType="afterEffect">
                                  <p:stCondLst>
                                    <p:cond delay="0"/>
                                  </p:stCondLst>
                                  <p:childTnLst>
                                    <p:set>
                                      <p:cBhvr>
                                        <p:cTn id="86" dur="1" fill="hold">
                                          <p:stCondLst>
                                            <p:cond delay="0"/>
                                          </p:stCondLst>
                                        </p:cTn>
                                        <p:tgtEl>
                                          <p:spTgt spid="112"/>
                                        </p:tgtEl>
                                        <p:attrNameLst>
                                          <p:attrName>style.visibility</p:attrName>
                                        </p:attrNameLst>
                                      </p:cBhvr>
                                      <p:to>
                                        <p:strVal val="visible"/>
                                      </p:to>
                                    </p:set>
                                    <p:animEffect transition="in" filter="fade">
                                      <p:cBhvr>
                                        <p:cTn id="87" dur="100"/>
                                        <p:tgtEl>
                                          <p:spTgt spid="112"/>
                                        </p:tgtEl>
                                      </p:cBhvr>
                                    </p:animEffect>
                                  </p:childTnLst>
                                </p:cTn>
                              </p:par>
                            </p:childTnLst>
                          </p:cTn>
                        </p:par>
                        <p:par>
                          <p:cTn id="88" fill="hold">
                            <p:stCondLst>
                              <p:cond delay="2200"/>
                            </p:stCondLst>
                            <p:childTnLst>
                              <p:par>
                                <p:cTn id="89" presetID="10" presetClass="entr" presetSubtype="0" fill="hold" nodeType="afterEffect">
                                  <p:stCondLst>
                                    <p:cond delay="0"/>
                                  </p:stCondLst>
                                  <p:childTnLst>
                                    <p:set>
                                      <p:cBhvr>
                                        <p:cTn id="90" dur="1" fill="hold">
                                          <p:stCondLst>
                                            <p:cond delay="0"/>
                                          </p:stCondLst>
                                        </p:cTn>
                                        <p:tgtEl>
                                          <p:spTgt spid="119"/>
                                        </p:tgtEl>
                                        <p:attrNameLst>
                                          <p:attrName>style.visibility</p:attrName>
                                        </p:attrNameLst>
                                      </p:cBhvr>
                                      <p:to>
                                        <p:strVal val="visible"/>
                                      </p:to>
                                    </p:set>
                                    <p:animEffect transition="in" filter="fade">
                                      <p:cBhvr>
                                        <p:cTn id="91" dur="100"/>
                                        <p:tgtEl>
                                          <p:spTgt spid="119"/>
                                        </p:tgtEl>
                                      </p:cBhvr>
                                    </p:animEffect>
                                  </p:childTnLst>
                                </p:cTn>
                              </p:par>
                            </p:childTnLst>
                          </p:cTn>
                        </p:par>
                        <p:par>
                          <p:cTn id="92" fill="hold">
                            <p:stCondLst>
                              <p:cond delay="2300"/>
                            </p:stCondLst>
                            <p:childTnLst>
                              <p:par>
                                <p:cTn id="93" presetID="10" presetClass="entr" presetSubtype="0" fill="hold" nodeType="afterEffect">
                                  <p:stCondLst>
                                    <p:cond delay="0"/>
                                  </p:stCondLst>
                                  <p:childTnLst>
                                    <p:set>
                                      <p:cBhvr>
                                        <p:cTn id="94" dur="1" fill="hold">
                                          <p:stCondLst>
                                            <p:cond delay="0"/>
                                          </p:stCondLst>
                                        </p:cTn>
                                        <p:tgtEl>
                                          <p:spTgt spid="154"/>
                                        </p:tgtEl>
                                        <p:attrNameLst>
                                          <p:attrName>style.visibility</p:attrName>
                                        </p:attrNameLst>
                                      </p:cBhvr>
                                      <p:to>
                                        <p:strVal val="visible"/>
                                      </p:to>
                                    </p:set>
                                    <p:animEffect transition="in" filter="fade">
                                      <p:cBhvr>
                                        <p:cTn id="95" dur="100"/>
                                        <p:tgtEl>
                                          <p:spTgt spid="154"/>
                                        </p:tgtEl>
                                      </p:cBhvr>
                                    </p:animEffect>
                                  </p:childTnLst>
                                </p:cTn>
                              </p:par>
                            </p:childTnLst>
                          </p:cTn>
                        </p:par>
                        <p:par>
                          <p:cTn id="96" fill="hold">
                            <p:stCondLst>
                              <p:cond delay="2400"/>
                            </p:stCondLst>
                            <p:childTnLst>
                              <p:par>
                                <p:cTn id="97" presetID="10" presetClass="entr" presetSubtype="0" fill="hold" nodeType="afterEffect">
                                  <p:stCondLst>
                                    <p:cond delay="0"/>
                                  </p:stCondLst>
                                  <p:childTnLst>
                                    <p:set>
                                      <p:cBhvr>
                                        <p:cTn id="98" dur="1" fill="hold">
                                          <p:stCondLst>
                                            <p:cond delay="0"/>
                                          </p:stCondLst>
                                        </p:cTn>
                                        <p:tgtEl>
                                          <p:spTgt spid="125"/>
                                        </p:tgtEl>
                                        <p:attrNameLst>
                                          <p:attrName>style.visibility</p:attrName>
                                        </p:attrNameLst>
                                      </p:cBhvr>
                                      <p:to>
                                        <p:strVal val="visible"/>
                                      </p:to>
                                    </p:set>
                                    <p:animEffect transition="in" filter="fade">
                                      <p:cBhvr>
                                        <p:cTn id="99" dur="100"/>
                                        <p:tgtEl>
                                          <p:spTgt spid="125"/>
                                        </p:tgtEl>
                                      </p:cBhvr>
                                    </p:animEffect>
                                  </p:childTnLst>
                                </p:cTn>
                              </p:par>
                            </p:childTnLst>
                          </p:cTn>
                        </p:par>
                        <p:par>
                          <p:cTn id="100" fill="hold">
                            <p:stCondLst>
                              <p:cond delay="2500"/>
                            </p:stCondLst>
                            <p:childTnLst>
                              <p:par>
                                <p:cTn id="101" presetID="10" presetClass="entr" presetSubtype="0" fill="hold" nodeType="afterEffect">
                                  <p:stCondLst>
                                    <p:cond delay="0"/>
                                  </p:stCondLst>
                                  <p:childTnLst>
                                    <p:set>
                                      <p:cBhvr>
                                        <p:cTn id="102" dur="1" fill="hold">
                                          <p:stCondLst>
                                            <p:cond delay="0"/>
                                          </p:stCondLst>
                                        </p:cTn>
                                        <p:tgtEl>
                                          <p:spTgt spid="129"/>
                                        </p:tgtEl>
                                        <p:attrNameLst>
                                          <p:attrName>style.visibility</p:attrName>
                                        </p:attrNameLst>
                                      </p:cBhvr>
                                      <p:to>
                                        <p:strVal val="visible"/>
                                      </p:to>
                                    </p:set>
                                    <p:animEffect transition="in" filter="fade">
                                      <p:cBhvr>
                                        <p:cTn id="103" dur="100"/>
                                        <p:tgtEl>
                                          <p:spTgt spid="129"/>
                                        </p:tgtEl>
                                      </p:cBhvr>
                                    </p:animEffect>
                                  </p:childTnLst>
                                </p:cTn>
                              </p:par>
                            </p:childTnLst>
                          </p:cTn>
                        </p:par>
                        <p:par>
                          <p:cTn id="104" fill="hold">
                            <p:stCondLst>
                              <p:cond delay="2600"/>
                            </p:stCondLst>
                            <p:childTnLst>
                              <p:par>
                                <p:cTn id="105" presetID="10" presetClass="entr" presetSubtype="0" fill="hold" nodeType="afterEffect">
                                  <p:stCondLst>
                                    <p:cond delay="0"/>
                                  </p:stCondLst>
                                  <p:childTnLst>
                                    <p:set>
                                      <p:cBhvr>
                                        <p:cTn id="106" dur="1" fill="hold">
                                          <p:stCondLst>
                                            <p:cond delay="0"/>
                                          </p:stCondLst>
                                        </p:cTn>
                                        <p:tgtEl>
                                          <p:spTgt spid="160"/>
                                        </p:tgtEl>
                                        <p:attrNameLst>
                                          <p:attrName>style.visibility</p:attrName>
                                        </p:attrNameLst>
                                      </p:cBhvr>
                                      <p:to>
                                        <p:strVal val="visible"/>
                                      </p:to>
                                    </p:set>
                                    <p:animEffect transition="in" filter="fade">
                                      <p:cBhvr>
                                        <p:cTn id="107" dur="100"/>
                                        <p:tgtEl>
                                          <p:spTgt spid="160"/>
                                        </p:tgtEl>
                                      </p:cBhvr>
                                    </p:animEffect>
                                  </p:childTnLst>
                                </p:cTn>
                              </p:par>
                            </p:childTnLst>
                          </p:cTn>
                        </p:par>
                        <p:par>
                          <p:cTn id="108" fill="hold">
                            <p:stCondLst>
                              <p:cond delay="2700"/>
                            </p:stCondLst>
                            <p:childTnLst>
                              <p:par>
                                <p:cTn id="109" presetID="10" presetClass="entr" presetSubtype="0" fill="hold" nodeType="afterEffect">
                                  <p:stCondLst>
                                    <p:cond delay="0"/>
                                  </p:stCondLst>
                                  <p:childTnLst>
                                    <p:set>
                                      <p:cBhvr>
                                        <p:cTn id="110" dur="1" fill="hold">
                                          <p:stCondLst>
                                            <p:cond delay="0"/>
                                          </p:stCondLst>
                                        </p:cTn>
                                        <p:tgtEl>
                                          <p:spTgt spid="177"/>
                                        </p:tgtEl>
                                        <p:attrNameLst>
                                          <p:attrName>style.visibility</p:attrName>
                                        </p:attrNameLst>
                                      </p:cBhvr>
                                      <p:to>
                                        <p:strVal val="visible"/>
                                      </p:to>
                                    </p:set>
                                    <p:animEffect transition="in" filter="fade">
                                      <p:cBhvr>
                                        <p:cTn id="111" dur="100"/>
                                        <p:tgtEl>
                                          <p:spTgt spid="177"/>
                                        </p:tgtEl>
                                      </p:cBhvr>
                                    </p:animEffect>
                                  </p:childTnLst>
                                </p:cTn>
                              </p:par>
                            </p:childTnLst>
                          </p:cTn>
                        </p:par>
                        <p:par>
                          <p:cTn id="112" fill="hold">
                            <p:stCondLst>
                              <p:cond delay="2800"/>
                            </p:stCondLst>
                            <p:childTnLst>
                              <p:par>
                                <p:cTn id="113" presetID="10" presetClass="entr" presetSubtype="0" fill="hold" nodeType="afterEffect">
                                  <p:stCondLst>
                                    <p:cond delay="0"/>
                                  </p:stCondLst>
                                  <p:childTnLst>
                                    <p:set>
                                      <p:cBhvr>
                                        <p:cTn id="114" dur="1" fill="hold">
                                          <p:stCondLst>
                                            <p:cond delay="0"/>
                                          </p:stCondLst>
                                        </p:cTn>
                                        <p:tgtEl>
                                          <p:spTgt spid="138"/>
                                        </p:tgtEl>
                                        <p:attrNameLst>
                                          <p:attrName>style.visibility</p:attrName>
                                        </p:attrNameLst>
                                      </p:cBhvr>
                                      <p:to>
                                        <p:strVal val="visible"/>
                                      </p:to>
                                    </p:set>
                                    <p:animEffect transition="in" filter="fade">
                                      <p:cBhvr>
                                        <p:cTn id="115" dur="100"/>
                                        <p:tgtEl>
                                          <p:spTgt spid="138"/>
                                        </p:tgtEl>
                                      </p:cBhvr>
                                    </p:animEffect>
                                  </p:childTnLst>
                                </p:cTn>
                              </p:par>
                            </p:childTnLst>
                          </p:cTn>
                        </p:par>
                        <p:par>
                          <p:cTn id="116" fill="hold">
                            <p:stCondLst>
                              <p:cond delay="2900"/>
                            </p:stCondLst>
                            <p:childTnLst>
                              <p:par>
                                <p:cTn id="117" presetID="10" presetClass="entr" presetSubtype="0" fill="hold" nodeType="afterEffect">
                                  <p:stCondLst>
                                    <p:cond delay="0"/>
                                  </p:stCondLst>
                                  <p:childTnLst>
                                    <p:set>
                                      <p:cBhvr>
                                        <p:cTn id="118" dur="1" fill="hold">
                                          <p:stCondLst>
                                            <p:cond delay="0"/>
                                          </p:stCondLst>
                                        </p:cTn>
                                        <p:tgtEl>
                                          <p:spTgt spid="111"/>
                                        </p:tgtEl>
                                        <p:attrNameLst>
                                          <p:attrName>style.visibility</p:attrName>
                                        </p:attrNameLst>
                                      </p:cBhvr>
                                      <p:to>
                                        <p:strVal val="visible"/>
                                      </p:to>
                                    </p:set>
                                    <p:animEffect transition="in" filter="fade">
                                      <p:cBhvr>
                                        <p:cTn id="119" dur="100"/>
                                        <p:tgtEl>
                                          <p:spTgt spid="111"/>
                                        </p:tgtEl>
                                      </p:cBhvr>
                                    </p:animEffect>
                                  </p:childTnLst>
                                </p:cTn>
                              </p:par>
                            </p:childTnLst>
                          </p:cTn>
                        </p:par>
                        <p:par>
                          <p:cTn id="120" fill="hold">
                            <p:stCondLst>
                              <p:cond delay="3000"/>
                            </p:stCondLst>
                            <p:childTnLst>
                              <p:par>
                                <p:cTn id="121" presetID="10" presetClass="entr" presetSubtype="0" fill="hold" nodeType="afterEffect">
                                  <p:stCondLst>
                                    <p:cond delay="0"/>
                                  </p:stCondLst>
                                  <p:childTnLst>
                                    <p:set>
                                      <p:cBhvr>
                                        <p:cTn id="122" dur="1" fill="hold">
                                          <p:stCondLst>
                                            <p:cond delay="0"/>
                                          </p:stCondLst>
                                        </p:cTn>
                                        <p:tgtEl>
                                          <p:spTgt spid="118"/>
                                        </p:tgtEl>
                                        <p:attrNameLst>
                                          <p:attrName>style.visibility</p:attrName>
                                        </p:attrNameLst>
                                      </p:cBhvr>
                                      <p:to>
                                        <p:strVal val="visible"/>
                                      </p:to>
                                    </p:set>
                                    <p:animEffect transition="in" filter="fade">
                                      <p:cBhvr>
                                        <p:cTn id="123" dur="100"/>
                                        <p:tgtEl>
                                          <p:spTgt spid="118"/>
                                        </p:tgtEl>
                                      </p:cBhvr>
                                    </p:animEffect>
                                  </p:childTnLst>
                                </p:cTn>
                              </p:par>
                            </p:childTnLst>
                          </p:cTn>
                        </p:par>
                        <p:par>
                          <p:cTn id="124" fill="hold">
                            <p:stCondLst>
                              <p:cond delay="3100"/>
                            </p:stCondLst>
                            <p:childTnLst>
                              <p:par>
                                <p:cTn id="125" presetID="10" presetClass="entr" presetSubtype="0" fill="hold" nodeType="afterEffect">
                                  <p:stCondLst>
                                    <p:cond delay="0"/>
                                  </p:stCondLst>
                                  <p:childTnLst>
                                    <p:set>
                                      <p:cBhvr>
                                        <p:cTn id="126" dur="1" fill="hold">
                                          <p:stCondLst>
                                            <p:cond delay="0"/>
                                          </p:stCondLst>
                                        </p:cTn>
                                        <p:tgtEl>
                                          <p:spTgt spid="132"/>
                                        </p:tgtEl>
                                        <p:attrNameLst>
                                          <p:attrName>style.visibility</p:attrName>
                                        </p:attrNameLst>
                                      </p:cBhvr>
                                      <p:to>
                                        <p:strVal val="visible"/>
                                      </p:to>
                                    </p:set>
                                    <p:animEffect transition="in" filter="fade">
                                      <p:cBhvr>
                                        <p:cTn id="127" dur="100"/>
                                        <p:tgtEl>
                                          <p:spTgt spid="132"/>
                                        </p:tgtEl>
                                      </p:cBhvr>
                                    </p:animEffect>
                                  </p:childTnLst>
                                </p:cTn>
                              </p:par>
                            </p:childTnLst>
                          </p:cTn>
                        </p:par>
                        <p:par>
                          <p:cTn id="128" fill="hold">
                            <p:stCondLst>
                              <p:cond delay="3200"/>
                            </p:stCondLst>
                            <p:childTnLst>
                              <p:par>
                                <p:cTn id="129" presetID="10" presetClass="entr" presetSubtype="0" fill="hold" nodeType="afterEffect">
                                  <p:stCondLst>
                                    <p:cond delay="0"/>
                                  </p:stCondLst>
                                  <p:childTnLst>
                                    <p:set>
                                      <p:cBhvr>
                                        <p:cTn id="130" dur="1" fill="hold">
                                          <p:stCondLst>
                                            <p:cond delay="0"/>
                                          </p:stCondLst>
                                        </p:cTn>
                                        <p:tgtEl>
                                          <p:spTgt spid="123"/>
                                        </p:tgtEl>
                                        <p:attrNameLst>
                                          <p:attrName>style.visibility</p:attrName>
                                        </p:attrNameLst>
                                      </p:cBhvr>
                                      <p:to>
                                        <p:strVal val="visible"/>
                                      </p:to>
                                    </p:set>
                                    <p:animEffect transition="in" filter="fade">
                                      <p:cBhvr>
                                        <p:cTn id="131" dur="100"/>
                                        <p:tgtEl>
                                          <p:spTgt spid="123"/>
                                        </p:tgtEl>
                                      </p:cBhvr>
                                    </p:animEffect>
                                  </p:childTnLst>
                                </p:cTn>
                              </p:par>
                            </p:childTnLst>
                          </p:cTn>
                        </p:par>
                        <p:par>
                          <p:cTn id="132" fill="hold">
                            <p:stCondLst>
                              <p:cond delay="3300"/>
                            </p:stCondLst>
                            <p:childTnLst>
                              <p:par>
                                <p:cTn id="133" presetID="10" presetClass="entr" presetSubtype="0" fill="hold" nodeType="afterEffect">
                                  <p:stCondLst>
                                    <p:cond delay="0"/>
                                  </p:stCondLst>
                                  <p:childTnLst>
                                    <p:set>
                                      <p:cBhvr>
                                        <p:cTn id="134" dur="1" fill="hold">
                                          <p:stCondLst>
                                            <p:cond delay="0"/>
                                          </p:stCondLst>
                                        </p:cTn>
                                        <p:tgtEl>
                                          <p:spTgt spid="151"/>
                                        </p:tgtEl>
                                        <p:attrNameLst>
                                          <p:attrName>style.visibility</p:attrName>
                                        </p:attrNameLst>
                                      </p:cBhvr>
                                      <p:to>
                                        <p:strVal val="visible"/>
                                      </p:to>
                                    </p:set>
                                    <p:animEffect transition="in" filter="fade">
                                      <p:cBhvr>
                                        <p:cTn id="135" dur="100"/>
                                        <p:tgtEl>
                                          <p:spTgt spid="151"/>
                                        </p:tgtEl>
                                      </p:cBhvr>
                                    </p:animEffect>
                                  </p:childTnLst>
                                </p:cTn>
                              </p:par>
                            </p:childTnLst>
                          </p:cTn>
                        </p:par>
                        <p:par>
                          <p:cTn id="136" fill="hold">
                            <p:stCondLst>
                              <p:cond delay="3400"/>
                            </p:stCondLst>
                            <p:childTnLst>
                              <p:par>
                                <p:cTn id="137" presetID="10" presetClass="entr" presetSubtype="0" fill="hold" nodeType="afterEffect">
                                  <p:stCondLst>
                                    <p:cond delay="0"/>
                                  </p:stCondLst>
                                  <p:childTnLst>
                                    <p:set>
                                      <p:cBhvr>
                                        <p:cTn id="138" dur="1" fill="hold">
                                          <p:stCondLst>
                                            <p:cond delay="0"/>
                                          </p:stCondLst>
                                        </p:cTn>
                                        <p:tgtEl>
                                          <p:spTgt spid="155"/>
                                        </p:tgtEl>
                                        <p:attrNameLst>
                                          <p:attrName>style.visibility</p:attrName>
                                        </p:attrNameLst>
                                      </p:cBhvr>
                                      <p:to>
                                        <p:strVal val="visible"/>
                                      </p:to>
                                    </p:set>
                                    <p:animEffect transition="in" filter="fade">
                                      <p:cBhvr>
                                        <p:cTn id="139" dur="100"/>
                                        <p:tgtEl>
                                          <p:spTgt spid="155"/>
                                        </p:tgtEl>
                                      </p:cBhvr>
                                    </p:animEffect>
                                  </p:childTnLst>
                                </p:cTn>
                              </p:par>
                            </p:childTnLst>
                          </p:cTn>
                        </p:par>
                        <p:par>
                          <p:cTn id="140" fill="hold">
                            <p:stCondLst>
                              <p:cond delay="3500"/>
                            </p:stCondLst>
                            <p:childTnLst>
                              <p:par>
                                <p:cTn id="141" presetID="10" presetClass="entr" presetSubtype="0" fill="hold" nodeType="afterEffect">
                                  <p:stCondLst>
                                    <p:cond delay="0"/>
                                  </p:stCondLst>
                                  <p:childTnLst>
                                    <p:set>
                                      <p:cBhvr>
                                        <p:cTn id="142" dur="1" fill="hold">
                                          <p:stCondLst>
                                            <p:cond delay="0"/>
                                          </p:stCondLst>
                                        </p:cTn>
                                        <p:tgtEl>
                                          <p:spTgt spid="113"/>
                                        </p:tgtEl>
                                        <p:attrNameLst>
                                          <p:attrName>style.visibility</p:attrName>
                                        </p:attrNameLst>
                                      </p:cBhvr>
                                      <p:to>
                                        <p:strVal val="visible"/>
                                      </p:to>
                                    </p:set>
                                    <p:animEffect transition="in" filter="fade">
                                      <p:cBhvr>
                                        <p:cTn id="143" dur="100"/>
                                        <p:tgtEl>
                                          <p:spTgt spid="113"/>
                                        </p:tgtEl>
                                      </p:cBhvr>
                                    </p:animEffect>
                                  </p:childTnLst>
                                </p:cTn>
                              </p:par>
                            </p:childTnLst>
                          </p:cTn>
                        </p:par>
                        <p:par>
                          <p:cTn id="144" fill="hold">
                            <p:stCondLst>
                              <p:cond delay="3600"/>
                            </p:stCondLst>
                            <p:childTnLst>
                              <p:par>
                                <p:cTn id="145" presetID="10" presetClass="entr" presetSubtype="0" fill="hold" nodeType="afterEffect">
                                  <p:stCondLst>
                                    <p:cond delay="0"/>
                                  </p:stCondLst>
                                  <p:childTnLst>
                                    <p:set>
                                      <p:cBhvr>
                                        <p:cTn id="146" dur="1" fill="hold">
                                          <p:stCondLst>
                                            <p:cond delay="0"/>
                                          </p:stCondLst>
                                        </p:cTn>
                                        <p:tgtEl>
                                          <p:spTgt spid="110"/>
                                        </p:tgtEl>
                                        <p:attrNameLst>
                                          <p:attrName>style.visibility</p:attrName>
                                        </p:attrNameLst>
                                      </p:cBhvr>
                                      <p:to>
                                        <p:strVal val="visible"/>
                                      </p:to>
                                    </p:set>
                                    <p:animEffect transition="in" filter="fade">
                                      <p:cBhvr>
                                        <p:cTn id="147" dur="100"/>
                                        <p:tgtEl>
                                          <p:spTgt spid="110"/>
                                        </p:tgtEl>
                                      </p:cBhvr>
                                    </p:animEffect>
                                  </p:childTnLst>
                                </p:cTn>
                              </p:par>
                            </p:childTnLst>
                          </p:cTn>
                        </p:par>
                        <p:par>
                          <p:cTn id="148" fill="hold">
                            <p:stCondLst>
                              <p:cond delay="3700"/>
                            </p:stCondLst>
                            <p:childTnLst>
                              <p:par>
                                <p:cTn id="149" presetID="10" presetClass="entr" presetSubtype="0" fill="hold" nodeType="afterEffect">
                                  <p:stCondLst>
                                    <p:cond delay="0"/>
                                  </p:stCondLst>
                                  <p:childTnLst>
                                    <p:set>
                                      <p:cBhvr>
                                        <p:cTn id="150" dur="1" fill="hold">
                                          <p:stCondLst>
                                            <p:cond delay="0"/>
                                          </p:stCondLst>
                                        </p:cTn>
                                        <p:tgtEl>
                                          <p:spTgt spid="120"/>
                                        </p:tgtEl>
                                        <p:attrNameLst>
                                          <p:attrName>style.visibility</p:attrName>
                                        </p:attrNameLst>
                                      </p:cBhvr>
                                      <p:to>
                                        <p:strVal val="visible"/>
                                      </p:to>
                                    </p:set>
                                    <p:animEffect transition="in" filter="fade">
                                      <p:cBhvr>
                                        <p:cTn id="151" dur="100"/>
                                        <p:tgtEl>
                                          <p:spTgt spid="120"/>
                                        </p:tgtEl>
                                      </p:cBhvr>
                                    </p:animEffect>
                                  </p:childTnLst>
                                </p:cTn>
                              </p:par>
                            </p:childTnLst>
                          </p:cTn>
                        </p:par>
                        <p:par>
                          <p:cTn id="152" fill="hold">
                            <p:stCondLst>
                              <p:cond delay="3800"/>
                            </p:stCondLst>
                            <p:childTnLst>
                              <p:par>
                                <p:cTn id="153" presetID="10" presetClass="entr" presetSubtype="0" fill="hold" nodeType="afterEffect">
                                  <p:stCondLst>
                                    <p:cond delay="0"/>
                                  </p:stCondLst>
                                  <p:childTnLst>
                                    <p:set>
                                      <p:cBhvr>
                                        <p:cTn id="154" dur="1" fill="hold">
                                          <p:stCondLst>
                                            <p:cond delay="0"/>
                                          </p:stCondLst>
                                        </p:cTn>
                                        <p:tgtEl>
                                          <p:spTgt spid="167"/>
                                        </p:tgtEl>
                                        <p:attrNameLst>
                                          <p:attrName>style.visibility</p:attrName>
                                        </p:attrNameLst>
                                      </p:cBhvr>
                                      <p:to>
                                        <p:strVal val="visible"/>
                                      </p:to>
                                    </p:set>
                                    <p:animEffect transition="in" filter="fade">
                                      <p:cBhvr>
                                        <p:cTn id="155" dur="100"/>
                                        <p:tgtEl>
                                          <p:spTgt spid="167"/>
                                        </p:tgtEl>
                                      </p:cBhvr>
                                    </p:animEffect>
                                  </p:childTnLst>
                                </p:cTn>
                              </p:par>
                            </p:childTnLst>
                          </p:cTn>
                        </p:par>
                        <p:par>
                          <p:cTn id="156" fill="hold">
                            <p:stCondLst>
                              <p:cond delay="3900"/>
                            </p:stCondLst>
                            <p:childTnLst>
                              <p:par>
                                <p:cTn id="157" presetID="10" presetClass="entr" presetSubtype="0" fill="hold" nodeType="afterEffect">
                                  <p:stCondLst>
                                    <p:cond delay="0"/>
                                  </p:stCondLst>
                                  <p:childTnLst>
                                    <p:set>
                                      <p:cBhvr>
                                        <p:cTn id="158" dur="1" fill="hold">
                                          <p:stCondLst>
                                            <p:cond delay="0"/>
                                          </p:stCondLst>
                                        </p:cTn>
                                        <p:tgtEl>
                                          <p:spTgt spid="163"/>
                                        </p:tgtEl>
                                        <p:attrNameLst>
                                          <p:attrName>style.visibility</p:attrName>
                                        </p:attrNameLst>
                                      </p:cBhvr>
                                      <p:to>
                                        <p:strVal val="visible"/>
                                      </p:to>
                                    </p:set>
                                    <p:animEffect transition="in" filter="fade">
                                      <p:cBhvr>
                                        <p:cTn id="159" dur="100"/>
                                        <p:tgtEl>
                                          <p:spTgt spid="163"/>
                                        </p:tgtEl>
                                      </p:cBhvr>
                                    </p:animEffect>
                                  </p:childTnLst>
                                </p:cTn>
                              </p:par>
                            </p:childTnLst>
                          </p:cTn>
                        </p:par>
                        <p:par>
                          <p:cTn id="160" fill="hold">
                            <p:stCondLst>
                              <p:cond delay="4000"/>
                            </p:stCondLst>
                            <p:childTnLst>
                              <p:par>
                                <p:cTn id="161" presetID="10" presetClass="entr" presetSubtype="0" fill="hold" nodeType="afterEffect">
                                  <p:stCondLst>
                                    <p:cond delay="0"/>
                                  </p:stCondLst>
                                  <p:childTnLst>
                                    <p:set>
                                      <p:cBhvr>
                                        <p:cTn id="162" dur="1" fill="hold">
                                          <p:stCondLst>
                                            <p:cond delay="0"/>
                                          </p:stCondLst>
                                        </p:cTn>
                                        <p:tgtEl>
                                          <p:spTgt spid="157"/>
                                        </p:tgtEl>
                                        <p:attrNameLst>
                                          <p:attrName>style.visibility</p:attrName>
                                        </p:attrNameLst>
                                      </p:cBhvr>
                                      <p:to>
                                        <p:strVal val="visible"/>
                                      </p:to>
                                    </p:set>
                                    <p:animEffect transition="in" filter="fade">
                                      <p:cBhvr>
                                        <p:cTn id="163" dur="100"/>
                                        <p:tgtEl>
                                          <p:spTgt spid="157"/>
                                        </p:tgtEl>
                                      </p:cBhvr>
                                    </p:animEffect>
                                  </p:childTnLst>
                                </p:cTn>
                              </p:par>
                            </p:childTnLst>
                          </p:cTn>
                        </p:par>
                        <p:par>
                          <p:cTn id="164" fill="hold">
                            <p:stCondLst>
                              <p:cond delay="4100"/>
                            </p:stCondLst>
                            <p:childTnLst>
                              <p:par>
                                <p:cTn id="165" presetID="10" presetClass="entr" presetSubtype="0" fill="hold" nodeType="afterEffect">
                                  <p:stCondLst>
                                    <p:cond delay="0"/>
                                  </p:stCondLst>
                                  <p:childTnLst>
                                    <p:set>
                                      <p:cBhvr>
                                        <p:cTn id="166" dur="1" fill="hold">
                                          <p:stCondLst>
                                            <p:cond delay="0"/>
                                          </p:stCondLst>
                                        </p:cTn>
                                        <p:tgtEl>
                                          <p:spTgt spid="174"/>
                                        </p:tgtEl>
                                        <p:attrNameLst>
                                          <p:attrName>style.visibility</p:attrName>
                                        </p:attrNameLst>
                                      </p:cBhvr>
                                      <p:to>
                                        <p:strVal val="visible"/>
                                      </p:to>
                                    </p:set>
                                    <p:animEffect transition="in" filter="fade">
                                      <p:cBhvr>
                                        <p:cTn id="167" dur="100"/>
                                        <p:tgtEl>
                                          <p:spTgt spid="174"/>
                                        </p:tgtEl>
                                      </p:cBhvr>
                                    </p:animEffect>
                                  </p:childTnLst>
                                </p:cTn>
                              </p:par>
                            </p:childTnLst>
                          </p:cTn>
                        </p:par>
                        <p:par>
                          <p:cTn id="168" fill="hold">
                            <p:stCondLst>
                              <p:cond delay="4200"/>
                            </p:stCondLst>
                            <p:childTnLst>
                              <p:par>
                                <p:cTn id="169" presetID="10" presetClass="entr" presetSubtype="0" fill="hold" nodeType="afterEffect">
                                  <p:stCondLst>
                                    <p:cond delay="0"/>
                                  </p:stCondLst>
                                  <p:childTnLst>
                                    <p:set>
                                      <p:cBhvr>
                                        <p:cTn id="170" dur="1" fill="hold">
                                          <p:stCondLst>
                                            <p:cond delay="0"/>
                                          </p:stCondLst>
                                        </p:cTn>
                                        <p:tgtEl>
                                          <p:spTgt spid="162"/>
                                        </p:tgtEl>
                                        <p:attrNameLst>
                                          <p:attrName>style.visibility</p:attrName>
                                        </p:attrNameLst>
                                      </p:cBhvr>
                                      <p:to>
                                        <p:strVal val="visible"/>
                                      </p:to>
                                    </p:set>
                                    <p:animEffect transition="in" filter="fade">
                                      <p:cBhvr>
                                        <p:cTn id="171" dur="100"/>
                                        <p:tgtEl>
                                          <p:spTgt spid="162"/>
                                        </p:tgtEl>
                                      </p:cBhvr>
                                    </p:animEffect>
                                  </p:childTnLst>
                                </p:cTn>
                              </p:par>
                            </p:childTnLst>
                          </p:cTn>
                        </p:par>
                        <p:par>
                          <p:cTn id="172" fill="hold">
                            <p:stCondLst>
                              <p:cond delay="4300"/>
                            </p:stCondLst>
                            <p:childTnLst>
                              <p:par>
                                <p:cTn id="173" presetID="10" presetClass="entr" presetSubtype="0" fill="hold" nodeType="afterEffect">
                                  <p:stCondLst>
                                    <p:cond delay="0"/>
                                  </p:stCondLst>
                                  <p:childTnLst>
                                    <p:set>
                                      <p:cBhvr>
                                        <p:cTn id="174" dur="1" fill="hold">
                                          <p:stCondLst>
                                            <p:cond delay="0"/>
                                          </p:stCondLst>
                                        </p:cTn>
                                        <p:tgtEl>
                                          <p:spTgt spid="115"/>
                                        </p:tgtEl>
                                        <p:attrNameLst>
                                          <p:attrName>style.visibility</p:attrName>
                                        </p:attrNameLst>
                                      </p:cBhvr>
                                      <p:to>
                                        <p:strVal val="visible"/>
                                      </p:to>
                                    </p:set>
                                    <p:animEffect transition="in" filter="fade">
                                      <p:cBhvr>
                                        <p:cTn id="175" dur="100"/>
                                        <p:tgtEl>
                                          <p:spTgt spid="115"/>
                                        </p:tgtEl>
                                      </p:cBhvr>
                                    </p:animEffect>
                                  </p:childTnLst>
                                </p:cTn>
                              </p:par>
                            </p:childTnLst>
                          </p:cTn>
                        </p:par>
                        <p:par>
                          <p:cTn id="176" fill="hold">
                            <p:stCondLst>
                              <p:cond delay="4400"/>
                            </p:stCondLst>
                            <p:childTnLst>
                              <p:par>
                                <p:cTn id="177" presetID="10" presetClass="entr" presetSubtype="0" fill="hold" nodeType="afterEffect">
                                  <p:stCondLst>
                                    <p:cond delay="0"/>
                                  </p:stCondLst>
                                  <p:childTnLst>
                                    <p:set>
                                      <p:cBhvr>
                                        <p:cTn id="178" dur="1" fill="hold">
                                          <p:stCondLst>
                                            <p:cond delay="0"/>
                                          </p:stCondLst>
                                        </p:cTn>
                                        <p:tgtEl>
                                          <p:spTgt spid="116"/>
                                        </p:tgtEl>
                                        <p:attrNameLst>
                                          <p:attrName>style.visibility</p:attrName>
                                        </p:attrNameLst>
                                      </p:cBhvr>
                                      <p:to>
                                        <p:strVal val="visible"/>
                                      </p:to>
                                    </p:set>
                                    <p:animEffect transition="in" filter="fade">
                                      <p:cBhvr>
                                        <p:cTn id="179" dur="100"/>
                                        <p:tgtEl>
                                          <p:spTgt spid="116"/>
                                        </p:tgtEl>
                                      </p:cBhvr>
                                    </p:animEffect>
                                  </p:childTnLst>
                                </p:cTn>
                              </p:par>
                              <p:par>
                                <p:cTn id="180" presetID="10" presetClass="entr" presetSubtype="0" fill="hold" nodeType="withEffect">
                                  <p:stCondLst>
                                    <p:cond delay="0"/>
                                  </p:stCondLst>
                                  <p:childTnLst>
                                    <p:set>
                                      <p:cBhvr>
                                        <p:cTn id="181" dur="1" fill="hold">
                                          <p:stCondLst>
                                            <p:cond delay="0"/>
                                          </p:stCondLst>
                                        </p:cTn>
                                        <p:tgtEl>
                                          <p:spTgt spid="1026"/>
                                        </p:tgtEl>
                                        <p:attrNameLst>
                                          <p:attrName>style.visibility</p:attrName>
                                        </p:attrNameLst>
                                      </p:cBhvr>
                                      <p:to>
                                        <p:strVal val="visible"/>
                                      </p:to>
                                    </p:set>
                                    <p:animEffect transition="in" filter="fade">
                                      <p:cBhvr>
                                        <p:cTn id="182" dur="100"/>
                                        <p:tgtEl>
                                          <p:spTgt spid="1026"/>
                                        </p:tgtEl>
                                      </p:cBhvr>
                                    </p:animEffect>
                                  </p:childTnLst>
                                </p:cTn>
                              </p:par>
                            </p:childTnLst>
                          </p:cTn>
                        </p:par>
                        <p:par>
                          <p:cTn id="183" fill="hold">
                            <p:stCondLst>
                              <p:cond delay="4500"/>
                            </p:stCondLst>
                            <p:childTnLst>
                              <p:par>
                                <p:cTn id="184" presetID="10" presetClass="entr" presetSubtype="0" fill="hold" nodeType="afterEffect">
                                  <p:stCondLst>
                                    <p:cond delay="0"/>
                                  </p:stCondLst>
                                  <p:childTnLst>
                                    <p:set>
                                      <p:cBhvr>
                                        <p:cTn id="185" dur="1" fill="hold">
                                          <p:stCondLst>
                                            <p:cond delay="0"/>
                                          </p:stCondLst>
                                        </p:cTn>
                                        <p:tgtEl>
                                          <p:spTgt spid="126"/>
                                        </p:tgtEl>
                                        <p:attrNameLst>
                                          <p:attrName>style.visibility</p:attrName>
                                        </p:attrNameLst>
                                      </p:cBhvr>
                                      <p:to>
                                        <p:strVal val="visible"/>
                                      </p:to>
                                    </p:set>
                                    <p:animEffect transition="in" filter="fade">
                                      <p:cBhvr>
                                        <p:cTn id="186" dur="100"/>
                                        <p:tgtEl>
                                          <p:spTgt spid="126"/>
                                        </p:tgtEl>
                                      </p:cBhvr>
                                    </p:animEffect>
                                  </p:childTnLst>
                                </p:cTn>
                              </p:par>
                            </p:childTnLst>
                          </p:cTn>
                        </p:par>
                        <p:par>
                          <p:cTn id="187" fill="hold">
                            <p:stCondLst>
                              <p:cond delay="4600"/>
                            </p:stCondLst>
                            <p:childTnLst>
                              <p:par>
                                <p:cTn id="188" presetID="10" presetClass="entr" presetSubtype="0" fill="hold" nodeType="afterEffect">
                                  <p:stCondLst>
                                    <p:cond delay="0"/>
                                  </p:stCondLst>
                                  <p:childTnLst>
                                    <p:set>
                                      <p:cBhvr>
                                        <p:cTn id="189" dur="1" fill="hold">
                                          <p:stCondLst>
                                            <p:cond delay="0"/>
                                          </p:stCondLst>
                                        </p:cTn>
                                        <p:tgtEl>
                                          <p:spTgt spid="131"/>
                                        </p:tgtEl>
                                        <p:attrNameLst>
                                          <p:attrName>style.visibility</p:attrName>
                                        </p:attrNameLst>
                                      </p:cBhvr>
                                      <p:to>
                                        <p:strVal val="visible"/>
                                      </p:to>
                                    </p:set>
                                    <p:animEffect transition="in" filter="fade">
                                      <p:cBhvr>
                                        <p:cTn id="190" dur="100"/>
                                        <p:tgtEl>
                                          <p:spTgt spid="131"/>
                                        </p:tgtEl>
                                      </p:cBhvr>
                                    </p:animEffect>
                                  </p:childTnLst>
                                </p:cTn>
                              </p:par>
                            </p:childTnLst>
                          </p:cTn>
                        </p:par>
                        <p:par>
                          <p:cTn id="191" fill="hold">
                            <p:stCondLst>
                              <p:cond delay="4700"/>
                            </p:stCondLst>
                            <p:childTnLst>
                              <p:par>
                                <p:cTn id="192" presetID="10" presetClass="entr" presetSubtype="0" fill="hold" nodeType="afterEffect">
                                  <p:stCondLst>
                                    <p:cond delay="0"/>
                                  </p:stCondLst>
                                  <p:childTnLst>
                                    <p:set>
                                      <p:cBhvr>
                                        <p:cTn id="193" dur="1" fill="hold">
                                          <p:stCondLst>
                                            <p:cond delay="0"/>
                                          </p:stCondLst>
                                        </p:cTn>
                                        <p:tgtEl>
                                          <p:spTgt spid="140"/>
                                        </p:tgtEl>
                                        <p:attrNameLst>
                                          <p:attrName>style.visibility</p:attrName>
                                        </p:attrNameLst>
                                      </p:cBhvr>
                                      <p:to>
                                        <p:strVal val="visible"/>
                                      </p:to>
                                    </p:set>
                                    <p:animEffect transition="in" filter="fade">
                                      <p:cBhvr>
                                        <p:cTn id="194" dur="100"/>
                                        <p:tgtEl>
                                          <p:spTgt spid="140"/>
                                        </p:tgtEl>
                                      </p:cBhvr>
                                    </p:animEffect>
                                  </p:childTnLst>
                                </p:cTn>
                              </p:par>
                            </p:childTnLst>
                          </p:cTn>
                        </p:par>
                        <p:par>
                          <p:cTn id="195" fill="hold">
                            <p:stCondLst>
                              <p:cond delay="4800"/>
                            </p:stCondLst>
                            <p:childTnLst>
                              <p:par>
                                <p:cTn id="196" presetID="10" presetClass="entr" presetSubtype="0" fill="hold" nodeType="afterEffect">
                                  <p:stCondLst>
                                    <p:cond delay="0"/>
                                  </p:stCondLst>
                                  <p:childTnLst>
                                    <p:set>
                                      <p:cBhvr>
                                        <p:cTn id="197" dur="1" fill="hold">
                                          <p:stCondLst>
                                            <p:cond delay="0"/>
                                          </p:stCondLst>
                                        </p:cTn>
                                        <p:tgtEl>
                                          <p:spTgt spid="169"/>
                                        </p:tgtEl>
                                        <p:attrNameLst>
                                          <p:attrName>style.visibility</p:attrName>
                                        </p:attrNameLst>
                                      </p:cBhvr>
                                      <p:to>
                                        <p:strVal val="visible"/>
                                      </p:to>
                                    </p:set>
                                    <p:animEffect transition="in" filter="fade">
                                      <p:cBhvr>
                                        <p:cTn id="198" dur="100"/>
                                        <p:tgtEl>
                                          <p:spTgt spid="169"/>
                                        </p:tgtEl>
                                      </p:cBhvr>
                                    </p:animEffect>
                                  </p:childTnLst>
                                </p:cTn>
                              </p:par>
                            </p:childTnLst>
                          </p:cTn>
                        </p:par>
                        <p:par>
                          <p:cTn id="199" fill="hold">
                            <p:stCondLst>
                              <p:cond delay="4900"/>
                            </p:stCondLst>
                            <p:childTnLst>
                              <p:par>
                                <p:cTn id="200" presetID="10" presetClass="entr" presetSubtype="0" fill="hold" nodeType="afterEffect">
                                  <p:stCondLst>
                                    <p:cond delay="0"/>
                                  </p:stCondLst>
                                  <p:childTnLst>
                                    <p:set>
                                      <p:cBhvr>
                                        <p:cTn id="201" dur="1" fill="hold">
                                          <p:stCondLst>
                                            <p:cond delay="0"/>
                                          </p:stCondLst>
                                        </p:cTn>
                                        <p:tgtEl>
                                          <p:spTgt spid="161"/>
                                        </p:tgtEl>
                                        <p:attrNameLst>
                                          <p:attrName>style.visibility</p:attrName>
                                        </p:attrNameLst>
                                      </p:cBhvr>
                                      <p:to>
                                        <p:strVal val="visible"/>
                                      </p:to>
                                    </p:set>
                                    <p:animEffect transition="in" filter="fade">
                                      <p:cBhvr>
                                        <p:cTn id="202" dur="100"/>
                                        <p:tgtEl>
                                          <p:spTgt spid="161"/>
                                        </p:tgtEl>
                                      </p:cBhvr>
                                    </p:animEffect>
                                  </p:childTnLst>
                                </p:cTn>
                              </p:par>
                            </p:childTnLst>
                          </p:cTn>
                        </p:par>
                        <p:par>
                          <p:cTn id="203" fill="hold">
                            <p:stCondLst>
                              <p:cond delay="5000"/>
                            </p:stCondLst>
                            <p:childTnLst>
                              <p:par>
                                <p:cTn id="204" presetID="10" presetClass="entr" presetSubtype="0" fill="hold" nodeType="afterEffect">
                                  <p:stCondLst>
                                    <p:cond delay="0"/>
                                  </p:stCondLst>
                                  <p:childTnLst>
                                    <p:set>
                                      <p:cBhvr>
                                        <p:cTn id="205" dur="1" fill="hold">
                                          <p:stCondLst>
                                            <p:cond delay="0"/>
                                          </p:stCondLst>
                                        </p:cTn>
                                        <p:tgtEl>
                                          <p:spTgt spid="141"/>
                                        </p:tgtEl>
                                        <p:attrNameLst>
                                          <p:attrName>style.visibility</p:attrName>
                                        </p:attrNameLst>
                                      </p:cBhvr>
                                      <p:to>
                                        <p:strVal val="visible"/>
                                      </p:to>
                                    </p:set>
                                    <p:animEffect transition="in" filter="fade">
                                      <p:cBhvr>
                                        <p:cTn id="206" dur="100"/>
                                        <p:tgtEl>
                                          <p:spTgt spid="141"/>
                                        </p:tgtEl>
                                      </p:cBhvr>
                                    </p:animEffect>
                                  </p:childTnLst>
                                </p:cTn>
                              </p:par>
                            </p:childTnLst>
                          </p:cTn>
                        </p:par>
                        <p:par>
                          <p:cTn id="207" fill="hold">
                            <p:stCondLst>
                              <p:cond delay="5100"/>
                            </p:stCondLst>
                            <p:childTnLst>
                              <p:par>
                                <p:cTn id="208" presetID="10" presetClass="entr" presetSubtype="0" fill="hold" nodeType="afterEffect">
                                  <p:stCondLst>
                                    <p:cond delay="0"/>
                                  </p:stCondLst>
                                  <p:childTnLst>
                                    <p:set>
                                      <p:cBhvr>
                                        <p:cTn id="209" dur="1" fill="hold">
                                          <p:stCondLst>
                                            <p:cond delay="0"/>
                                          </p:stCondLst>
                                        </p:cTn>
                                        <p:tgtEl>
                                          <p:spTgt spid="152"/>
                                        </p:tgtEl>
                                        <p:attrNameLst>
                                          <p:attrName>style.visibility</p:attrName>
                                        </p:attrNameLst>
                                      </p:cBhvr>
                                      <p:to>
                                        <p:strVal val="visible"/>
                                      </p:to>
                                    </p:set>
                                    <p:animEffect transition="in" filter="fade">
                                      <p:cBhvr>
                                        <p:cTn id="210" dur="100"/>
                                        <p:tgtEl>
                                          <p:spTgt spid="152"/>
                                        </p:tgtEl>
                                      </p:cBhvr>
                                    </p:animEffect>
                                  </p:childTnLst>
                                </p:cTn>
                              </p:par>
                            </p:childTnLst>
                          </p:cTn>
                        </p:par>
                        <p:par>
                          <p:cTn id="211" fill="hold">
                            <p:stCondLst>
                              <p:cond delay="5200"/>
                            </p:stCondLst>
                            <p:childTnLst>
                              <p:par>
                                <p:cTn id="212" presetID="10" presetClass="entr" presetSubtype="0" fill="hold" nodeType="afterEffect">
                                  <p:stCondLst>
                                    <p:cond delay="0"/>
                                  </p:stCondLst>
                                  <p:childTnLst>
                                    <p:set>
                                      <p:cBhvr>
                                        <p:cTn id="213" dur="1" fill="hold">
                                          <p:stCondLst>
                                            <p:cond delay="0"/>
                                          </p:stCondLst>
                                        </p:cTn>
                                        <p:tgtEl>
                                          <p:spTgt spid="153"/>
                                        </p:tgtEl>
                                        <p:attrNameLst>
                                          <p:attrName>style.visibility</p:attrName>
                                        </p:attrNameLst>
                                      </p:cBhvr>
                                      <p:to>
                                        <p:strVal val="visible"/>
                                      </p:to>
                                    </p:set>
                                    <p:animEffect transition="in" filter="fade">
                                      <p:cBhvr>
                                        <p:cTn id="214" dur="100"/>
                                        <p:tgtEl>
                                          <p:spTgt spid="153"/>
                                        </p:tgtEl>
                                      </p:cBhvr>
                                    </p:animEffect>
                                  </p:childTnLst>
                                </p:cTn>
                              </p:par>
                            </p:childTnLst>
                          </p:cTn>
                        </p:par>
                        <p:par>
                          <p:cTn id="215" fill="hold">
                            <p:stCondLst>
                              <p:cond delay="5300"/>
                            </p:stCondLst>
                            <p:childTnLst>
                              <p:par>
                                <p:cTn id="216" presetID="10" presetClass="entr" presetSubtype="0" fill="hold" nodeType="afterEffect">
                                  <p:stCondLst>
                                    <p:cond delay="0"/>
                                  </p:stCondLst>
                                  <p:childTnLst>
                                    <p:set>
                                      <p:cBhvr>
                                        <p:cTn id="217" dur="1" fill="hold">
                                          <p:stCondLst>
                                            <p:cond delay="0"/>
                                          </p:stCondLst>
                                        </p:cTn>
                                        <p:tgtEl>
                                          <p:spTgt spid="149"/>
                                        </p:tgtEl>
                                        <p:attrNameLst>
                                          <p:attrName>style.visibility</p:attrName>
                                        </p:attrNameLst>
                                      </p:cBhvr>
                                      <p:to>
                                        <p:strVal val="visible"/>
                                      </p:to>
                                    </p:set>
                                    <p:animEffect transition="in" filter="fade">
                                      <p:cBhvr>
                                        <p:cTn id="218" dur="100"/>
                                        <p:tgtEl>
                                          <p:spTgt spid="149"/>
                                        </p:tgtEl>
                                      </p:cBhvr>
                                    </p:animEffect>
                                  </p:childTnLst>
                                </p:cTn>
                              </p:par>
                            </p:childTnLst>
                          </p:cTn>
                        </p:par>
                        <p:par>
                          <p:cTn id="219" fill="hold">
                            <p:stCondLst>
                              <p:cond delay="5400"/>
                            </p:stCondLst>
                            <p:childTnLst>
                              <p:par>
                                <p:cTn id="220" presetID="10" presetClass="entr" presetSubtype="0" fill="hold" nodeType="afterEffect">
                                  <p:stCondLst>
                                    <p:cond delay="0"/>
                                  </p:stCondLst>
                                  <p:childTnLst>
                                    <p:set>
                                      <p:cBhvr>
                                        <p:cTn id="221" dur="1" fill="hold">
                                          <p:stCondLst>
                                            <p:cond delay="0"/>
                                          </p:stCondLst>
                                        </p:cTn>
                                        <p:tgtEl>
                                          <p:spTgt spid="176"/>
                                        </p:tgtEl>
                                        <p:attrNameLst>
                                          <p:attrName>style.visibility</p:attrName>
                                        </p:attrNameLst>
                                      </p:cBhvr>
                                      <p:to>
                                        <p:strVal val="visible"/>
                                      </p:to>
                                    </p:set>
                                    <p:animEffect transition="in" filter="fade">
                                      <p:cBhvr>
                                        <p:cTn id="222" dur="100"/>
                                        <p:tgtEl>
                                          <p:spTgt spid="176"/>
                                        </p:tgtEl>
                                      </p:cBhvr>
                                    </p:animEffect>
                                  </p:childTnLst>
                                </p:cTn>
                              </p:par>
                            </p:childTnLst>
                          </p:cTn>
                        </p:par>
                        <p:par>
                          <p:cTn id="223" fill="hold">
                            <p:stCondLst>
                              <p:cond delay="5500"/>
                            </p:stCondLst>
                            <p:childTnLst>
                              <p:par>
                                <p:cTn id="224" presetID="10" presetClass="entr" presetSubtype="0" fill="hold" nodeType="afterEffect">
                                  <p:stCondLst>
                                    <p:cond delay="0"/>
                                  </p:stCondLst>
                                  <p:childTnLst>
                                    <p:set>
                                      <p:cBhvr>
                                        <p:cTn id="225" dur="1" fill="hold">
                                          <p:stCondLst>
                                            <p:cond delay="0"/>
                                          </p:stCondLst>
                                        </p:cTn>
                                        <p:tgtEl>
                                          <p:spTgt spid="135"/>
                                        </p:tgtEl>
                                        <p:attrNameLst>
                                          <p:attrName>style.visibility</p:attrName>
                                        </p:attrNameLst>
                                      </p:cBhvr>
                                      <p:to>
                                        <p:strVal val="visible"/>
                                      </p:to>
                                    </p:set>
                                    <p:animEffect transition="in" filter="fade">
                                      <p:cBhvr>
                                        <p:cTn id="226" dur="100"/>
                                        <p:tgtEl>
                                          <p:spTgt spid="135"/>
                                        </p:tgtEl>
                                      </p:cBhvr>
                                    </p:animEffect>
                                  </p:childTnLst>
                                </p:cTn>
                              </p:par>
                            </p:childTnLst>
                          </p:cTn>
                        </p:par>
                        <p:par>
                          <p:cTn id="227" fill="hold">
                            <p:stCondLst>
                              <p:cond delay="5600"/>
                            </p:stCondLst>
                            <p:childTnLst>
                              <p:par>
                                <p:cTn id="228" presetID="10" presetClass="entr" presetSubtype="0" fill="hold" nodeType="afterEffect">
                                  <p:stCondLst>
                                    <p:cond delay="0"/>
                                  </p:stCondLst>
                                  <p:childTnLst>
                                    <p:set>
                                      <p:cBhvr>
                                        <p:cTn id="229" dur="1" fill="hold">
                                          <p:stCondLst>
                                            <p:cond delay="0"/>
                                          </p:stCondLst>
                                        </p:cTn>
                                        <p:tgtEl>
                                          <p:spTgt spid="147"/>
                                        </p:tgtEl>
                                        <p:attrNameLst>
                                          <p:attrName>style.visibility</p:attrName>
                                        </p:attrNameLst>
                                      </p:cBhvr>
                                      <p:to>
                                        <p:strVal val="visible"/>
                                      </p:to>
                                    </p:set>
                                    <p:animEffect transition="in" filter="fade">
                                      <p:cBhvr>
                                        <p:cTn id="230" dur="100"/>
                                        <p:tgtEl>
                                          <p:spTgt spid="147"/>
                                        </p:tgtEl>
                                      </p:cBhvr>
                                    </p:animEffect>
                                  </p:childTnLst>
                                </p:cTn>
                              </p:par>
                            </p:childTnLst>
                          </p:cTn>
                        </p:par>
                        <p:par>
                          <p:cTn id="231" fill="hold">
                            <p:stCondLst>
                              <p:cond delay="5700"/>
                            </p:stCondLst>
                            <p:childTnLst>
                              <p:par>
                                <p:cTn id="232" presetID="10" presetClass="entr" presetSubtype="0" fill="hold" nodeType="afterEffect">
                                  <p:stCondLst>
                                    <p:cond delay="0"/>
                                  </p:stCondLst>
                                  <p:childTnLst>
                                    <p:set>
                                      <p:cBhvr>
                                        <p:cTn id="233" dur="1" fill="hold">
                                          <p:stCondLst>
                                            <p:cond delay="0"/>
                                          </p:stCondLst>
                                        </p:cTn>
                                        <p:tgtEl>
                                          <p:spTgt spid="114"/>
                                        </p:tgtEl>
                                        <p:attrNameLst>
                                          <p:attrName>style.visibility</p:attrName>
                                        </p:attrNameLst>
                                      </p:cBhvr>
                                      <p:to>
                                        <p:strVal val="visible"/>
                                      </p:to>
                                    </p:set>
                                    <p:animEffect transition="in" filter="fade">
                                      <p:cBhvr>
                                        <p:cTn id="234" dur="100"/>
                                        <p:tgtEl>
                                          <p:spTgt spid="114"/>
                                        </p:tgtEl>
                                      </p:cBhvr>
                                    </p:animEffect>
                                  </p:childTnLst>
                                </p:cTn>
                              </p:par>
                            </p:childTnLst>
                          </p:cTn>
                        </p:par>
                        <p:par>
                          <p:cTn id="235" fill="hold">
                            <p:stCondLst>
                              <p:cond delay="5800"/>
                            </p:stCondLst>
                            <p:childTnLst>
                              <p:par>
                                <p:cTn id="236" presetID="10" presetClass="entr" presetSubtype="0" fill="hold" nodeType="afterEffect">
                                  <p:stCondLst>
                                    <p:cond delay="0"/>
                                  </p:stCondLst>
                                  <p:childTnLst>
                                    <p:set>
                                      <p:cBhvr>
                                        <p:cTn id="237" dur="1" fill="hold">
                                          <p:stCondLst>
                                            <p:cond delay="0"/>
                                          </p:stCondLst>
                                        </p:cTn>
                                        <p:tgtEl>
                                          <p:spTgt spid="142"/>
                                        </p:tgtEl>
                                        <p:attrNameLst>
                                          <p:attrName>style.visibility</p:attrName>
                                        </p:attrNameLst>
                                      </p:cBhvr>
                                      <p:to>
                                        <p:strVal val="visible"/>
                                      </p:to>
                                    </p:set>
                                    <p:animEffect transition="in" filter="fade">
                                      <p:cBhvr>
                                        <p:cTn id="238" dur="100"/>
                                        <p:tgtEl>
                                          <p:spTgt spid="142"/>
                                        </p:tgtEl>
                                      </p:cBhvr>
                                    </p:animEffect>
                                  </p:childTnLst>
                                </p:cTn>
                              </p:par>
                            </p:childTnLst>
                          </p:cTn>
                        </p:par>
                        <p:par>
                          <p:cTn id="239" fill="hold">
                            <p:stCondLst>
                              <p:cond delay="5900"/>
                            </p:stCondLst>
                            <p:childTnLst>
                              <p:par>
                                <p:cTn id="240" presetID="10" presetClass="entr" presetSubtype="0" fill="hold" nodeType="afterEffect">
                                  <p:stCondLst>
                                    <p:cond delay="0"/>
                                  </p:stCondLst>
                                  <p:childTnLst>
                                    <p:set>
                                      <p:cBhvr>
                                        <p:cTn id="241" dur="1" fill="hold">
                                          <p:stCondLst>
                                            <p:cond delay="0"/>
                                          </p:stCondLst>
                                        </p:cTn>
                                        <p:tgtEl>
                                          <p:spTgt spid="143"/>
                                        </p:tgtEl>
                                        <p:attrNameLst>
                                          <p:attrName>style.visibility</p:attrName>
                                        </p:attrNameLst>
                                      </p:cBhvr>
                                      <p:to>
                                        <p:strVal val="visible"/>
                                      </p:to>
                                    </p:set>
                                    <p:animEffect transition="in" filter="fade">
                                      <p:cBhvr>
                                        <p:cTn id="242" dur="100"/>
                                        <p:tgtEl>
                                          <p:spTgt spid="143"/>
                                        </p:tgtEl>
                                      </p:cBhvr>
                                    </p:animEffect>
                                  </p:childTnLst>
                                </p:cTn>
                              </p:par>
                            </p:childTnLst>
                          </p:cTn>
                        </p:par>
                        <p:par>
                          <p:cTn id="243" fill="hold">
                            <p:stCondLst>
                              <p:cond delay="6000"/>
                            </p:stCondLst>
                            <p:childTnLst>
                              <p:par>
                                <p:cTn id="244" presetID="10" presetClass="entr" presetSubtype="0" fill="hold" nodeType="afterEffect">
                                  <p:stCondLst>
                                    <p:cond delay="0"/>
                                  </p:stCondLst>
                                  <p:childTnLst>
                                    <p:set>
                                      <p:cBhvr>
                                        <p:cTn id="245" dur="1" fill="hold">
                                          <p:stCondLst>
                                            <p:cond delay="0"/>
                                          </p:stCondLst>
                                        </p:cTn>
                                        <p:tgtEl>
                                          <p:spTgt spid="170"/>
                                        </p:tgtEl>
                                        <p:attrNameLst>
                                          <p:attrName>style.visibility</p:attrName>
                                        </p:attrNameLst>
                                      </p:cBhvr>
                                      <p:to>
                                        <p:strVal val="visible"/>
                                      </p:to>
                                    </p:set>
                                    <p:animEffect transition="in" filter="fade">
                                      <p:cBhvr>
                                        <p:cTn id="246" dur="100"/>
                                        <p:tgtEl>
                                          <p:spTgt spid="170"/>
                                        </p:tgtEl>
                                      </p:cBhvr>
                                    </p:animEffect>
                                  </p:childTnLst>
                                </p:cTn>
                              </p:par>
                            </p:childTnLst>
                          </p:cTn>
                        </p:par>
                        <p:par>
                          <p:cTn id="247" fill="hold">
                            <p:stCondLst>
                              <p:cond delay="6100"/>
                            </p:stCondLst>
                            <p:childTnLst>
                              <p:par>
                                <p:cTn id="248" presetID="10" presetClass="entr" presetSubtype="0" fill="hold" nodeType="afterEffect">
                                  <p:stCondLst>
                                    <p:cond delay="0"/>
                                  </p:stCondLst>
                                  <p:childTnLst>
                                    <p:set>
                                      <p:cBhvr>
                                        <p:cTn id="249" dur="1" fill="hold">
                                          <p:stCondLst>
                                            <p:cond delay="0"/>
                                          </p:stCondLst>
                                        </p:cTn>
                                        <p:tgtEl>
                                          <p:spTgt spid="139"/>
                                        </p:tgtEl>
                                        <p:attrNameLst>
                                          <p:attrName>style.visibility</p:attrName>
                                        </p:attrNameLst>
                                      </p:cBhvr>
                                      <p:to>
                                        <p:strVal val="visible"/>
                                      </p:to>
                                    </p:set>
                                    <p:animEffect transition="in" filter="fade">
                                      <p:cBhvr>
                                        <p:cTn id="250" dur="100"/>
                                        <p:tgtEl>
                                          <p:spTgt spid="139"/>
                                        </p:tgtEl>
                                      </p:cBhvr>
                                    </p:animEffect>
                                  </p:childTnLst>
                                </p:cTn>
                              </p:par>
                            </p:childTnLst>
                          </p:cTn>
                        </p:par>
                        <p:par>
                          <p:cTn id="251" fill="hold">
                            <p:stCondLst>
                              <p:cond delay="6200"/>
                            </p:stCondLst>
                            <p:childTnLst>
                              <p:par>
                                <p:cTn id="252" presetID="10" presetClass="entr" presetSubtype="0" fill="hold" nodeType="afterEffect">
                                  <p:stCondLst>
                                    <p:cond delay="0"/>
                                  </p:stCondLst>
                                  <p:childTnLst>
                                    <p:set>
                                      <p:cBhvr>
                                        <p:cTn id="253" dur="1" fill="hold">
                                          <p:stCondLst>
                                            <p:cond delay="0"/>
                                          </p:stCondLst>
                                        </p:cTn>
                                        <p:tgtEl>
                                          <p:spTgt spid="148"/>
                                        </p:tgtEl>
                                        <p:attrNameLst>
                                          <p:attrName>style.visibility</p:attrName>
                                        </p:attrNameLst>
                                      </p:cBhvr>
                                      <p:to>
                                        <p:strVal val="visible"/>
                                      </p:to>
                                    </p:set>
                                    <p:animEffect transition="in" filter="fade">
                                      <p:cBhvr>
                                        <p:cTn id="254" dur="100"/>
                                        <p:tgtEl>
                                          <p:spTgt spid="148"/>
                                        </p:tgtEl>
                                      </p:cBhvr>
                                    </p:animEffect>
                                  </p:childTnLst>
                                </p:cTn>
                              </p:par>
                            </p:childTnLst>
                          </p:cTn>
                        </p:par>
                        <p:par>
                          <p:cTn id="255" fill="hold">
                            <p:stCondLst>
                              <p:cond delay="6300"/>
                            </p:stCondLst>
                            <p:childTnLst>
                              <p:par>
                                <p:cTn id="256" presetID="10" presetClass="entr" presetSubtype="0" fill="hold" nodeType="afterEffect">
                                  <p:stCondLst>
                                    <p:cond delay="0"/>
                                  </p:stCondLst>
                                  <p:childTnLst>
                                    <p:set>
                                      <p:cBhvr>
                                        <p:cTn id="257" dur="1" fill="hold">
                                          <p:stCondLst>
                                            <p:cond delay="0"/>
                                          </p:stCondLst>
                                        </p:cTn>
                                        <p:tgtEl>
                                          <p:spTgt spid="166"/>
                                        </p:tgtEl>
                                        <p:attrNameLst>
                                          <p:attrName>style.visibility</p:attrName>
                                        </p:attrNameLst>
                                      </p:cBhvr>
                                      <p:to>
                                        <p:strVal val="visible"/>
                                      </p:to>
                                    </p:set>
                                    <p:animEffect transition="in" filter="fade">
                                      <p:cBhvr>
                                        <p:cTn id="258" dur="100"/>
                                        <p:tgtEl>
                                          <p:spTgt spid="166"/>
                                        </p:tgtEl>
                                      </p:cBhvr>
                                    </p:animEffect>
                                  </p:childTnLst>
                                </p:cTn>
                              </p:par>
                            </p:childTnLst>
                          </p:cTn>
                        </p:par>
                        <p:par>
                          <p:cTn id="259" fill="hold">
                            <p:stCondLst>
                              <p:cond delay="6400"/>
                            </p:stCondLst>
                            <p:childTnLst>
                              <p:par>
                                <p:cTn id="260" presetID="10" presetClass="entr" presetSubtype="0" fill="hold" nodeType="afterEffect">
                                  <p:stCondLst>
                                    <p:cond delay="0"/>
                                  </p:stCondLst>
                                  <p:childTnLst>
                                    <p:set>
                                      <p:cBhvr>
                                        <p:cTn id="261" dur="1" fill="hold">
                                          <p:stCondLst>
                                            <p:cond delay="0"/>
                                          </p:stCondLst>
                                        </p:cTn>
                                        <p:tgtEl>
                                          <p:spTgt spid="171"/>
                                        </p:tgtEl>
                                        <p:attrNameLst>
                                          <p:attrName>style.visibility</p:attrName>
                                        </p:attrNameLst>
                                      </p:cBhvr>
                                      <p:to>
                                        <p:strVal val="visible"/>
                                      </p:to>
                                    </p:set>
                                    <p:animEffect transition="in" filter="fade">
                                      <p:cBhvr>
                                        <p:cTn id="262" dur="100"/>
                                        <p:tgtEl>
                                          <p:spTgt spid="171"/>
                                        </p:tgtEl>
                                      </p:cBhvr>
                                    </p:animEffect>
                                  </p:childTnLst>
                                </p:cTn>
                              </p:par>
                            </p:childTnLst>
                          </p:cTn>
                        </p:par>
                        <p:par>
                          <p:cTn id="263" fill="hold">
                            <p:stCondLst>
                              <p:cond delay="6500"/>
                            </p:stCondLst>
                            <p:childTnLst>
                              <p:par>
                                <p:cTn id="264" presetID="10" presetClass="entr" presetSubtype="0" fill="hold" nodeType="afterEffect">
                                  <p:stCondLst>
                                    <p:cond delay="0"/>
                                  </p:stCondLst>
                                  <p:childTnLst>
                                    <p:set>
                                      <p:cBhvr>
                                        <p:cTn id="265" dur="1" fill="hold">
                                          <p:stCondLst>
                                            <p:cond delay="0"/>
                                          </p:stCondLst>
                                        </p:cTn>
                                        <p:tgtEl>
                                          <p:spTgt spid="165"/>
                                        </p:tgtEl>
                                        <p:attrNameLst>
                                          <p:attrName>style.visibility</p:attrName>
                                        </p:attrNameLst>
                                      </p:cBhvr>
                                      <p:to>
                                        <p:strVal val="visible"/>
                                      </p:to>
                                    </p:set>
                                    <p:animEffect transition="in" filter="fade">
                                      <p:cBhvr>
                                        <p:cTn id="266" dur="100"/>
                                        <p:tgtEl>
                                          <p:spTgt spid="165"/>
                                        </p:tgtEl>
                                      </p:cBhvr>
                                    </p:animEffect>
                                  </p:childTnLst>
                                </p:cTn>
                              </p:par>
                            </p:childTnLst>
                          </p:cTn>
                        </p:par>
                        <p:par>
                          <p:cTn id="267" fill="hold">
                            <p:stCondLst>
                              <p:cond delay="6600"/>
                            </p:stCondLst>
                            <p:childTnLst>
                              <p:par>
                                <p:cTn id="268" presetID="10" presetClass="entr" presetSubtype="0" fill="hold" nodeType="afterEffect">
                                  <p:stCondLst>
                                    <p:cond delay="0"/>
                                  </p:stCondLst>
                                  <p:childTnLst>
                                    <p:set>
                                      <p:cBhvr>
                                        <p:cTn id="269" dur="1" fill="hold">
                                          <p:stCondLst>
                                            <p:cond delay="0"/>
                                          </p:stCondLst>
                                        </p:cTn>
                                        <p:tgtEl>
                                          <p:spTgt spid="172"/>
                                        </p:tgtEl>
                                        <p:attrNameLst>
                                          <p:attrName>style.visibility</p:attrName>
                                        </p:attrNameLst>
                                      </p:cBhvr>
                                      <p:to>
                                        <p:strVal val="visible"/>
                                      </p:to>
                                    </p:set>
                                    <p:animEffect transition="in" filter="fade">
                                      <p:cBhvr>
                                        <p:cTn id="270" dur="100"/>
                                        <p:tgtEl>
                                          <p:spTgt spid="172"/>
                                        </p:tgtEl>
                                      </p:cBhvr>
                                    </p:animEffect>
                                  </p:childTnLst>
                                </p:cTn>
                              </p:par>
                            </p:childTnLst>
                          </p:cTn>
                        </p:par>
                        <p:par>
                          <p:cTn id="271" fill="hold">
                            <p:stCondLst>
                              <p:cond delay="6700"/>
                            </p:stCondLst>
                            <p:childTnLst>
                              <p:par>
                                <p:cTn id="272" presetID="10" presetClass="entr" presetSubtype="0" fill="hold" nodeType="afterEffect">
                                  <p:stCondLst>
                                    <p:cond delay="0"/>
                                  </p:stCondLst>
                                  <p:childTnLst>
                                    <p:set>
                                      <p:cBhvr>
                                        <p:cTn id="273" dur="1" fill="hold">
                                          <p:stCondLst>
                                            <p:cond delay="0"/>
                                          </p:stCondLst>
                                        </p:cTn>
                                        <p:tgtEl>
                                          <p:spTgt spid="179"/>
                                        </p:tgtEl>
                                        <p:attrNameLst>
                                          <p:attrName>style.visibility</p:attrName>
                                        </p:attrNameLst>
                                      </p:cBhvr>
                                      <p:to>
                                        <p:strVal val="visible"/>
                                      </p:to>
                                    </p:set>
                                    <p:animEffect transition="in" filter="fade">
                                      <p:cBhvr>
                                        <p:cTn id="274" dur="500"/>
                                        <p:tgtEl>
                                          <p:spTgt spid="1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B57DFB94-1FE6-444C-BC69-7FDD8C9CD35B}"/>
              </a:ext>
            </a:extLst>
          </p:cNvPr>
          <p:cNvSpPr/>
          <p:nvPr/>
        </p:nvSpPr>
        <p:spPr bwMode="auto">
          <a:xfrm>
            <a:off x="7589520" y="1367444"/>
            <a:ext cx="4381763" cy="5236704"/>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5">
            <a:extLst>
              <a:ext uri="{FF2B5EF4-FFF2-40B4-BE49-F238E27FC236}">
                <a16:creationId xmlns:a16="http://schemas.microsoft.com/office/drawing/2014/main" id="{B3CC2859-BFE0-4E50-BDB8-60A98E3E7B74}"/>
              </a:ext>
            </a:extLst>
          </p:cNvPr>
          <p:cNvSpPr>
            <a:spLocks/>
          </p:cNvSpPr>
          <p:nvPr/>
        </p:nvSpPr>
        <p:spPr bwMode="auto">
          <a:xfrm>
            <a:off x="7870371" y="1498986"/>
            <a:ext cx="3796910" cy="2011488"/>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sp>
        <p:nvSpPr>
          <p:cNvPr id="2" name="Title 1">
            <a:extLst>
              <a:ext uri="{FF2B5EF4-FFF2-40B4-BE49-F238E27FC236}">
                <a16:creationId xmlns:a16="http://schemas.microsoft.com/office/drawing/2014/main" id="{89CC5DD4-14FC-44B5-A089-DCF163D03D8F}"/>
              </a:ext>
            </a:extLst>
          </p:cNvPr>
          <p:cNvSpPr>
            <a:spLocks noGrp="1"/>
          </p:cNvSpPr>
          <p:nvPr>
            <p:ph type="title"/>
          </p:nvPr>
        </p:nvSpPr>
        <p:spPr/>
        <p:txBody>
          <a:bodyPr/>
          <a:lstStyle/>
          <a:p>
            <a:r>
              <a:rPr lang="en-IN" dirty="0" err="1"/>
              <a:t>VM</a:t>
            </a:r>
            <a:r>
              <a:rPr lang="en-IN" dirty="0"/>
              <a:t> Scale Sets</a:t>
            </a:r>
          </a:p>
        </p:txBody>
      </p:sp>
      <p:grpSp>
        <p:nvGrpSpPr>
          <p:cNvPr id="44" name="Group 43">
            <a:extLst>
              <a:ext uri="{FF2B5EF4-FFF2-40B4-BE49-F238E27FC236}">
                <a16:creationId xmlns:a16="http://schemas.microsoft.com/office/drawing/2014/main" id="{7DC07947-5CDE-446F-AAB1-DC4F99C8467F}"/>
              </a:ext>
            </a:extLst>
          </p:cNvPr>
          <p:cNvGrpSpPr/>
          <p:nvPr/>
        </p:nvGrpSpPr>
        <p:grpSpPr>
          <a:xfrm>
            <a:off x="9100338" y="3178315"/>
            <a:ext cx="1360126" cy="1259954"/>
            <a:chOff x="9100338" y="3854663"/>
            <a:chExt cx="1360126" cy="1259954"/>
          </a:xfrm>
        </p:grpSpPr>
        <p:sp>
          <p:nvSpPr>
            <p:cNvPr id="45" name="Rectangle 44">
              <a:extLst>
                <a:ext uri="{FF2B5EF4-FFF2-40B4-BE49-F238E27FC236}">
                  <a16:creationId xmlns:a16="http://schemas.microsoft.com/office/drawing/2014/main" id="{CF9DAA7B-6461-4314-9F35-2D81721A705B}"/>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75">
              <a:extLst>
                <a:ext uri="{FF2B5EF4-FFF2-40B4-BE49-F238E27FC236}">
                  <a16:creationId xmlns:a16="http://schemas.microsoft.com/office/drawing/2014/main" id="{4941E84A-D5FB-4EBF-ADC1-A7EBE77985DD}"/>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71" name="Group 70">
            <a:extLst>
              <a:ext uri="{FF2B5EF4-FFF2-40B4-BE49-F238E27FC236}">
                <a16:creationId xmlns:a16="http://schemas.microsoft.com/office/drawing/2014/main" id="{1F0E98DE-BB75-47FB-A1D4-ED24213B8CDB}"/>
              </a:ext>
            </a:extLst>
          </p:cNvPr>
          <p:cNvGrpSpPr/>
          <p:nvPr/>
        </p:nvGrpSpPr>
        <p:grpSpPr>
          <a:xfrm>
            <a:off x="7725943" y="4646682"/>
            <a:ext cx="900121" cy="833828"/>
            <a:chOff x="9100338" y="3854663"/>
            <a:chExt cx="1360126" cy="1259954"/>
          </a:xfrm>
        </p:grpSpPr>
        <p:sp>
          <p:nvSpPr>
            <p:cNvPr id="72" name="Rectangle 71">
              <a:extLst>
                <a:ext uri="{FF2B5EF4-FFF2-40B4-BE49-F238E27FC236}">
                  <a16:creationId xmlns:a16="http://schemas.microsoft.com/office/drawing/2014/main" id="{AB32EDD4-547D-461C-BDA9-B46DDCBBE3D4}"/>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75">
              <a:extLst>
                <a:ext uri="{FF2B5EF4-FFF2-40B4-BE49-F238E27FC236}">
                  <a16:creationId xmlns:a16="http://schemas.microsoft.com/office/drawing/2014/main" id="{852EA4DE-EA9A-4945-A12A-E0792B8D17A0}"/>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74" name="Group 73">
            <a:extLst>
              <a:ext uri="{FF2B5EF4-FFF2-40B4-BE49-F238E27FC236}">
                <a16:creationId xmlns:a16="http://schemas.microsoft.com/office/drawing/2014/main" id="{92DB8FEE-55EB-4F3C-BFF0-80DC5A50C159}"/>
              </a:ext>
            </a:extLst>
          </p:cNvPr>
          <p:cNvGrpSpPr/>
          <p:nvPr/>
        </p:nvGrpSpPr>
        <p:grpSpPr>
          <a:xfrm>
            <a:off x="8795541" y="4646682"/>
            <a:ext cx="900121" cy="833828"/>
            <a:chOff x="9100338" y="3854663"/>
            <a:chExt cx="1360126" cy="1259954"/>
          </a:xfrm>
        </p:grpSpPr>
        <p:sp>
          <p:nvSpPr>
            <p:cNvPr id="75" name="Rectangle 74">
              <a:extLst>
                <a:ext uri="{FF2B5EF4-FFF2-40B4-BE49-F238E27FC236}">
                  <a16:creationId xmlns:a16="http://schemas.microsoft.com/office/drawing/2014/main" id="{896173E6-750F-4730-96B5-A0977F0F628E}"/>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Freeform 75">
              <a:extLst>
                <a:ext uri="{FF2B5EF4-FFF2-40B4-BE49-F238E27FC236}">
                  <a16:creationId xmlns:a16="http://schemas.microsoft.com/office/drawing/2014/main" id="{2614D1F7-C210-4A93-80CD-11F641645364}"/>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77" name="Group 76">
            <a:extLst>
              <a:ext uri="{FF2B5EF4-FFF2-40B4-BE49-F238E27FC236}">
                <a16:creationId xmlns:a16="http://schemas.microsoft.com/office/drawing/2014/main" id="{7CB63BE8-9FEE-4871-9E5A-EC074DE3BA0A}"/>
              </a:ext>
            </a:extLst>
          </p:cNvPr>
          <p:cNvGrpSpPr/>
          <p:nvPr/>
        </p:nvGrpSpPr>
        <p:grpSpPr>
          <a:xfrm>
            <a:off x="9865140" y="4646682"/>
            <a:ext cx="900121" cy="833828"/>
            <a:chOff x="9100338" y="3854663"/>
            <a:chExt cx="1360126" cy="1259954"/>
          </a:xfrm>
        </p:grpSpPr>
        <p:sp>
          <p:nvSpPr>
            <p:cNvPr id="78" name="Rectangle 77">
              <a:extLst>
                <a:ext uri="{FF2B5EF4-FFF2-40B4-BE49-F238E27FC236}">
                  <a16:creationId xmlns:a16="http://schemas.microsoft.com/office/drawing/2014/main" id="{4A531EC1-E346-4138-A56A-DAEAFF9A36A7}"/>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Freeform 75">
              <a:extLst>
                <a:ext uri="{FF2B5EF4-FFF2-40B4-BE49-F238E27FC236}">
                  <a16:creationId xmlns:a16="http://schemas.microsoft.com/office/drawing/2014/main" id="{7F08F4B8-7F1C-4A95-AC7D-9AF9395C66FF}"/>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83" name="Group 82">
            <a:extLst>
              <a:ext uri="{FF2B5EF4-FFF2-40B4-BE49-F238E27FC236}">
                <a16:creationId xmlns:a16="http://schemas.microsoft.com/office/drawing/2014/main" id="{CCDEFBA5-13DF-48E0-A200-5DA25A102CF7}"/>
              </a:ext>
            </a:extLst>
          </p:cNvPr>
          <p:cNvGrpSpPr/>
          <p:nvPr/>
        </p:nvGrpSpPr>
        <p:grpSpPr>
          <a:xfrm>
            <a:off x="10934738" y="4646682"/>
            <a:ext cx="900121" cy="833828"/>
            <a:chOff x="9100338" y="3854663"/>
            <a:chExt cx="1360126" cy="1259954"/>
          </a:xfrm>
        </p:grpSpPr>
        <p:sp>
          <p:nvSpPr>
            <p:cNvPr id="84" name="Rectangle 83">
              <a:extLst>
                <a:ext uri="{FF2B5EF4-FFF2-40B4-BE49-F238E27FC236}">
                  <a16:creationId xmlns:a16="http://schemas.microsoft.com/office/drawing/2014/main" id="{88752AD0-7D46-4B9D-B01D-13A78B593532}"/>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Freeform 75">
              <a:extLst>
                <a:ext uri="{FF2B5EF4-FFF2-40B4-BE49-F238E27FC236}">
                  <a16:creationId xmlns:a16="http://schemas.microsoft.com/office/drawing/2014/main" id="{4146CDB8-33A3-4FB1-BC36-E301A8050408}"/>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86" name="Group 85">
            <a:extLst>
              <a:ext uri="{FF2B5EF4-FFF2-40B4-BE49-F238E27FC236}">
                <a16:creationId xmlns:a16="http://schemas.microsoft.com/office/drawing/2014/main" id="{EAC25AB7-6210-4D30-81ED-BEE0398A3FFD}"/>
              </a:ext>
            </a:extLst>
          </p:cNvPr>
          <p:cNvGrpSpPr/>
          <p:nvPr/>
        </p:nvGrpSpPr>
        <p:grpSpPr>
          <a:xfrm>
            <a:off x="7725943" y="5634684"/>
            <a:ext cx="900121" cy="833828"/>
            <a:chOff x="9100338" y="3854663"/>
            <a:chExt cx="1360126" cy="1259954"/>
          </a:xfrm>
        </p:grpSpPr>
        <p:sp>
          <p:nvSpPr>
            <p:cNvPr id="87" name="Rectangle 86">
              <a:extLst>
                <a:ext uri="{FF2B5EF4-FFF2-40B4-BE49-F238E27FC236}">
                  <a16:creationId xmlns:a16="http://schemas.microsoft.com/office/drawing/2014/main" id="{FC9EABA6-4840-44D8-9117-CCB29A7403B5}"/>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75">
              <a:extLst>
                <a:ext uri="{FF2B5EF4-FFF2-40B4-BE49-F238E27FC236}">
                  <a16:creationId xmlns:a16="http://schemas.microsoft.com/office/drawing/2014/main" id="{83AC7CB1-BF2E-44AB-9A05-9EC733E3580B}"/>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89" name="Group 88">
            <a:extLst>
              <a:ext uri="{FF2B5EF4-FFF2-40B4-BE49-F238E27FC236}">
                <a16:creationId xmlns:a16="http://schemas.microsoft.com/office/drawing/2014/main" id="{4204B1DF-6B01-46DA-8459-F2FCE65D6B12}"/>
              </a:ext>
            </a:extLst>
          </p:cNvPr>
          <p:cNvGrpSpPr/>
          <p:nvPr/>
        </p:nvGrpSpPr>
        <p:grpSpPr>
          <a:xfrm>
            <a:off x="8795541" y="5634684"/>
            <a:ext cx="900121" cy="833828"/>
            <a:chOff x="9100338" y="3854663"/>
            <a:chExt cx="1360126" cy="1259954"/>
          </a:xfrm>
        </p:grpSpPr>
        <p:sp>
          <p:nvSpPr>
            <p:cNvPr id="90" name="Rectangle 89">
              <a:extLst>
                <a:ext uri="{FF2B5EF4-FFF2-40B4-BE49-F238E27FC236}">
                  <a16:creationId xmlns:a16="http://schemas.microsoft.com/office/drawing/2014/main" id="{0E5F46B9-EEB9-4E21-927F-C57795FB820F}"/>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75">
              <a:extLst>
                <a:ext uri="{FF2B5EF4-FFF2-40B4-BE49-F238E27FC236}">
                  <a16:creationId xmlns:a16="http://schemas.microsoft.com/office/drawing/2014/main" id="{88E59338-90A0-41D7-B83C-FF717AC5F304}"/>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92" name="Group 91">
            <a:extLst>
              <a:ext uri="{FF2B5EF4-FFF2-40B4-BE49-F238E27FC236}">
                <a16:creationId xmlns:a16="http://schemas.microsoft.com/office/drawing/2014/main" id="{463985E1-FD42-460A-A699-47E8FF560FA8}"/>
              </a:ext>
            </a:extLst>
          </p:cNvPr>
          <p:cNvGrpSpPr/>
          <p:nvPr/>
        </p:nvGrpSpPr>
        <p:grpSpPr>
          <a:xfrm>
            <a:off x="9865140" y="5634684"/>
            <a:ext cx="900121" cy="833828"/>
            <a:chOff x="9100338" y="3854663"/>
            <a:chExt cx="1360126" cy="1259954"/>
          </a:xfrm>
        </p:grpSpPr>
        <p:sp>
          <p:nvSpPr>
            <p:cNvPr id="93" name="Rectangle 92">
              <a:extLst>
                <a:ext uri="{FF2B5EF4-FFF2-40B4-BE49-F238E27FC236}">
                  <a16:creationId xmlns:a16="http://schemas.microsoft.com/office/drawing/2014/main" id="{2C3570F9-FDB6-482A-80B3-918A539FCF3A}"/>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75">
              <a:extLst>
                <a:ext uri="{FF2B5EF4-FFF2-40B4-BE49-F238E27FC236}">
                  <a16:creationId xmlns:a16="http://schemas.microsoft.com/office/drawing/2014/main" id="{6991149F-B0E9-4103-B6F4-E54181B4CD78}"/>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95" name="Group 94">
            <a:extLst>
              <a:ext uri="{FF2B5EF4-FFF2-40B4-BE49-F238E27FC236}">
                <a16:creationId xmlns:a16="http://schemas.microsoft.com/office/drawing/2014/main" id="{B43576F9-BF70-4807-A947-D470802CA7E2}"/>
              </a:ext>
            </a:extLst>
          </p:cNvPr>
          <p:cNvGrpSpPr/>
          <p:nvPr/>
        </p:nvGrpSpPr>
        <p:grpSpPr>
          <a:xfrm>
            <a:off x="10934738" y="5634684"/>
            <a:ext cx="900121" cy="833828"/>
            <a:chOff x="9100338" y="3854663"/>
            <a:chExt cx="1360126" cy="1259954"/>
          </a:xfrm>
        </p:grpSpPr>
        <p:sp>
          <p:nvSpPr>
            <p:cNvPr id="96" name="Rectangle 95">
              <a:extLst>
                <a:ext uri="{FF2B5EF4-FFF2-40B4-BE49-F238E27FC236}">
                  <a16:creationId xmlns:a16="http://schemas.microsoft.com/office/drawing/2014/main" id="{04C7AD0D-C3F8-42EA-8808-245E1AAE6778}"/>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Freeform 75">
              <a:extLst>
                <a:ext uri="{FF2B5EF4-FFF2-40B4-BE49-F238E27FC236}">
                  <a16:creationId xmlns:a16="http://schemas.microsoft.com/office/drawing/2014/main" id="{C89D957A-EB8A-4995-AF50-C1367A7A7D57}"/>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122" name="Group 121">
            <a:extLst>
              <a:ext uri="{FF2B5EF4-FFF2-40B4-BE49-F238E27FC236}">
                <a16:creationId xmlns:a16="http://schemas.microsoft.com/office/drawing/2014/main" id="{D358130E-505B-483C-B7BB-B0F04AE5E08B}"/>
              </a:ext>
            </a:extLst>
          </p:cNvPr>
          <p:cNvGrpSpPr/>
          <p:nvPr/>
        </p:nvGrpSpPr>
        <p:grpSpPr>
          <a:xfrm>
            <a:off x="365138" y="1367444"/>
            <a:ext cx="7002614" cy="4413728"/>
            <a:chOff x="365138" y="1367444"/>
            <a:chExt cx="7002614" cy="4413728"/>
          </a:xfrm>
        </p:grpSpPr>
        <p:sp>
          <p:nvSpPr>
            <p:cNvPr id="24" name="Rectangle 23">
              <a:extLst>
                <a:ext uri="{FF2B5EF4-FFF2-40B4-BE49-F238E27FC236}">
                  <a16:creationId xmlns:a16="http://schemas.microsoft.com/office/drawing/2014/main" id="{49C50CEF-BEE8-4EA7-869A-C16E02DB2A20}"/>
                </a:ext>
              </a:extLst>
            </p:cNvPr>
            <p:cNvSpPr/>
            <p:nvPr/>
          </p:nvSpPr>
          <p:spPr>
            <a:xfrm>
              <a:off x="868680" y="1367444"/>
              <a:ext cx="6499072" cy="441372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ct val="0"/>
                </a:spcBef>
                <a:spcAft>
                  <a:spcPts val="1800"/>
                </a:spcAft>
              </a:pPr>
              <a:r>
                <a:rPr lang="en-GB" sz="2800" dirty="0">
                  <a:solidFill>
                    <a:schemeClr val="accent1"/>
                  </a:solidFill>
                  <a:latin typeface="+mj-lt"/>
                </a:rPr>
                <a:t>High performance provisioning of </a:t>
              </a:r>
              <a:br>
                <a:rPr lang="en-GB" sz="2800" dirty="0">
                  <a:solidFill>
                    <a:schemeClr val="accent1"/>
                  </a:solidFill>
                  <a:latin typeface="+mj-lt"/>
                </a:rPr>
              </a:br>
              <a:r>
                <a:rPr lang="en-GB" sz="2800" dirty="0">
                  <a:solidFill>
                    <a:schemeClr val="accent1"/>
                  </a:solidFill>
                  <a:latin typeface="+mj-lt"/>
                </a:rPr>
                <a:t>1000+ </a:t>
              </a:r>
              <a:r>
                <a:rPr lang="en-GB" sz="2800" dirty="0" err="1">
                  <a:solidFill>
                    <a:schemeClr val="accent1"/>
                  </a:solidFill>
                  <a:latin typeface="+mj-lt"/>
                </a:rPr>
                <a:t>VMs</a:t>
              </a:r>
              <a:endParaRPr lang="en-GB" sz="2800" dirty="0">
                <a:solidFill>
                  <a:schemeClr val="accent1"/>
                </a:solidFill>
                <a:latin typeface="+mj-lt"/>
              </a:endParaRPr>
            </a:p>
            <a:p>
              <a:pPr lvl="0" defTabSz="444500">
                <a:spcBef>
                  <a:spcPct val="0"/>
                </a:spcBef>
                <a:spcAft>
                  <a:spcPts val="1800"/>
                </a:spcAft>
              </a:pPr>
              <a:r>
                <a:rPr lang="en-GB" sz="2800" dirty="0">
                  <a:solidFill>
                    <a:schemeClr val="accent1"/>
                  </a:solidFill>
                  <a:latin typeface="+mj-lt"/>
                </a:rPr>
                <a:t>Auto-configuration at scale</a:t>
              </a:r>
            </a:p>
            <a:p>
              <a:pPr lvl="0" defTabSz="444500">
                <a:spcBef>
                  <a:spcPct val="0"/>
                </a:spcBef>
                <a:spcAft>
                  <a:spcPts val="1800"/>
                </a:spcAft>
              </a:pPr>
              <a:r>
                <a:rPr lang="en-GB" sz="2800" dirty="0">
                  <a:solidFill>
                    <a:schemeClr val="accent1"/>
                  </a:solidFill>
                  <a:latin typeface="+mj-lt"/>
                </a:rPr>
                <a:t>Auto-scale based on schedule and </a:t>
              </a:r>
              <a:br>
                <a:rPr lang="en-GB" sz="2800" dirty="0">
                  <a:solidFill>
                    <a:schemeClr val="accent1"/>
                  </a:solidFill>
                  <a:latin typeface="+mj-lt"/>
                </a:rPr>
              </a:br>
              <a:r>
                <a:rPr lang="en-GB" sz="2800" dirty="0">
                  <a:solidFill>
                    <a:schemeClr val="accent1"/>
                  </a:solidFill>
                  <a:latin typeface="+mj-lt"/>
                </a:rPr>
                <a:t>resource metrics</a:t>
              </a:r>
            </a:p>
            <a:p>
              <a:pPr lvl="0" defTabSz="444500">
                <a:spcBef>
                  <a:spcPct val="0"/>
                </a:spcBef>
                <a:spcAft>
                  <a:spcPts val="1800"/>
                </a:spcAft>
              </a:pPr>
              <a:r>
                <a:rPr lang="en-GB" sz="2800" dirty="0">
                  <a:solidFill>
                    <a:schemeClr val="accent1"/>
                  </a:solidFill>
                  <a:latin typeface="+mj-lt"/>
                </a:rPr>
                <a:t>Easy updates at scale</a:t>
              </a:r>
            </a:p>
            <a:p>
              <a:pPr lvl="0" defTabSz="444500">
                <a:spcBef>
                  <a:spcPct val="0"/>
                </a:spcBef>
                <a:spcAft>
                  <a:spcPts val="1800"/>
                </a:spcAft>
              </a:pPr>
              <a:r>
                <a:rPr lang="en-GB" sz="2800" dirty="0">
                  <a:solidFill>
                    <a:schemeClr val="accent1"/>
                  </a:solidFill>
                  <a:latin typeface="+mj-lt"/>
                </a:rPr>
                <a:t>Simple Portal Integration</a:t>
              </a:r>
            </a:p>
          </p:txBody>
        </p:sp>
        <p:sp>
          <p:nvSpPr>
            <p:cNvPr id="117" name="Graphic 8">
              <a:extLst>
                <a:ext uri="{FF2B5EF4-FFF2-40B4-BE49-F238E27FC236}">
                  <a16:creationId xmlns:a16="http://schemas.microsoft.com/office/drawing/2014/main" id="{3C360A07-35BB-4DCC-9EF7-9A11E47604F2}"/>
                </a:ext>
              </a:extLst>
            </p:cNvPr>
            <p:cNvSpPr/>
            <p:nvPr/>
          </p:nvSpPr>
          <p:spPr>
            <a:xfrm rot="10800000">
              <a:off x="365138" y="1470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18" name="Graphic 8">
              <a:extLst>
                <a:ext uri="{FF2B5EF4-FFF2-40B4-BE49-F238E27FC236}">
                  <a16:creationId xmlns:a16="http://schemas.microsoft.com/office/drawing/2014/main" id="{21448528-A256-4077-98DE-0E8F5B20CC5B}"/>
                </a:ext>
              </a:extLst>
            </p:cNvPr>
            <p:cNvSpPr/>
            <p:nvPr/>
          </p:nvSpPr>
          <p:spPr>
            <a:xfrm rot="10800000">
              <a:off x="365138" y="2549327"/>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19" name="Graphic 8">
              <a:extLst>
                <a:ext uri="{FF2B5EF4-FFF2-40B4-BE49-F238E27FC236}">
                  <a16:creationId xmlns:a16="http://schemas.microsoft.com/office/drawing/2014/main" id="{DE1F9191-4D40-4006-8730-17A05815AAF2}"/>
                </a:ext>
              </a:extLst>
            </p:cNvPr>
            <p:cNvSpPr/>
            <p:nvPr/>
          </p:nvSpPr>
          <p:spPr>
            <a:xfrm rot="10800000">
              <a:off x="365138" y="3182373"/>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20" name="Graphic 8">
              <a:extLst>
                <a:ext uri="{FF2B5EF4-FFF2-40B4-BE49-F238E27FC236}">
                  <a16:creationId xmlns:a16="http://schemas.microsoft.com/office/drawing/2014/main" id="{12FFF78E-C25D-445C-93FF-484B08F32B4E}"/>
                </a:ext>
              </a:extLst>
            </p:cNvPr>
            <p:cNvSpPr/>
            <p:nvPr/>
          </p:nvSpPr>
          <p:spPr>
            <a:xfrm rot="10800000">
              <a:off x="365138" y="4260896"/>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21" name="Graphic 8">
              <a:extLst>
                <a:ext uri="{FF2B5EF4-FFF2-40B4-BE49-F238E27FC236}">
                  <a16:creationId xmlns:a16="http://schemas.microsoft.com/office/drawing/2014/main" id="{62763CCC-B665-4BA2-B815-6DD0A18DE48A}"/>
                </a:ext>
              </a:extLst>
            </p:cNvPr>
            <p:cNvSpPr/>
            <p:nvPr/>
          </p:nvSpPr>
          <p:spPr>
            <a:xfrm rot="10800000">
              <a:off x="365138" y="4949798"/>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grpSp>
    </p:spTree>
    <p:extLst>
      <p:ext uri="{BB962C8B-B14F-4D97-AF65-F5344CB8AC3E}">
        <p14:creationId xmlns:p14="http://schemas.microsoft.com/office/powerpoint/2010/main" val="29023125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2"/>
                                        </p:tgtEl>
                                        <p:attrNameLst>
                                          <p:attrName>style.visibility</p:attrName>
                                        </p:attrNameLst>
                                      </p:cBhvr>
                                      <p:to>
                                        <p:strVal val="visible"/>
                                      </p:to>
                                    </p:set>
                                    <p:animEffect transition="in" filter="fade">
                                      <p:cBhvr>
                                        <p:cTn id="7" dur="500"/>
                                        <p:tgtEl>
                                          <p:spTgt spid="122"/>
                                        </p:tgtEl>
                                      </p:cBhvr>
                                    </p:animEffect>
                                  </p:childTnLst>
                                </p:cTn>
                              </p:par>
                              <p:par>
                                <p:cTn id="8" presetID="35" presetClass="path" presetSubtype="0" decel="100000" fill="hold" nodeType="withEffect">
                                  <p:stCondLst>
                                    <p:cond delay="0"/>
                                  </p:stCondLst>
                                  <p:childTnLst>
                                    <p:animMotion origin="layout" path="M -4.50345E-6 -2.7054E-6 L -0.05284 -2.7054E-6 " pathEditMode="relative" rAng="0" ptsTypes="AA">
                                      <p:cBhvr>
                                        <p:cTn id="9" dur="750" spd="-100000" fill="hold"/>
                                        <p:tgtEl>
                                          <p:spTgt spid="122"/>
                                        </p:tgtEl>
                                        <p:attrNameLst>
                                          <p:attrName>ppt_x</p:attrName>
                                          <p:attrName>ppt_y</p:attrName>
                                        </p:attrNameLst>
                                      </p:cBhvr>
                                      <p:rCtr x="-2642" y="0"/>
                                    </p:animMotion>
                                  </p:childTnLst>
                                </p:cTn>
                              </p:par>
                            </p:childTnLst>
                          </p:cTn>
                        </p:par>
                        <p:par>
                          <p:cTn id="10" fill="hold">
                            <p:stCondLst>
                              <p:cond delay="750"/>
                            </p:stCondLst>
                            <p:childTnLst>
                              <p:par>
                                <p:cTn id="11" presetID="10" presetClass="entr" presetSubtype="0" fill="hold" grpId="0" nodeType="after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childTnLst>
                          </p:cTn>
                        </p:par>
                        <p:par>
                          <p:cTn id="14" fill="hold">
                            <p:stCondLst>
                              <p:cond delay="1250"/>
                            </p:stCondLst>
                            <p:childTnLst>
                              <p:par>
                                <p:cTn id="15" presetID="10" presetClass="entr" presetSubtype="0" fill="hold" grpId="0" nodeType="afterEffect">
                                  <p:stCondLst>
                                    <p:cond delay="0"/>
                                  </p:stCondLst>
                                  <p:childTnLst>
                                    <p:set>
                                      <p:cBhvr>
                                        <p:cTn id="16" dur="1" fill="hold">
                                          <p:stCondLst>
                                            <p:cond delay="0"/>
                                          </p:stCondLst>
                                        </p:cTn>
                                        <p:tgtEl>
                                          <p:spTgt spid="124"/>
                                        </p:tgtEl>
                                        <p:attrNameLst>
                                          <p:attrName>style.visibility</p:attrName>
                                        </p:attrNameLst>
                                      </p:cBhvr>
                                      <p:to>
                                        <p:strVal val="visible"/>
                                      </p:to>
                                    </p:set>
                                    <p:animEffect transition="in" filter="fade">
                                      <p:cBhvr>
                                        <p:cTn id="17" dur="500"/>
                                        <p:tgtEl>
                                          <p:spTgt spid="124"/>
                                        </p:tgtEl>
                                      </p:cBhvr>
                                    </p:animEffect>
                                  </p:childTnLst>
                                </p:cTn>
                              </p:par>
                            </p:childTnLst>
                          </p:cTn>
                        </p:par>
                        <p:par>
                          <p:cTn id="18" fill="hold">
                            <p:stCondLst>
                              <p:cond delay="1750"/>
                            </p:stCondLst>
                            <p:childTnLst>
                              <p:par>
                                <p:cTn id="19" presetID="42" presetClass="entr" presetSubtype="0" fill="hold" nodeType="afterEffect">
                                  <p:stCondLst>
                                    <p:cond delay="0"/>
                                  </p:stCondLst>
                                  <p:childTnLst>
                                    <p:set>
                                      <p:cBhvr>
                                        <p:cTn id="20" dur="1" fill="hold">
                                          <p:stCondLst>
                                            <p:cond delay="0"/>
                                          </p:stCondLst>
                                        </p:cTn>
                                        <p:tgtEl>
                                          <p:spTgt spid="44"/>
                                        </p:tgtEl>
                                        <p:attrNameLst>
                                          <p:attrName>style.visibility</p:attrName>
                                        </p:attrNameLst>
                                      </p:cBhvr>
                                      <p:to>
                                        <p:strVal val="visible"/>
                                      </p:to>
                                    </p:set>
                                    <p:animEffect transition="in" filter="fade">
                                      <p:cBhvr>
                                        <p:cTn id="21" dur="1000"/>
                                        <p:tgtEl>
                                          <p:spTgt spid="44"/>
                                        </p:tgtEl>
                                      </p:cBhvr>
                                    </p:animEffect>
                                    <p:anim calcmode="lin" valueType="num">
                                      <p:cBhvr>
                                        <p:cTn id="22" dur="1000" fill="hold"/>
                                        <p:tgtEl>
                                          <p:spTgt spid="44"/>
                                        </p:tgtEl>
                                        <p:attrNameLst>
                                          <p:attrName>ppt_x</p:attrName>
                                        </p:attrNameLst>
                                      </p:cBhvr>
                                      <p:tavLst>
                                        <p:tav tm="0">
                                          <p:val>
                                            <p:strVal val="#ppt_x"/>
                                          </p:val>
                                        </p:tav>
                                        <p:tav tm="100000">
                                          <p:val>
                                            <p:strVal val="#ppt_x"/>
                                          </p:val>
                                        </p:tav>
                                      </p:tavLst>
                                    </p:anim>
                                    <p:anim calcmode="lin" valueType="num">
                                      <p:cBhvr>
                                        <p:cTn id="23" dur="1000" fill="hold"/>
                                        <p:tgtEl>
                                          <p:spTgt spid="44"/>
                                        </p:tgtEl>
                                        <p:attrNameLst>
                                          <p:attrName>ppt_y</p:attrName>
                                        </p:attrNameLst>
                                      </p:cBhvr>
                                      <p:tavLst>
                                        <p:tav tm="0">
                                          <p:val>
                                            <p:strVal val="#ppt_y+.1"/>
                                          </p:val>
                                        </p:tav>
                                        <p:tav tm="100000">
                                          <p:val>
                                            <p:strVal val="#ppt_y"/>
                                          </p:val>
                                        </p:tav>
                                      </p:tavLst>
                                    </p:anim>
                                  </p:childTnLst>
                                </p:cTn>
                              </p:par>
                            </p:childTnLst>
                          </p:cTn>
                        </p:par>
                        <p:par>
                          <p:cTn id="24" fill="hold">
                            <p:stCondLst>
                              <p:cond delay="2750"/>
                            </p:stCondLst>
                            <p:childTnLst>
                              <p:par>
                                <p:cTn id="25" presetID="10" presetClass="entr" presetSubtype="0" fill="hold" nodeType="after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par>
                          <p:cTn id="28" fill="hold">
                            <p:stCondLst>
                              <p:cond delay="3250"/>
                            </p:stCondLst>
                            <p:childTnLst>
                              <p:par>
                                <p:cTn id="29" presetID="10" presetClass="entr" presetSubtype="0" fill="hold" nodeType="afterEffect">
                                  <p:stCondLst>
                                    <p:cond delay="0"/>
                                  </p:stCondLst>
                                  <p:childTnLst>
                                    <p:set>
                                      <p:cBhvr>
                                        <p:cTn id="30" dur="1" fill="hold">
                                          <p:stCondLst>
                                            <p:cond delay="0"/>
                                          </p:stCondLst>
                                        </p:cTn>
                                        <p:tgtEl>
                                          <p:spTgt spid="74"/>
                                        </p:tgtEl>
                                        <p:attrNameLst>
                                          <p:attrName>style.visibility</p:attrName>
                                        </p:attrNameLst>
                                      </p:cBhvr>
                                      <p:to>
                                        <p:strVal val="visible"/>
                                      </p:to>
                                    </p:set>
                                    <p:animEffect transition="in" filter="fade">
                                      <p:cBhvr>
                                        <p:cTn id="31" dur="500"/>
                                        <p:tgtEl>
                                          <p:spTgt spid="74"/>
                                        </p:tgtEl>
                                      </p:cBhvr>
                                    </p:animEffect>
                                  </p:childTnLst>
                                </p:cTn>
                              </p:par>
                            </p:childTnLst>
                          </p:cTn>
                        </p:par>
                        <p:par>
                          <p:cTn id="32" fill="hold">
                            <p:stCondLst>
                              <p:cond delay="3750"/>
                            </p:stCondLst>
                            <p:childTnLst>
                              <p:par>
                                <p:cTn id="33" presetID="10" presetClass="entr" presetSubtype="0" fill="hold" nodeType="afterEffect">
                                  <p:stCondLst>
                                    <p:cond delay="0"/>
                                  </p:stCondLst>
                                  <p:childTnLst>
                                    <p:set>
                                      <p:cBhvr>
                                        <p:cTn id="34" dur="1" fill="hold">
                                          <p:stCondLst>
                                            <p:cond delay="0"/>
                                          </p:stCondLst>
                                        </p:cTn>
                                        <p:tgtEl>
                                          <p:spTgt spid="77"/>
                                        </p:tgtEl>
                                        <p:attrNameLst>
                                          <p:attrName>style.visibility</p:attrName>
                                        </p:attrNameLst>
                                      </p:cBhvr>
                                      <p:to>
                                        <p:strVal val="visible"/>
                                      </p:to>
                                    </p:set>
                                    <p:animEffect transition="in" filter="fade">
                                      <p:cBhvr>
                                        <p:cTn id="35" dur="500"/>
                                        <p:tgtEl>
                                          <p:spTgt spid="77"/>
                                        </p:tgtEl>
                                      </p:cBhvr>
                                    </p:animEffect>
                                  </p:childTnLst>
                                </p:cTn>
                              </p:par>
                            </p:childTnLst>
                          </p:cTn>
                        </p:par>
                        <p:par>
                          <p:cTn id="36" fill="hold">
                            <p:stCondLst>
                              <p:cond delay="4250"/>
                            </p:stCondLst>
                            <p:childTnLst>
                              <p:par>
                                <p:cTn id="37" presetID="10" presetClass="entr" presetSubtype="0" fill="hold" nodeType="afterEffect">
                                  <p:stCondLst>
                                    <p:cond delay="0"/>
                                  </p:stCondLst>
                                  <p:childTnLst>
                                    <p:set>
                                      <p:cBhvr>
                                        <p:cTn id="38" dur="1" fill="hold">
                                          <p:stCondLst>
                                            <p:cond delay="0"/>
                                          </p:stCondLst>
                                        </p:cTn>
                                        <p:tgtEl>
                                          <p:spTgt spid="83"/>
                                        </p:tgtEl>
                                        <p:attrNameLst>
                                          <p:attrName>style.visibility</p:attrName>
                                        </p:attrNameLst>
                                      </p:cBhvr>
                                      <p:to>
                                        <p:strVal val="visible"/>
                                      </p:to>
                                    </p:set>
                                    <p:animEffect transition="in" filter="fade">
                                      <p:cBhvr>
                                        <p:cTn id="39" dur="500"/>
                                        <p:tgtEl>
                                          <p:spTgt spid="83"/>
                                        </p:tgtEl>
                                      </p:cBhvr>
                                    </p:animEffect>
                                  </p:childTnLst>
                                </p:cTn>
                              </p:par>
                            </p:childTnLst>
                          </p:cTn>
                        </p:par>
                        <p:par>
                          <p:cTn id="40" fill="hold">
                            <p:stCondLst>
                              <p:cond delay="4750"/>
                            </p:stCondLst>
                            <p:childTnLst>
                              <p:par>
                                <p:cTn id="41" presetID="10" presetClass="entr" presetSubtype="0" fill="hold" nodeType="afterEffect">
                                  <p:stCondLst>
                                    <p:cond delay="0"/>
                                  </p:stCondLst>
                                  <p:childTnLst>
                                    <p:set>
                                      <p:cBhvr>
                                        <p:cTn id="42" dur="1" fill="hold">
                                          <p:stCondLst>
                                            <p:cond delay="0"/>
                                          </p:stCondLst>
                                        </p:cTn>
                                        <p:tgtEl>
                                          <p:spTgt spid="86"/>
                                        </p:tgtEl>
                                        <p:attrNameLst>
                                          <p:attrName>style.visibility</p:attrName>
                                        </p:attrNameLst>
                                      </p:cBhvr>
                                      <p:to>
                                        <p:strVal val="visible"/>
                                      </p:to>
                                    </p:set>
                                    <p:animEffect transition="in" filter="fade">
                                      <p:cBhvr>
                                        <p:cTn id="43" dur="500"/>
                                        <p:tgtEl>
                                          <p:spTgt spid="86"/>
                                        </p:tgtEl>
                                      </p:cBhvr>
                                    </p:animEffect>
                                  </p:childTnLst>
                                </p:cTn>
                              </p:par>
                            </p:childTnLst>
                          </p:cTn>
                        </p:par>
                        <p:par>
                          <p:cTn id="44" fill="hold">
                            <p:stCondLst>
                              <p:cond delay="5250"/>
                            </p:stCondLst>
                            <p:childTnLst>
                              <p:par>
                                <p:cTn id="45" presetID="10" presetClass="entr" presetSubtype="0" fill="hold" nodeType="afterEffect">
                                  <p:stCondLst>
                                    <p:cond delay="0"/>
                                  </p:stCondLst>
                                  <p:childTnLst>
                                    <p:set>
                                      <p:cBhvr>
                                        <p:cTn id="46" dur="1" fill="hold">
                                          <p:stCondLst>
                                            <p:cond delay="0"/>
                                          </p:stCondLst>
                                        </p:cTn>
                                        <p:tgtEl>
                                          <p:spTgt spid="89"/>
                                        </p:tgtEl>
                                        <p:attrNameLst>
                                          <p:attrName>style.visibility</p:attrName>
                                        </p:attrNameLst>
                                      </p:cBhvr>
                                      <p:to>
                                        <p:strVal val="visible"/>
                                      </p:to>
                                    </p:set>
                                    <p:animEffect transition="in" filter="fade">
                                      <p:cBhvr>
                                        <p:cTn id="47" dur="500"/>
                                        <p:tgtEl>
                                          <p:spTgt spid="89"/>
                                        </p:tgtEl>
                                      </p:cBhvr>
                                    </p:animEffect>
                                  </p:childTnLst>
                                </p:cTn>
                              </p:par>
                            </p:childTnLst>
                          </p:cTn>
                        </p:par>
                        <p:par>
                          <p:cTn id="48" fill="hold">
                            <p:stCondLst>
                              <p:cond delay="5750"/>
                            </p:stCondLst>
                            <p:childTnLst>
                              <p:par>
                                <p:cTn id="49" presetID="10" presetClass="entr" presetSubtype="0" fill="hold" nodeType="after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childTnLst>
                          </p:cTn>
                        </p:par>
                        <p:par>
                          <p:cTn id="52" fill="hold">
                            <p:stCondLst>
                              <p:cond delay="6250"/>
                            </p:stCondLst>
                            <p:childTnLst>
                              <p:par>
                                <p:cTn id="53" presetID="10" presetClass="entr" presetSubtype="0" fill="hold" nodeType="afterEffect">
                                  <p:stCondLst>
                                    <p:cond delay="0"/>
                                  </p:stCondLst>
                                  <p:childTnLst>
                                    <p:set>
                                      <p:cBhvr>
                                        <p:cTn id="54" dur="1" fill="hold">
                                          <p:stCondLst>
                                            <p:cond delay="0"/>
                                          </p:stCondLst>
                                        </p:cTn>
                                        <p:tgtEl>
                                          <p:spTgt spid="95"/>
                                        </p:tgtEl>
                                        <p:attrNameLst>
                                          <p:attrName>style.visibility</p:attrName>
                                        </p:attrNameLst>
                                      </p:cBhvr>
                                      <p:to>
                                        <p:strVal val="visible"/>
                                      </p:to>
                                    </p:set>
                                    <p:animEffect transition="in" filter="fade">
                                      <p:cBhvr>
                                        <p:cTn id="55"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124" grpId="0" animBg="1"/>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281154C5-4627-4D50-8D99-AA7CA9DF364B}"/>
              </a:ext>
            </a:extLst>
          </p:cNvPr>
          <p:cNvPicPr>
            <a:picLocks noChangeAspect="1"/>
          </p:cNvPicPr>
          <p:nvPr/>
        </p:nvPicPr>
        <p:blipFill>
          <a:blip r:embed="rId3"/>
          <a:stretch>
            <a:fillRect/>
          </a:stretch>
        </p:blipFill>
        <p:spPr>
          <a:xfrm>
            <a:off x="7812910" y="2807875"/>
            <a:ext cx="4188095" cy="2467307"/>
          </a:xfrm>
          <a:prstGeom prst="rect">
            <a:avLst/>
          </a:prstGeom>
        </p:spPr>
      </p:pic>
      <p:sp>
        <p:nvSpPr>
          <p:cNvPr id="3" name="Title 2"/>
          <p:cNvSpPr>
            <a:spLocks noGrp="1"/>
          </p:cNvSpPr>
          <p:nvPr>
            <p:ph type="title"/>
          </p:nvPr>
        </p:nvSpPr>
        <p:spPr/>
        <p:txBody>
          <a:bodyPr/>
          <a:lstStyle/>
          <a:p>
            <a:r>
              <a:rPr lang="en-US"/>
              <a:t>Why VM Scale Sets?</a:t>
            </a:r>
            <a:endParaRPr lang="en-US" dirty="0"/>
          </a:p>
        </p:txBody>
      </p:sp>
      <p:sp>
        <p:nvSpPr>
          <p:cNvPr id="15" name="Rectangle 14">
            <a:extLst>
              <a:ext uri="{FF2B5EF4-FFF2-40B4-BE49-F238E27FC236}">
                <a16:creationId xmlns:a16="http://schemas.microsoft.com/office/drawing/2014/main" id="{D43E9F19-3678-4A63-B27A-DCC0C9F8E328}"/>
              </a:ext>
            </a:extLst>
          </p:cNvPr>
          <p:cNvSpPr/>
          <p:nvPr/>
        </p:nvSpPr>
        <p:spPr>
          <a:xfrm>
            <a:off x="868678" y="1428404"/>
            <a:ext cx="6747464" cy="308263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ts val="900"/>
              </a:spcBef>
            </a:pPr>
            <a:r>
              <a:rPr lang="en-GB" sz="2000" dirty="0">
                <a:solidFill>
                  <a:schemeClr val="tx2"/>
                </a:solidFill>
              </a:rPr>
              <a:t>Manually </a:t>
            </a:r>
            <a:r>
              <a:rPr lang="en-GB" sz="2000" b="1" dirty="0">
                <a:solidFill>
                  <a:schemeClr val="accent1"/>
                </a:solidFill>
                <a:cs typeface="Segoe UI Semibold" panose="020B0702040204020203" pitchFamily="34" charset="0"/>
              </a:rPr>
              <a:t>scale</a:t>
            </a:r>
            <a:r>
              <a:rPr lang="en-GB" sz="2000" dirty="0">
                <a:solidFill>
                  <a:schemeClr val="tx2"/>
                </a:solidFill>
              </a:rPr>
              <a:t> with ‘capacity’ property</a:t>
            </a:r>
          </a:p>
          <a:p>
            <a:pPr lvl="0" defTabSz="444500">
              <a:spcBef>
                <a:spcPts val="900"/>
              </a:spcBef>
            </a:pPr>
            <a:r>
              <a:rPr lang="en-GB" sz="2000" b="1" dirty="0" err="1">
                <a:solidFill>
                  <a:schemeClr val="accent1"/>
                </a:solidFill>
                <a:cs typeface="Segoe UI Semibold" panose="020B0702040204020203" pitchFamily="34" charset="0"/>
              </a:rPr>
              <a:t>Autoscale</a:t>
            </a:r>
            <a:r>
              <a:rPr lang="en-GB" sz="2000" dirty="0">
                <a:solidFill>
                  <a:schemeClr val="tx2"/>
                </a:solidFill>
              </a:rPr>
              <a:t> with host metrics (MDM pipeline) or </a:t>
            </a:r>
            <a:br>
              <a:rPr lang="en-GB" sz="2000" dirty="0">
                <a:solidFill>
                  <a:schemeClr val="tx2"/>
                </a:solidFill>
              </a:rPr>
            </a:br>
            <a:r>
              <a:rPr lang="en-GB" sz="2000" dirty="0">
                <a:solidFill>
                  <a:schemeClr val="tx2"/>
                </a:solidFill>
              </a:rPr>
              <a:t>diagnostic extensions​</a:t>
            </a:r>
          </a:p>
          <a:p>
            <a:pPr lvl="0" defTabSz="444500">
              <a:spcBef>
                <a:spcPts val="900"/>
              </a:spcBef>
            </a:pPr>
            <a:r>
              <a:rPr lang="en-GB" sz="2000" dirty="0">
                <a:solidFill>
                  <a:schemeClr val="tx2"/>
                </a:solidFill>
              </a:rPr>
              <a:t>Small buy-in: Deploy/manage sets of 0 </a:t>
            </a:r>
            <a:r>
              <a:rPr lang="en-GB" sz="2000" dirty="0">
                <a:solidFill>
                  <a:schemeClr val="tx2"/>
                </a:solidFill>
                <a:sym typeface="Wingdings" panose="05000000000000000000" pitchFamily="2" charset="2"/>
              </a:rPr>
              <a:t></a:t>
            </a:r>
            <a:r>
              <a:rPr lang="en-GB" sz="2000" dirty="0">
                <a:solidFill>
                  <a:schemeClr val="tx2"/>
                </a:solidFill>
              </a:rPr>
              <a:t> 100 identically configured </a:t>
            </a:r>
            <a:r>
              <a:rPr lang="en-GB" sz="2000" dirty="0" err="1">
                <a:solidFill>
                  <a:schemeClr val="tx2"/>
                </a:solidFill>
              </a:rPr>
              <a:t>VMs</a:t>
            </a:r>
            <a:r>
              <a:rPr lang="en-GB" sz="2000" dirty="0">
                <a:solidFill>
                  <a:schemeClr val="tx2"/>
                </a:solidFill>
              </a:rPr>
              <a:t> ​</a:t>
            </a:r>
          </a:p>
          <a:p>
            <a:pPr lvl="0" defTabSz="444500">
              <a:spcBef>
                <a:spcPts val="900"/>
              </a:spcBef>
            </a:pPr>
            <a:r>
              <a:rPr lang="en-GB" sz="2000" b="1" dirty="0">
                <a:solidFill>
                  <a:schemeClr val="accent1"/>
                </a:solidFill>
                <a:cs typeface="Segoe UI Semibold" panose="020B0702040204020203" pitchFamily="34" charset="0"/>
              </a:rPr>
              <a:t>Guest OS patching:</a:t>
            </a:r>
            <a:r>
              <a:rPr lang="en-GB" sz="2000" dirty="0">
                <a:solidFill>
                  <a:schemeClr val="accent1"/>
                </a:solidFill>
                <a:latin typeface="Segoe UI Semibold" panose="020B0702040204020203" pitchFamily="34" charset="0"/>
                <a:cs typeface="Segoe UI Semibold" panose="020B0702040204020203" pitchFamily="34" charset="0"/>
              </a:rPr>
              <a:t> </a:t>
            </a:r>
            <a:r>
              <a:rPr lang="en-GB" sz="2000" dirty="0">
                <a:solidFill>
                  <a:schemeClr val="tx2"/>
                </a:solidFill>
              </a:rPr>
              <a:t>Patching primitives allow manually triggered rolling upgrades​​</a:t>
            </a:r>
          </a:p>
          <a:p>
            <a:pPr lvl="0" defTabSz="444500">
              <a:spcBef>
                <a:spcPts val="900"/>
              </a:spcBef>
            </a:pPr>
            <a:r>
              <a:rPr lang="en-GB" sz="2000" b="1" dirty="0">
                <a:solidFill>
                  <a:schemeClr val="accent1"/>
                </a:solidFill>
                <a:cs typeface="Segoe UI Semibold" panose="020B0702040204020203" pitchFamily="34" charset="0"/>
              </a:rPr>
              <a:t>High-availability</a:t>
            </a:r>
            <a:r>
              <a:rPr lang="en-GB" sz="2000" dirty="0">
                <a:solidFill>
                  <a:schemeClr val="tx2"/>
                </a:solidFill>
              </a:rPr>
              <a:t> </a:t>
            </a:r>
            <a:r>
              <a:rPr lang="en-GB" sz="2000" b="1" dirty="0">
                <a:solidFill>
                  <a:schemeClr val="accent1"/>
                </a:solidFill>
                <a:cs typeface="Segoe UI Semibold" panose="020B0702040204020203" pitchFamily="34" charset="0"/>
              </a:rPr>
              <a:t>–</a:t>
            </a:r>
            <a:r>
              <a:rPr lang="en-GB" sz="2000" dirty="0">
                <a:solidFill>
                  <a:schemeClr val="tx2"/>
                </a:solidFill>
              </a:rPr>
              <a:t> Implicit availability set with 5 FDs/5 </a:t>
            </a:r>
            <a:r>
              <a:rPr lang="en-GB" sz="2000" dirty="0" err="1">
                <a:solidFill>
                  <a:schemeClr val="tx2"/>
                </a:solidFill>
              </a:rPr>
              <a:t>UDs</a:t>
            </a:r>
            <a:r>
              <a:rPr lang="en-GB" sz="2000" dirty="0">
                <a:solidFill>
                  <a:schemeClr val="tx2"/>
                </a:solidFill>
              </a:rPr>
              <a:t>​</a:t>
            </a:r>
          </a:p>
        </p:txBody>
      </p:sp>
      <p:sp>
        <p:nvSpPr>
          <p:cNvPr id="31" name="Rectangle 30">
            <a:extLst>
              <a:ext uri="{FF2B5EF4-FFF2-40B4-BE49-F238E27FC236}">
                <a16:creationId xmlns:a16="http://schemas.microsoft.com/office/drawing/2014/main" id="{9371B4E1-7B39-45B1-B8A0-B07284B23B0B}"/>
              </a:ext>
            </a:extLst>
          </p:cNvPr>
          <p:cNvSpPr/>
          <p:nvPr/>
        </p:nvSpPr>
        <p:spPr bwMode="auto">
          <a:xfrm>
            <a:off x="7731889" y="1423176"/>
            <a:ext cx="4239394" cy="5236704"/>
          </a:xfrm>
          <a:prstGeom prst="rect">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5CB8B3DB-AA48-4FA8-B3DC-AA0CAE35D811}"/>
              </a:ext>
            </a:extLst>
          </p:cNvPr>
          <p:cNvSpPr/>
          <p:nvPr/>
        </p:nvSpPr>
        <p:spPr>
          <a:xfrm>
            <a:off x="868679" y="4642308"/>
            <a:ext cx="6567559" cy="187867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ct val="0"/>
              </a:spcBef>
              <a:spcAft>
                <a:spcPts val="300"/>
              </a:spcAft>
            </a:pPr>
            <a:r>
              <a:rPr lang="en-GB" sz="2000" b="1" dirty="0">
                <a:solidFill>
                  <a:schemeClr val="accent2"/>
                </a:solidFill>
              </a:rPr>
              <a:t>Availability Sets vs Scale Sets</a:t>
            </a:r>
          </a:p>
          <a:p>
            <a:pPr marL="381000" lvl="0" indent="-258763" defTabSz="444500">
              <a:spcBef>
                <a:spcPct val="0"/>
              </a:spcBef>
              <a:spcAft>
                <a:spcPts val="400"/>
              </a:spcAft>
              <a:buFont typeface="Arial" panose="020B0604020202020204" pitchFamily="34" charset="0"/>
              <a:buChar char="•"/>
            </a:pPr>
            <a:r>
              <a:rPr lang="en-GB" dirty="0">
                <a:solidFill>
                  <a:schemeClr val="tx2"/>
                </a:solidFill>
              </a:rPr>
              <a:t>Avail Set: Multiple different </a:t>
            </a:r>
            <a:r>
              <a:rPr lang="en-GB" dirty="0" err="1">
                <a:solidFill>
                  <a:schemeClr val="tx2"/>
                </a:solidFill>
              </a:rPr>
              <a:t>VMs</a:t>
            </a:r>
            <a:r>
              <a:rPr lang="en-GB" dirty="0">
                <a:solidFill>
                  <a:schemeClr val="tx2"/>
                </a:solidFill>
              </a:rPr>
              <a:t> (image, size, etc.); </a:t>
            </a:r>
            <a:br>
              <a:rPr lang="en-GB" dirty="0">
                <a:solidFill>
                  <a:schemeClr val="tx2"/>
                </a:solidFill>
              </a:rPr>
            </a:br>
            <a:r>
              <a:rPr lang="en-GB" dirty="0">
                <a:solidFill>
                  <a:schemeClr val="tx2"/>
                </a:solidFill>
              </a:rPr>
              <a:t>managed separately</a:t>
            </a:r>
          </a:p>
          <a:p>
            <a:pPr marL="381000" lvl="0" indent="-258763" defTabSz="444500">
              <a:spcBef>
                <a:spcPct val="0"/>
              </a:spcBef>
              <a:spcAft>
                <a:spcPts val="400"/>
              </a:spcAft>
              <a:buFont typeface="Arial" panose="020B0604020202020204" pitchFamily="34" charset="0"/>
              <a:buChar char="•"/>
            </a:pPr>
            <a:r>
              <a:rPr lang="en-GB" dirty="0">
                <a:solidFill>
                  <a:schemeClr val="tx2"/>
                </a:solidFill>
              </a:rPr>
              <a:t>Scale Set: Large count of the same </a:t>
            </a:r>
            <a:r>
              <a:rPr lang="en-GB" dirty="0" err="1">
                <a:solidFill>
                  <a:schemeClr val="tx2"/>
                </a:solidFill>
              </a:rPr>
              <a:t>VMs</a:t>
            </a:r>
            <a:r>
              <a:rPr lang="en-GB" dirty="0">
                <a:solidFill>
                  <a:schemeClr val="tx2"/>
                </a:solidFill>
              </a:rPr>
              <a:t>; managed together</a:t>
            </a:r>
          </a:p>
          <a:p>
            <a:pPr marL="381000" lvl="0" indent="-258763" defTabSz="444500">
              <a:spcBef>
                <a:spcPct val="0"/>
              </a:spcBef>
              <a:spcAft>
                <a:spcPts val="400"/>
              </a:spcAft>
              <a:buFont typeface="Arial" panose="020B0604020202020204" pitchFamily="34" charset="0"/>
              <a:buChar char="•"/>
            </a:pPr>
            <a:r>
              <a:rPr lang="en-GB" dirty="0">
                <a:solidFill>
                  <a:schemeClr val="tx2"/>
                </a:solidFill>
              </a:rPr>
              <a:t>Scale set: Reliable rapid provisioning and scale utilizing similarity of the </a:t>
            </a:r>
            <a:r>
              <a:rPr lang="en-GB" dirty="0" err="1">
                <a:solidFill>
                  <a:schemeClr val="tx2"/>
                </a:solidFill>
              </a:rPr>
              <a:t>VMs</a:t>
            </a:r>
            <a:endParaRPr lang="en-GB" dirty="0">
              <a:solidFill>
                <a:schemeClr val="tx2"/>
              </a:solidFill>
            </a:endParaRPr>
          </a:p>
        </p:txBody>
      </p:sp>
      <p:sp>
        <p:nvSpPr>
          <p:cNvPr id="51" name="Graphic 8">
            <a:extLst>
              <a:ext uri="{FF2B5EF4-FFF2-40B4-BE49-F238E27FC236}">
                <a16:creationId xmlns:a16="http://schemas.microsoft.com/office/drawing/2014/main" id="{797E7521-8386-47E4-A6DE-B6A40AA2D9A1}"/>
              </a:ext>
            </a:extLst>
          </p:cNvPr>
          <p:cNvSpPr/>
          <p:nvPr/>
        </p:nvSpPr>
        <p:spPr>
          <a:xfrm rot="10800000">
            <a:off x="365138" y="1470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52" name="Graphic 8">
            <a:extLst>
              <a:ext uri="{FF2B5EF4-FFF2-40B4-BE49-F238E27FC236}">
                <a16:creationId xmlns:a16="http://schemas.microsoft.com/office/drawing/2014/main" id="{8A34F746-5A3D-40FE-A71E-D75D96041B6A}"/>
              </a:ext>
            </a:extLst>
          </p:cNvPr>
          <p:cNvSpPr/>
          <p:nvPr/>
        </p:nvSpPr>
        <p:spPr>
          <a:xfrm rot="10800000">
            <a:off x="365138" y="1899582"/>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53" name="Graphic 8">
            <a:extLst>
              <a:ext uri="{FF2B5EF4-FFF2-40B4-BE49-F238E27FC236}">
                <a16:creationId xmlns:a16="http://schemas.microsoft.com/office/drawing/2014/main" id="{11C7DBEC-423F-45D7-99AD-59732D3B688B}"/>
              </a:ext>
            </a:extLst>
          </p:cNvPr>
          <p:cNvSpPr/>
          <p:nvPr/>
        </p:nvSpPr>
        <p:spPr>
          <a:xfrm rot="10800000">
            <a:off x="365138" y="2619269"/>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54" name="Graphic 8">
            <a:extLst>
              <a:ext uri="{FF2B5EF4-FFF2-40B4-BE49-F238E27FC236}">
                <a16:creationId xmlns:a16="http://schemas.microsoft.com/office/drawing/2014/main" id="{C7B71C3D-6E0F-4046-A654-8EEE7F2D3850}"/>
              </a:ext>
            </a:extLst>
          </p:cNvPr>
          <p:cNvSpPr/>
          <p:nvPr/>
        </p:nvSpPr>
        <p:spPr>
          <a:xfrm rot="10800000">
            <a:off x="365138" y="4033310"/>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55" name="Graphic 8">
            <a:extLst>
              <a:ext uri="{FF2B5EF4-FFF2-40B4-BE49-F238E27FC236}">
                <a16:creationId xmlns:a16="http://schemas.microsoft.com/office/drawing/2014/main" id="{01D00DBC-58D2-425C-BA83-4B0FCF70ACB5}"/>
              </a:ext>
            </a:extLst>
          </p:cNvPr>
          <p:cNvSpPr/>
          <p:nvPr/>
        </p:nvSpPr>
        <p:spPr>
          <a:xfrm rot="10800000">
            <a:off x="365138" y="3338830"/>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56" name="Graphic 8">
            <a:extLst>
              <a:ext uri="{FF2B5EF4-FFF2-40B4-BE49-F238E27FC236}">
                <a16:creationId xmlns:a16="http://schemas.microsoft.com/office/drawing/2014/main" id="{6D1BF3C1-7808-4ED3-A15A-43CC6956FCD3}"/>
              </a:ext>
            </a:extLst>
          </p:cNvPr>
          <p:cNvSpPr/>
          <p:nvPr/>
        </p:nvSpPr>
        <p:spPr>
          <a:xfrm rot="10800000">
            <a:off x="365138" y="4693067"/>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2"/>
              </a:gs>
              <a:gs pos="71000">
                <a:schemeClr val="accent2">
                  <a:alpha val="60000"/>
                </a:schemeClr>
              </a:gs>
              <a:gs pos="99000">
                <a:schemeClr val="accent2">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Tree>
    <p:extLst>
      <p:ext uri="{BB962C8B-B14F-4D97-AF65-F5344CB8AC3E}">
        <p14:creationId xmlns:p14="http://schemas.microsoft.com/office/powerpoint/2010/main" val="1571246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23C07DC2-5374-440B-802D-25F5AEF97E3A}"/>
              </a:ext>
            </a:extLst>
          </p:cNvPr>
          <p:cNvSpPr/>
          <p:nvPr/>
        </p:nvSpPr>
        <p:spPr bwMode="auto">
          <a:xfrm>
            <a:off x="7589520" y="1367444"/>
            <a:ext cx="4381763" cy="4850476"/>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4" name="Freeform 5">
            <a:extLst>
              <a:ext uri="{FF2B5EF4-FFF2-40B4-BE49-F238E27FC236}">
                <a16:creationId xmlns:a16="http://schemas.microsoft.com/office/drawing/2014/main" id="{C8479D96-2FBD-4398-AE9F-FD347FC97439}"/>
              </a:ext>
            </a:extLst>
          </p:cNvPr>
          <p:cNvSpPr>
            <a:spLocks/>
          </p:cNvSpPr>
          <p:nvPr/>
        </p:nvSpPr>
        <p:spPr bwMode="auto">
          <a:xfrm>
            <a:off x="7870371" y="1498986"/>
            <a:ext cx="3796910" cy="2011488"/>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grpSp>
        <p:nvGrpSpPr>
          <p:cNvPr id="9" name="Group 8" hidden="1"/>
          <p:cNvGrpSpPr/>
          <p:nvPr/>
        </p:nvGrpSpPr>
        <p:grpSpPr>
          <a:xfrm>
            <a:off x="-8078634" y="-3620264"/>
            <a:ext cx="6042609" cy="1829926"/>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601" tIns="146262" rIns="0" bIns="146262" numCol="1" spcCol="0" rtlCol="0" fromWordArt="0" anchor="t" anchorCtr="0" forceAA="0" compatLnSpc="1">
                <a:prstTxWarp prst="textNoShape">
                  <a:avLst/>
                </a:prstTxWarp>
                <a:noAutofit/>
              </a:bodyPr>
              <a:lstStyle/>
              <a:p>
                <a:pPr defTabSz="914049">
                  <a:defRPr/>
                </a:pPr>
                <a:r>
                  <a:rPr lang="en-US" sz="1632"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914049">
                  <a:defRPr/>
                </a:pPr>
                <a:r>
                  <a:rPr lang="en-US" sz="1632"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224" tIns="146262" rIns="0" bIns="146262" numCol="1" spcCol="0" rtlCol="0" fromWordArt="0" anchor="t" anchorCtr="0" forceAA="0" compatLnSpc="1">
                <a:prstTxWarp prst="textNoShape">
                  <a:avLst/>
                </a:prstTxWarp>
                <a:noAutofit/>
              </a:bodyPr>
              <a:lstStyle/>
              <a:p>
                <a:pPr defTabSz="914049">
                  <a:defRPr/>
                </a:pPr>
                <a:r>
                  <a:rPr lang="en-US" sz="1632"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978" tIns="146262" rIns="0" bIns="146262" numCol="1" spcCol="0" rtlCol="0" fromWordArt="0" anchor="t" anchorCtr="0" forceAA="0" compatLnSpc="1">
                <a:prstTxWarp prst="textNoShape">
                  <a:avLst/>
                </a:prstTxWarp>
                <a:noAutofit/>
              </a:bodyPr>
              <a:lstStyle/>
              <a:p>
                <a:pPr defTabSz="914049">
                  <a:defRPr/>
                </a:pPr>
                <a:r>
                  <a:rPr lang="en-US" sz="1632"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632"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32"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224" tIns="146262" rIns="0" bIns="146262" numCol="1" spcCol="0" rtlCol="0" fromWordArt="0" anchor="t" anchorCtr="0" forceAA="0" compatLnSpc="1">
                <a:prstTxWarp prst="textNoShape">
                  <a:avLst/>
                </a:prstTxWarp>
                <a:noAutofit/>
              </a:bodyPr>
              <a:lstStyle/>
              <a:p>
                <a:pPr defTabSz="914049">
                  <a:defRPr/>
                </a:pPr>
                <a:r>
                  <a:rPr lang="en-US" sz="1632"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632"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32"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224" tIns="146262" rIns="0" bIns="146262" numCol="1" spcCol="0" rtlCol="0" fromWordArt="0" anchor="t" anchorCtr="0" forceAA="0" compatLnSpc="1">
                <a:prstTxWarp prst="textNoShape">
                  <a:avLst/>
                </a:prstTxWarp>
                <a:noAutofit/>
              </a:bodyPr>
              <a:lstStyle/>
              <a:p>
                <a:pPr defTabSz="914049">
                  <a:defRPr/>
                </a:pPr>
                <a:r>
                  <a:rPr lang="en-US" sz="1632"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601" tIns="146262" rIns="0" bIns="146262" numCol="1" spcCol="0" rtlCol="0" fromWordArt="0" anchor="t" anchorCtr="0" forceAA="0" compatLnSpc="1">
                <a:prstTxWarp prst="textNoShape">
                  <a:avLst/>
                </a:prstTxWarp>
                <a:noAutofit/>
              </a:bodyPr>
              <a:lstStyle/>
              <a:p>
                <a:pPr defTabSz="914049">
                  <a:defRPr/>
                </a:pPr>
                <a:r>
                  <a:rPr lang="en-US" sz="1632"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632"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32"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a:t>Azure Batch</a:t>
            </a:r>
            <a:br>
              <a:rPr lang="en-US"/>
            </a:br>
            <a:endParaRPr lang="en-US" dirty="0"/>
          </a:p>
        </p:txBody>
      </p:sp>
      <p:grpSp>
        <p:nvGrpSpPr>
          <p:cNvPr id="54" name="Group 53">
            <a:extLst>
              <a:ext uri="{FF2B5EF4-FFF2-40B4-BE49-F238E27FC236}">
                <a16:creationId xmlns:a16="http://schemas.microsoft.com/office/drawing/2014/main" id="{1200C4AD-C810-44EB-9F25-85F1A65B218F}"/>
              </a:ext>
            </a:extLst>
          </p:cNvPr>
          <p:cNvGrpSpPr/>
          <p:nvPr/>
        </p:nvGrpSpPr>
        <p:grpSpPr>
          <a:xfrm>
            <a:off x="9207489" y="2824724"/>
            <a:ext cx="1145824" cy="1061436"/>
            <a:chOff x="9100338" y="3854663"/>
            <a:chExt cx="1360126" cy="1259954"/>
          </a:xfrm>
        </p:grpSpPr>
        <p:sp>
          <p:nvSpPr>
            <p:cNvPr id="55" name="Rectangle 54">
              <a:extLst>
                <a:ext uri="{FF2B5EF4-FFF2-40B4-BE49-F238E27FC236}">
                  <a16:creationId xmlns:a16="http://schemas.microsoft.com/office/drawing/2014/main" id="{49495B0D-C0D0-49B4-AAA6-218B638C7724}"/>
                </a:ext>
              </a:extLst>
            </p:cNvPr>
            <p:cNvSpPr/>
            <p:nvPr/>
          </p:nvSpPr>
          <p:spPr bwMode="auto">
            <a:xfrm>
              <a:off x="9200992" y="4662407"/>
              <a:ext cx="1162049" cy="8208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Freeform 75">
              <a:extLst>
                <a:ext uri="{FF2B5EF4-FFF2-40B4-BE49-F238E27FC236}">
                  <a16:creationId xmlns:a16="http://schemas.microsoft.com/office/drawing/2014/main" id="{D1C5BD1C-6B3C-4E70-9599-68E3A0EDB9A6}"/>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57" name="Group 56">
            <a:extLst>
              <a:ext uri="{FF2B5EF4-FFF2-40B4-BE49-F238E27FC236}">
                <a16:creationId xmlns:a16="http://schemas.microsoft.com/office/drawing/2014/main" id="{740DE8B3-9936-4799-B99F-4A8171711F21}"/>
              </a:ext>
            </a:extLst>
          </p:cNvPr>
          <p:cNvGrpSpPr/>
          <p:nvPr/>
        </p:nvGrpSpPr>
        <p:grpSpPr>
          <a:xfrm>
            <a:off x="7725943" y="4047592"/>
            <a:ext cx="900121" cy="833828"/>
            <a:chOff x="9100338" y="3854663"/>
            <a:chExt cx="1360126" cy="1259954"/>
          </a:xfrm>
        </p:grpSpPr>
        <p:sp>
          <p:nvSpPr>
            <p:cNvPr id="58" name="Rectangle 57">
              <a:extLst>
                <a:ext uri="{FF2B5EF4-FFF2-40B4-BE49-F238E27FC236}">
                  <a16:creationId xmlns:a16="http://schemas.microsoft.com/office/drawing/2014/main" id="{F2CF2E5F-C1CE-4D5B-8E3C-29B2DB74C6F8}"/>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Freeform 75">
              <a:extLst>
                <a:ext uri="{FF2B5EF4-FFF2-40B4-BE49-F238E27FC236}">
                  <a16:creationId xmlns:a16="http://schemas.microsoft.com/office/drawing/2014/main" id="{E1DE9550-0E8C-4597-97A9-5699C83D86C5}"/>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60" name="Group 59">
            <a:extLst>
              <a:ext uri="{FF2B5EF4-FFF2-40B4-BE49-F238E27FC236}">
                <a16:creationId xmlns:a16="http://schemas.microsoft.com/office/drawing/2014/main" id="{38DE0828-0215-40BB-835F-B14FFAC70529}"/>
              </a:ext>
            </a:extLst>
          </p:cNvPr>
          <p:cNvGrpSpPr/>
          <p:nvPr/>
        </p:nvGrpSpPr>
        <p:grpSpPr>
          <a:xfrm>
            <a:off x="8795541" y="4047592"/>
            <a:ext cx="900121" cy="833828"/>
            <a:chOff x="9100338" y="3854663"/>
            <a:chExt cx="1360126" cy="1259954"/>
          </a:xfrm>
        </p:grpSpPr>
        <p:sp>
          <p:nvSpPr>
            <p:cNvPr id="61" name="Rectangle 60">
              <a:extLst>
                <a:ext uri="{FF2B5EF4-FFF2-40B4-BE49-F238E27FC236}">
                  <a16:creationId xmlns:a16="http://schemas.microsoft.com/office/drawing/2014/main" id="{0AAB09DA-3F74-4FFA-A0EF-86A19B8254BE}"/>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Freeform 75">
              <a:extLst>
                <a:ext uri="{FF2B5EF4-FFF2-40B4-BE49-F238E27FC236}">
                  <a16:creationId xmlns:a16="http://schemas.microsoft.com/office/drawing/2014/main" id="{450FBC59-2ECE-4F24-8859-0C428B83DE49}"/>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63" name="Group 62">
            <a:extLst>
              <a:ext uri="{FF2B5EF4-FFF2-40B4-BE49-F238E27FC236}">
                <a16:creationId xmlns:a16="http://schemas.microsoft.com/office/drawing/2014/main" id="{63F6E502-1579-40D4-BBC8-16144972FB75}"/>
              </a:ext>
            </a:extLst>
          </p:cNvPr>
          <p:cNvGrpSpPr/>
          <p:nvPr/>
        </p:nvGrpSpPr>
        <p:grpSpPr>
          <a:xfrm>
            <a:off x="9865140" y="4047592"/>
            <a:ext cx="900121" cy="833828"/>
            <a:chOff x="9100338" y="3854663"/>
            <a:chExt cx="1360126" cy="1259954"/>
          </a:xfrm>
        </p:grpSpPr>
        <p:sp>
          <p:nvSpPr>
            <p:cNvPr id="64" name="Rectangle 63">
              <a:extLst>
                <a:ext uri="{FF2B5EF4-FFF2-40B4-BE49-F238E27FC236}">
                  <a16:creationId xmlns:a16="http://schemas.microsoft.com/office/drawing/2014/main" id="{00984873-CDD4-4E4D-B4F3-6C0194946EB6}"/>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Freeform 75">
              <a:extLst>
                <a:ext uri="{FF2B5EF4-FFF2-40B4-BE49-F238E27FC236}">
                  <a16:creationId xmlns:a16="http://schemas.microsoft.com/office/drawing/2014/main" id="{24D55B98-DE01-437C-B53D-3499302908EF}"/>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66" name="Group 65">
            <a:extLst>
              <a:ext uri="{FF2B5EF4-FFF2-40B4-BE49-F238E27FC236}">
                <a16:creationId xmlns:a16="http://schemas.microsoft.com/office/drawing/2014/main" id="{7E267070-1241-438D-ADDF-6AF19C8884D5}"/>
              </a:ext>
            </a:extLst>
          </p:cNvPr>
          <p:cNvGrpSpPr/>
          <p:nvPr/>
        </p:nvGrpSpPr>
        <p:grpSpPr>
          <a:xfrm>
            <a:off x="10934738" y="4047592"/>
            <a:ext cx="900121" cy="833828"/>
            <a:chOff x="9100338" y="3854663"/>
            <a:chExt cx="1360126" cy="1259954"/>
          </a:xfrm>
        </p:grpSpPr>
        <p:sp>
          <p:nvSpPr>
            <p:cNvPr id="67" name="Rectangle 66">
              <a:extLst>
                <a:ext uri="{FF2B5EF4-FFF2-40B4-BE49-F238E27FC236}">
                  <a16:creationId xmlns:a16="http://schemas.microsoft.com/office/drawing/2014/main" id="{67835ABE-AE57-4C43-8EF4-4A5B70358A2F}"/>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Freeform 75">
              <a:extLst>
                <a:ext uri="{FF2B5EF4-FFF2-40B4-BE49-F238E27FC236}">
                  <a16:creationId xmlns:a16="http://schemas.microsoft.com/office/drawing/2014/main" id="{E29686FB-CADC-4908-9460-33FB771C9E57}"/>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69" name="Group 68">
            <a:extLst>
              <a:ext uri="{FF2B5EF4-FFF2-40B4-BE49-F238E27FC236}">
                <a16:creationId xmlns:a16="http://schemas.microsoft.com/office/drawing/2014/main" id="{5FCD0214-E1A0-4386-BC19-A89F91C6A03D}"/>
              </a:ext>
            </a:extLst>
          </p:cNvPr>
          <p:cNvGrpSpPr/>
          <p:nvPr/>
        </p:nvGrpSpPr>
        <p:grpSpPr>
          <a:xfrm>
            <a:off x="7725943" y="5035594"/>
            <a:ext cx="900121" cy="833828"/>
            <a:chOff x="9100338" y="3854663"/>
            <a:chExt cx="1360126" cy="1259954"/>
          </a:xfrm>
        </p:grpSpPr>
        <p:sp>
          <p:nvSpPr>
            <p:cNvPr id="70" name="Rectangle 69">
              <a:extLst>
                <a:ext uri="{FF2B5EF4-FFF2-40B4-BE49-F238E27FC236}">
                  <a16:creationId xmlns:a16="http://schemas.microsoft.com/office/drawing/2014/main" id="{16C22DC9-B486-4E21-9B8D-9C149F2AE35E}"/>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5">
              <a:extLst>
                <a:ext uri="{FF2B5EF4-FFF2-40B4-BE49-F238E27FC236}">
                  <a16:creationId xmlns:a16="http://schemas.microsoft.com/office/drawing/2014/main" id="{99F75BCD-0AAB-48DC-886E-8F59557A7FBC}"/>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72" name="Group 71">
            <a:extLst>
              <a:ext uri="{FF2B5EF4-FFF2-40B4-BE49-F238E27FC236}">
                <a16:creationId xmlns:a16="http://schemas.microsoft.com/office/drawing/2014/main" id="{A81F7F79-44DC-4D4B-B94A-93414563A971}"/>
              </a:ext>
            </a:extLst>
          </p:cNvPr>
          <p:cNvGrpSpPr/>
          <p:nvPr/>
        </p:nvGrpSpPr>
        <p:grpSpPr>
          <a:xfrm>
            <a:off x="8795541" y="5035594"/>
            <a:ext cx="900121" cy="833828"/>
            <a:chOff x="9100338" y="3854663"/>
            <a:chExt cx="1360126" cy="1259954"/>
          </a:xfrm>
        </p:grpSpPr>
        <p:sp>
          <p:nvSpPr>
            <p:cNvPr id="73" name="Rectangle 72">
              <a:extLst>
                <a:ext uri="{FF2B5EF4-FFF2-40B4-BE49-F238E27FC236}">
                  <a16:creationId xmlns:a16="http://schemas.microsoft.com/office/drawing/2014/main" id="{F166A62A-571D-4C76-9289-02FE6275196E}"/>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75">
              <a:extLst>
                <a:ext uri="{FF2B5EF4-FFF2-40B4-BE49-F238E27FC236}">
                  <a16:creationId xmlns:a16="http://schemas.microsoft.com/office/drawing/2014/main" id="{86E1AA00-15AC-4966-9D3F-487886105F5E}"/>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75" name="Group 74">
            <a:extLst>
              <a:ext uri="{FF2B5EF4-FFF2-40B4-BE49-F238E27FC236}">
                <a16:creationId xmlns:a16="http://schemas.microsoft.com/office/drawing/2014/main" id="{E07C25DB-634D-42B4-B3EF-42CDB222305D}"/>
              </a:ext>
            </a:extLst>
          </p:cNvPr>
          <p:cNvGrpSpPr/>
          <p:nvPr/>
        </p:nvGrpSpPr>
        <p:grpSpPr>
          <a:xfrm>
            <a:off x="9865140" y="5035594"/>
            <a:ext cx="900121" cy="833828"/>
            <a:chOff x="9100338" y="3854663"/>
            <a:chExt cx="1360126" cy="1259954"/>
          </a:xfrm>
        </p:grpSpPr>
        <p:sp>
          <p:nvSpPr>
            <p:cNvPr id="76" name="Rectangle 75">
              <a:extLst>
                <a:ext uri="{FF2B5EF4-FFF2-40B4-BE49-F238E27FC236}">
                  <a16:creationId xmlns:a16="http://schemas.microsoft.com/office/drawing/2014/main" id="{B73FE428-DBED-4E34-9874-CB87AE66F528}"/>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Freeform 75">
              <a:extLst>
                <a:ext uri="{FF2B5EF4-FFF2-40B4-BE49-F238E27FC236}">
                  <a16:creationId xmlns:a16="http://schemas.microsoft.com/office/drawing/2014/main" id="{50142F62-70C4-4F4D-84D5-9DFE2F89E377}"/>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78" name="Group 77">
            <a:extLst>
              <a:ext uri="{FF2B5EF4-FFF2-40B4-BE49-F238E27FC236}">
                <a16:creationId xmlns:a16="http://schemas.microsoft.com/office/drawing/2014/main" id="{BB3A9A79-4288-42BA-8FC4-52B8DC793BD1}"/>
              </a:ext>
            </a:extLst>
          </p:cNvPr>
          <p:cNvGrpSpPr/>
          <p:nvPr/>
        </p:nvGrpSpPr>
        <p:grpSpPr>
          <a:xfrm>
            <a:off x="10934738" y="5035594"/>
            <a:ext cx="900121" cy="833828"/>
            <a:chOff x="9100338" y="3854663"/>
            <a:chExt cx="1360126" cy="1259954"/>
          </a:xfrm>
        </p:grpSpPr>
        <p:sp>
          <p:nvSpPr>
            <p:cNvPr id="79" name="Rectangle 78">
              <a:extLst>
                <a:ext uri="{FF2B5EF4-FFF2-40B4-BE49-F238E27FC236}">
                  <a16:creationId xmlns:a16="http://schemas.microsoft.com/office/drawing/2014/main" id="{DF0C6A35-EBF9-4163-8B3C-2304AECDB177}"/>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75">
              <a:extLst>
                <a:ext uri="{FF2B5EF4-FFF2-40B4-BE49-F238E27FC236}">
                  <a16:creationId xmlns:a16="http://schemas.microsoft.com/office/drawing/2014/main" id="{4A5AFB33-7D7C-486D-8D97-DA7757E82F0B}"/>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117" name="Group 116">
            <a:extLst>
              <a:ext uri="{FF2B5EF4-FFF2-40B4-BE49-F238E27FC236}">
                <a16:creationId xmlns:a16="http://schemas.microsoft.com/office/drawing/2014/main" id="{584C4B99-EEA9-4C11-9D4E-16DCB5F41ECF}"/>
              </a:ext>
            </a:extLst>
          </p:cNvPr>
          <p:cNvGrpSpPr/>
          <p:nvPr/>
        </p:nvGrpSpPr>
        <p:grpSpPr>
          <a:xfrm>
            <a:off x="7816186" y="5960962"/>
            <a:ext cx="719634" cy="582080"/>
            <a:chOff x="5910898" y="4322063"/>
            <a:chExt cx="536276" cy="433770"/>
          </a:xfrm>
        </p:grpSpPr>
        <p:sp>
          <p:nvSpPr>
            <p:cNvPr id="115" name="Freeform 5">
              <a:extLst>
                <a:ext uri="{FF2B5EF4-FFF2-40B4-BE49-F238E27FC236}">
                  <a16:creationId xmlns:a16="http://schemas.microsoft.com/office/drawing/2014/main" id="{707AEA07-FB5F-42ED-A178-94583C61D37D}"/>
                </a:ext>
              </a:extLst>
            </p:cNvPr>
            <p:cNvSpPr>
              <a:spLocks noEditPoints="1"/>
            </p:cNvSpPr>
            <p:nvPr/>
          </p:nvSpPr>
          <p:spPr bwMode="auto">
            <a:xfrm>
              <a:off x="5910898" y="4419283"/>
              <a:ext cx="334963"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6" name="Freeform 5">
              <a:extLst>
                <a:ext uri="{FF2B5EF4-FFF2-40B4-BE49-F238E27FC236}">
                  <a16:creationId xmlns:a16="http://schemas.microsoft.com/office/drawing/2014/main" id="{33A41E97-4D5E-400D-9BB6-62EE888101E6}"/>
                </a:ext>
              </a:extLst>
            </p:cNvPr>
            <p:cNvSpPr>
              <a:spLocks noEditPoints="1"/>
            </p:cNvSpPr>
            <p:nvPr/>
          </p:nvSpPr>
          <p:spPr bwMode="auto">
            <a:xfrm rot="21093235">
              <a:off x="6209603" y="4322063"/>
              <a:ext cx="237571" cy="238697"/>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18" name="Group 117">
            <a:extLst>
              <a:ext uri="{FF2B5EF4-FFF2-40B4-BE49-F238E27FC236}">
                <a16:creationId xmlns:a16="http://schemas.microsoft.com/office/drawing/2014/main" id="{A4FF1C68-CFE3-429C-B085-692EF37232D6}"/>
              </a:ext>
            </a:extLst>
          </p:cNvPr>
          <p:cNvGrpSpPr/>
          <p:nvPr/>
        </p:nvGrpSpPr>
        <p:grpSpPr>
          <a:xfrm>
            <a:off x="8885784" y="5960962"/>
            <a:ext cx="719634" cy="582080"/>
            <a:chOff x="5910898" y="4322063"/>
            <a:chExt cx="536276" cy="433770"/>
          </a:xfrm>
        </p:grpSpPr>
        <p:sp>
          <p:nvSpPr>
            <p:cNvPr id="119" name="Freeform 5">
              <a:extLst>
                <a:ext uri="{FF2B5EF4-FFF2-40B4-BE49-F238E27FC236}">
                  <a16:creationId xmlns:a16="http://schemas.microsoft.com/office/drawing/2014/main" id="{2FBE9AD1-C8B5-4DC8-8EFD-1F0488D9F107}"/>
                </a:ext>
              </a:extLst>
            </p:cNvPr>
            <p:cNvSpPr>
              <a:spLocks noEditPoints="1"/>
            </p:cNvSpPr>
            <p:nvPr/>
          </p:nvSpPr>
          <p:spPr bwMode="auto">
            <a:xfrm>
              <a:off x="5910898" y="4419283"/>
              <a:ext cx="334963"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0" name="Freeform 5">
              <a:extLst>
                <a:ext uri="{FF2B5EF4-FFF2-40B4-BE49-F238E27FC236}">
                  <a16:creationId xmlns:a16="http://schemas.microsoft.com/office/drawing/2014/main" id="{5D1F8FBA-BFC1-4E34-8EEE-168737CA1D23}"/>
                </a:ext>
              </a:extLst>
            </p:cNvPr>
            <p:cNvSpPr>
              <a:spLocks noEditPoints="1"/>
            </p:cNvSpPr>
            <p:nvPr/>
          </p:nvSpPr>
          <p:spPr bwMode="auto">
            <a:xfrm rot="21093235">
              <a:off x="6209603" y="4322063"/>
              <a:ext cx="237571" cy="238697"/>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21" name="Group 120">
            <a:extLst>
              <a:ext uri="{FF2B5EF4-FFF2-40B4-BE49-F238E27FC236}">
                <a16:creationId xmlns:a16="http://schemas.microsoft.com/office/drawing/2014/main" id="{8304BD63-C38B-432E-8CDC-81D9CF2AD4AD}"/>
              </a:ext>
            </a:extLst>
          </p:cNvPr>
          <p:cNvGrpSpPr/>
          <p:nvPr/>
        </p:nvGrpSpPr>
        <p:grpSpPr>
          <a:xfrm>
            <a:off x="9955383" y="5960962"/>
            <a:ext cx="719634" cy="582080"/>
            <a:chOff x="5910898" y="4322063"/>
            <a:chExt cx="536276" cy="433770"/>
          </a:xfrm>
        </p:grpSpPr>
        <p:sp>
          <p:nvSpPr>
            <p:cNvPr id="122" name="Freeform 5">
              <a:extLst>
                <a:ext uri="{FF2B5EF4-FFF2-40B4-BE49-F238E27FC236}">
                  <a16:creationId xmlns:a16="http://schemas.microsoft.com/office/drawing/2014/main" id="{CB0A3494-7770-436F-8740-52F8624C9107}"/>
                </a:ext>
              </a:extLst>
            </p:cNvPr>
            <p:cNvSpPr>
              <a:spLocks noEditPoints="1"/>
            </p:cNvSpPr>
            <p:nvPr/>
          </p:nvSpPr>
          <p:spPr bwMode="auto">
            <a:xfrm>
              <a:off x="5910898" y="4419283"/>
              <a:ext cx="334963"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3" name="Freeform 5">
              <a:extLst>
                <a:ext uri="{FF2B5EF4-FFF2-40B4-BE49-F238E27FC236}">
                  <a16:creationId xmlns:a16="http://schemas.microsoft.com/office/drawing/2014/main" id="{FDB33FAB-691C-4F31-A712-5953D29C8FB5}"/>
                </a:ext>
              </a:extLst>
            </p:cNvPr>
            <p:cNvSpPr>
              <a:spLocks noEditPoints="1"/>
            </p:cNvSpPr>
            <p:nvPr/>
          </p:nvSpPr>
          <p:spPr bwMode="auto">
            <a:xfrm rot="21093235">
              <a:off x="6209603" y="4322063"/>
              <a:ext cx="237571" cy="238697"/>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24" name="Group 123">
            <a:extLst>
              <a:ext uri="{FF2B5EF4-FFF2-40B4-BE49-F238E27FC236}">
                <a16:creationId xmlns:a16="http://schemas.microsoft.com/office/drawing/2014/main" id="{B03DADD9-D40C-4DDB-8CF6-B763FE60FE80}"/>
              </a:ext>
            </a:extLst>
          </p:cNvPr>
          <p:cNvGrpSpPr/>
          <p:nvPr/>
        </p:nvGrpSpPr>
        <p:grpSpPr>
          <a:xfrm>
            <a:off x="11024981" y="5960962"/>
            <a:ext cx="719634" cy="582080"/>
            <a:chOff x="5910898" y="4322063"/>
            <a:chExt cx="536276" cy="433770"/>
          </a:xfrm>
        </p:grpSpPr>
        <p:sp>
          <p:nvSpPr>
            <p:cNvPr id="125" name="Freeform 5">
              <a:extLst>
                <a:ext uri="{FF2B5EF4-FFF2-40B4-BE49-F238E27FC236}">
                  <a16:creationId xmlns:a16="http://schemas.microsoft.com/office/drawing/2014/main" id="{FE579486-7225-4851-AAE6-B062101F2961}"/>
                </a:ext>
              </a:extLst>
            </p:cNvPr>
            <p:cNvSpPr>
              <a:spLocks noEditPoints="1"/>
            </p:cNvSpPr>
            <p:nvPr/>
          </p:nvSpPr>
          <p:spPr bwMode="auto">
            <a:xfrm>
              <a:off x="5910898" y="4419283"/>
              <a:ext cx="334963"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6" name="Freeform 5">
              <a:extLst>
                <a:ext uri="{FF2B5EF4-FFF2-40B4-BE49-F238E27FC236}">
                  <a16:creationId xmlns:a16="http://schemas.microsoft.com/office/drawing/2014/main" id="{443A190F-32B0-42C8-9D8C-D76416F5ABCB}"/>
                </a:ext>
              </a:extLst>
            </p:cNvPr>
            <p:cNvSpPr>
              <a:spLocks noEditPoints="1"/>
            </p:cNvSpPr>
            <p:nvPr/>
          </p:nvSpPr>
          <p:spPr bwMode="auto">
            <a:xfrm rot="21093235">
              <a:off x="6209603" y="4322063"/>
              <a:ext cx="237571" cy="238697"/>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42" name="Group 141">
            <a:extLst>
              <a:ext uri="{FF2B5EF4-FFF2-40B4-BE49-F238E27FC236}">
                <a16:creationId xmlns:a16="http://schemas.microsoft.com/office/drawing/2014/main" id="{FFCFCE52-7F86-489F-9BDA-CF30B589F768}"/>
              </a:ext>
            </a:extLst>
          </p:cNvPr>
          <p:cNvGrpSpPr/>
          <p:nvPr/>
        </p:nvGrpSpPr>
        <p:grpSpPr>
          <a:xfrm>
            <a:off x="365138" y="1367444"/>
            <a:ext cx="7002614" cy="4413728"/>
            <a:chOff x="365138" y="1367444"/>
            <a:chExt cx="7002614" cy="4413728"/>
          </a:xfrm>
        </p:grpSpPr>
        <p:sp>
          <p:nvSpPr>
            <p:cNvPr id="34" name="Rectangle 33">
              <a:extLst>
                <a:ext uri="{FF2B5EF4-FFF2-40B4-BE49-F238E27FC236}">
                  <a16:creationId xmlns:a16="http://schemas.microsoft.com/office/drawing/2014/main" id="{F6DE9BFC-E429-4F9A-8D8D-FDBCE42DC106}"/>
                </a:ext>
              </a:extLst>
            </p:cNvPr>
            <p:cNvSpPr/>
            <p:nvPr/>
          </p:nvSpPr>
          <p:spPr>
            <a:xfrm>
              <a:off x="868680" y="1367444"/>
              <a:ext cx="6499072" cy="441372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ct val="0"/>
                </a:spcBef>
                <a:spcAft>
                  <a:spcPts val="1800"/>
                </a:spcAft>
              </a:pPr>
              <a:r>
                <a:rPr lang="en-GB" sz="2800" dirty="0">
                  <a:solidFill>
                    <a:schemeClr val="accent1"/>
                  </a:solidFill>
                  <a:latin typeface="+mj-lt"/>
                </a:rPr>
                <a:t>Compute pools for job processing</a:t>
              </a:r>
            </a:p>
            <a:p>
              <a:pPr lvl="0" defTabSz="444500">
                <a:spcBef>
                  <a:spcPct val="0"/>
                </a:spcBef>
                <a:spcAft>
                  <a:spcPts val="1800"/>
                </a:spcAft>
              </a:pPr>
              <a:r>
                <a:rPr lang="en-GB" sz="2800" dirty="0">
                  <a:solidFill>
                    <a:schemeClr val="accent1"/>
                  </a:solidFill>
                  <a:latin typeface="+mj-lt"/>
                </a:rPr>
                <a:t>Automatic scaling and regional coverage</a:t>
              </a:r>
            </a:p>
            <a:p>
              <a:pPr lvl="0" defTabSz="444500">
                <a:spcBef>
                  <a:spcPct val="0"/>
                </a:spcBef>
                <a:spcAft>
                  <a:spcPts val="1800"/>
                </a:spcAft>
              </a:pPr>
              <a:r>
                <a:rPr lang="en-GB" sz="2800" dirty="0">
                  <a:solidFill>
                    <a:schemeClr val="accent1"/>
                  </a:solidFill>
                  <a:latin typeface="+mj-lt"/>
                </a:rPr>
                <a:t>Linux and Windows</a:t>
              </a:r>
            </a:p>
            <a:p>
              <a:pPr lvl="0" defTabSz="444500">
                <a:spcBef>
                  <a:spcPct val="0"/>
                </a:spcBef>
                <a:spcAft>
                  <a:spcPts val="1800"/>
                </a:spcAft>
              </a:pPr>
              <a:r>
                <a:rPr lang="en-GB" sz="2800" dirty="0">
                  <a:solidFill>
                    <a:schemeClr val="accent1"/>
                  </a:solidFill>
                  <a:latin typeface="+mj-lt"/>
                </a:rPr>
                <a:t>Automatically recover failed tasks</a:t>
              </a:r>
            </a:p>
            <a:p>
              <a:pPr lvl="0" defTabSz="444500">
                <a:spcBef>
                  <a:spcPct val="0"/>
                </a:spcBef>
                <a:spcAft>
                  <a:spcPts val="1800"/>
                </a:spcAft>
              </a:pPr>
              <a:r>
                <a:rPr lang="en-GB" sz="2800" dirty="0" err="1">
                  <a:solidFill>
                    <a:schemeClr val="accent1"/>
                  </a:solidFill>
                  <a:latin typeface="+mj-lt"/>
                </a:rPr>
                <a:t>Input/Output</a:t>
              </a:r>
              <a:r>
                <a:rPr lang="en-GB" sz="2800" dirty="0">
                  <a:solidFill>
                    <a:schemeClr val="accent1"/>
                  </a:solidFill>
                  <a:latin typeface="+mj-lt"/>
                </a:rPr>
                <a:t> handling</a:t>
              </a:r>
            </a:p>
            <a:p>
              <a:pPr lvl="0" defTabSz="444500">
                <a:spcBef>
                  <a:spcPct val="0"/>
                </a:spcBef>
                <a:spcAft>
                  <a:spcPts val="1800"/>
                </a:spcAft>
              </a:pPr>
              <a:r>
                <a:rPr lang="en-GB" sz="2800" dirty="0">
                  <a:solidFill>
                    <a:schemeClr val="accent1"/>
                  </a:solidFill>
                  <a:latin typeface="+mj-lt"/>
                </a:rPr>
                <a:t>Low-</a:t>
              </a:r>
              <a:r>
                <a:rPr lang="en-GB" sz="2800" dirty="0" err="1">
                  <a:solidFill>
                    <a:schemeClr val="accent1"/>
                  </a:solidFill>
                  <a:latin typeface="+mj-lt"/>
                </a:rPr>
                <a:t>Pri</a:t>
              </a:r>
              <a:r>
                <a:rPr lang="en-GB" sz="2800" dirty="0">
                  <a:solidFill>
                    <a:schemeClr val="accent1"/>
                  </a:solidFill>
                  <a:latin typeface="+mj-lt"/>
                </a:rPr>
                <a:t> (discounted) option</a:t>
              </a:r>
            </a:p>
          </p:txBody>
        </p:sp>
        <p:sp>
          <p:nvSpPr>
            <p:cNvPr id="136" name="Graphic 8">
              <a:extLst>
                <a:ext uri="{FF2B5EF4-FFF2-40B4-BE49-F238E27FC236}">
                  <a16:creationId xmlns:a16="http://schemas.microsoft.com/office/drawing/2014/main" id="{298B7601-67F9-48D9-9CB0-D7750FBBE9B4}"/>
                </a:ext>
              </a:extLst>
            </p:cNvPr>
            <p:cNvSpPr/>
            <p:nvPr/>
          </p:nvSpPr>
          <p:spPr>
            <a:xfrm rot="10800000">
              <a:off x="365138" y="1470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37" name="Graphic 8">
              <a:extLst>
                <a:ext uri="{FF2B5EF4-FFF2-40B4-BE49-F238E27FC236}">
                  <a16:creationId xmlns:a16="http://schemas.microsoft.com/office/drawing/2014/main" id="{388542E2-D389-4A3B-AEAD-9B11564E091D}"/>
                </a:ext>
              </a:extLst>
            </p:cNvPr>
            <p:cNvSpPr/>
            <p:nvPr/>
          </p:nvSpPr>
          <p:spPr>
            <a:xfrm rot="10800000">
              <a:off x="365138" y="2107926"/>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38" name="Graphic 8">
              <a:extLst>
                <a:ext uri="{FF2B5EF4-FFF2-40B4-BE49-F238E27FC236}">
                  <a16:creationId xmlns:a16="http://schemas.microsoft.com/office/drawing/2014/main" id="{3C27F00E-B9DF-46D8-8723-6AFAB9FF3665}"/>
                </a:ext>
              </a:extLst>
            </p:cNvPr>
            <p:cNvSpPr/>
            <p:nvPr/>
          </p:nvSpPr>
          <p:spPr>
            <a:xfrm rot="10800000">
              <a:off x="365138" y="2781315"/>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39" name="Graphic 8">
              <a:extLst>
                <a:ext uri="{FF2B5EF4-FFF2-40B4-BE49-F238E27FC236}">
                  <a16:creationId xmlns:a16="http://schemas.microsoft.com/office/drawing/2014/main" id="{C74C6491-6265-42E5-9A87-BE5D877A35D2}"/>
                </a:ext>
              </a:extLst>
            </p:cNvPr>
            <p:cNvSpPr/>
            <p:nvPr/>
          </p:nvSpPr>
          <p:spPr>
            <a:xfrm rot="10800000">
              <a:off x="365138" y="4102758"/>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40" name="Graphic 8">
              <a:extLst>
                <a:ext uri="{FF2B5EF4-FFF2-40B4-BE49-F238E27FC236}">
                  <a16:creationId xmlns:a16="http://schemas.microsoft.com/office/drawing/2014/main" id="{A3D36D9A-ACC0-4336-8E71-44E21CD8CFA7}"/>
                </a:ext>
              </a:extLst>
            </p:cNvPr>
            <p:cNvSpPr/>
            <p:nvPr/>
          </p:nvSpPr>
          <p:spPr>
            <a:xfrm rot="10800000">
              <a:off x="365138" y="3431426"/>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41" name="Graphic 8">
              <a:extLst>
                <a:ext uri="{FF2B5EF4-FFF2-40B4-BE49-F238E27FC236}">
                  <a16:creationId xmlns:a16="http://schemas.microsoft.com/office/drawing/2014/main" id="{C55BE55B-7855-4F17-B6D5-134B0AE5842C}"/>
                </a:ext>
              </a:extLst>
            </p:cNvPr>
            <p:cNvSpPr/>
            <p:nvPr/>
          </p:nvSpPr>
          <p:spPr>
            <a:xfrm rot="10800000">
              <a:off x="365138" y="4739366"/>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grpSp>
    </p:spTree>
    <p:extLst>
      <p:ext uri="{BB962C8B-B14F-4D97-AF65-F5344CB8AC3E}">
        <p14:creationId xmlns:p14="http://schemas.microsoft.com/office/powerpoint/2010/main" val="2523514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Rectangle 91">
            <a:extLst>
              <a:ext uri="{FF2B5EF4-FFF2-40B4-BE49-F238E27FC236}">
                <a16:creationId xmlns:a16="http://schemas.microsoft.com/office/drawing/2014/main" id="{09F3B9DC-5CB0-41C4-991B-81CDF26EEDE1}"/>
              </a:ext>
            </a:extLst>
          </p:cNvPr>
          <p:cNvSpPr/>
          <p:nvPr/>
        </p:nvSpPr>
        <p:spPr bwMode="auto">
          <a:xfrm>
            <a:off x="7589520" y="1367444"/>
            <a:ext cx="4381763" cy="5236704"/>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Freeform 5">
            <a:extLst>
              <a:ext uri="{FF2B5EF4-FFF2-40B4-BE49-F238E27FC236}">
                <a16:creationId xmlns:a16="http://schemas.microsoft.com/office/drawing/2014/main" id="{58318F3B-0E89-4778-92D9-99356C884D3A}"/>
              </a:ext>
            </a:extLst>
          </p:cNvPr>
          <p:cNvSpPr>
            <a:spLocks/>
          </p:cNvSpPr>
          <p:nvPr/>
        </p:nvSpPr>
        <p:spPr bwMode="auto">
          <a:xfrm>
            <a:off x="7870371" y="1498986"/>
            <a:ext cx="3796910" cy="2011488"/>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sp>
        <p:nvSpPr>
          <p:cNvPr id="7" name="Title 6">
            <a:extLst>
              <a:ext uri="{FF2B5EF4-FFF2-40B4-BE49-F238E27FC236}">
                <a16:creationId xmlns:a16="http://schemas.microsoft.com/office/drawing/2014/main" id="{B52692FB-7197-4055-9915-6A5041E4A996}"/>
              </a:ext>
            </a:extLst>
          </p:cNvPr>
          <p:cNvSpPr>
            <a:spLocks noGrp="1"/>
          </p:cNvSpPr>
          <p:nvPr>
            <p:ph type="title"/>
          </p:nvPr>
        </p:nvSpPr>
        <p:spPr/>
        <p:txBody>
          <a:bodyPr/>
          <a:lstStyle/>
          <a:p>
            <a:r>
              <a:rPr lang="en-IN" dirty="0"/>
              <a:t>Azure Container Service</a:t>
            </a:r>
          </a:p>
        </p:txBody>
      </p:sp>
      <p:sp>
        <p:nvSpPr>
          <p:cNvPr id="10" name="Rectangle 9">
            <a:extLst>
              <a:ext uri="{FF2B5EF4-FFF2-40B4-BE49-F238E27FC236}">
                <a16:creationId xmlns:a16="http://schemas.microsoft.com/office/drawing/2014/main" id="{B6173C78-0771-46C0-A5B6-F3AD3CCF4E52}"/>
              </a:ext>
            </a:extLst>
          </p:cNvPr>
          <p:cNvSpPr/>
          <p:nvPr/>
        </p:nvSpPr>
        <p:spPr>
          <a:xfrm>
            <a:off x="8134988" y="2439176"/>
            <a:ext cx="2880917" cy="400110"/>
          </a:xfrm>
          <a:prstGeom prst="rect">
            <a:avLst/>
          </a:prstGeom>
        </p:spPr>
        <p:txBody>
          <a:bodyPr wrap="none">
            <a:spAutoFit/>
          </a:bodyPr>
          <a:lstStyle/>
          <a:p>
            <a:pPr lvl="0" algn="ctr" defTabSz="914049">
              <a:defRPr/>
            </a:pPr>
            <a:r>
              <a:rPr lang="en-US" sz="2000" kern="0" dirty="0">
                <a:solidFill>
                  <a:sysClr val="windowText" lastClr="000000"/>
                </a:solidFill>
              </a:rPr>
              <a:t>Azure Container Service</a:t>
            </a:r>
          </a:p>
        </p:txBody>
      </p:sp>
      <p:grpSp>
        <p:nvGrpSpPr>
          <p:cNvPr id="11" name="Group 10">
            <a:extLst>
              <a:ext uri="{FF2B5EF4-FFF2-40B4-BE49-F238E27FC236}">
                <a16:creationId xmlns:a16="http://schemas.microsoft.com/office/drawing/2014/main" id="{089C1610-67CE-4740-A072-A2CFE1E9724A}"/>
              </a:ext>
            </a:extLst>
          </p:cNvPr>
          <p:cNvGrpSpPr/>
          <p:nvPr/>
        </p:nvGrpSpPr>
        <p:grpSpPr>
          <a:xfrm>
            <a:off x="8249873" y="2919971"/>
            <a:ext cx="409909" cy="1015421"/>
            <a:chOff x="7242901" y="2889394"/>
            <a:chExt cx="409909" cy="1015421"/>
          </a:xfrm>
          <a:solidFill>
            <a:schemeClr val="accent1"/>
          </a:solidFill>
        </p:grpSpPr>
        <p:sp>
          <p:nvSpPr>
            <p:cNvPr id="146" name="Freeform 13">
              <a:extLst>
                <a:ext uri="{FF2B5EF4-FFF2-40B4-BE49-F238E27FC236}">
                  <a16:creationId xmlns:a16="http://schemas.microsoft.com/office/drawing/2014/main" id="{3BAAA0E6-E8C8-43EE-82C6-5E8790C0E93E}"/>
                </a:ext>
              </a:extLst>
            </p:cNvPr>
            <p:cNvSpPr>
              <a:spLocks/>
            </p:cNvSpPr>
            <p:nvPr/>
          </p:nvSpPr>
          <p:spPr bwMode="auto">
            <a:xfrm>
              <a:off x="7242901" y="2889394"/>
              <a:ext cx="409909" cy="407954"/>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Semilight"/>
              </a:endParaRPr>
            </a:p>
          </p:txBody>
        </p:sp>
        <p:sp>
          <p:nvSpPr>
            <p:cNvPr id="147" name="Freeform 11">
              <a:extLst>
                <a:ext uri="{FF2B5EF4-FFF2-40B4-BE49-F238E27FC236}">
                  <a16:creationId xmlns:a16="http://schemas.microsoft.com/office/drawing/2014/main" id="{AB60F2E7-4667-46F6-A93E-46B7F41F660F}"/>
                </a:ext>
              </a:extLst>
            </p:cNvPr>
            <p:cNvSpPr>
              <a:spLocks/>
            </p:cNvSpPr>
            <p:nvPr/>
          </p:nvSpPr>
          <p:spPr bwMode="auto">
            <a:xfrm>
              <a:off x="7380948" y="3270572"/>
              <a:ext cx="142518" cy="63424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Semilight"/>
              </a:endParaRPr>
            </a:p>
          </p:txBody>
        </p:sp>
      </p:grpSp>
      <p:grpSp>
        <p:nvGrpSpPr>
          <p:cNvPr id="150" name="Group 149">
            <a:extLst>
              <a:ext uri="{FF2B5EF4-FFF2-40B4-BE49-F238E27FC236}">
                <a16:creationId xmlns:a16="http://schemas.microsoft.com/office/drawing/2014/main" id="{562397B2-AC40-4E69-96E0-7932E614B84D}"/>
              </a:ext>
            </a:extLst>
          </p:cNvPr>
          <p:cNvGrpSpPr/>
          <p:nvPr/>
        </p:nvGrpSpPr>
        <p:grpSpPr>
          <a:xfrm>
            <a:off x="9745372" y="2919971"/>
            <a:ext cx="409909" cy="1015421"/>
            <a:chOff x="7242901" y="2889394"/>
            <a:chExt cx="409909" cy="1015421"/>
          </a:xfrm>
          <a:solidFill>
            <a:schemeClr val="accent1"/>
          </a:solidFill>
        </p:grpSpPr>
        <p:sp>
          <p:nvSpPr>
            <p:cNvPr id="151" name="Freeform 13">
              <a:extLst>
                <a:ext uri="{FF2B5EF4-FFF2-40B4-BE49-F238E27FC236}">
                  <a16:creationId xmlns:a16="http://schemas.microsoft.com/office/drawing/2014/main" id="{4C440281-DFFA-41B7-AA29-0C379DF8768E}"/>
                </a:ext>
              </a:extLst>
            </p:cNvPr>
            <p:cNvSpPr>
              <a:spLocks/>
            </p:cNvSpPr>
            <p:nvPr/>
          </p:nvSpPr>
          <p:spPr bwMode="auto">
            <a:xfrm>
              <a:off x="7242901" y="2889394"/>
              <a:ext cx="409909" cy="407954"/>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Semilight"/>
              </a:endParaRPr>
            </a:p>
          </p:txBody>
        </p:sp>
        <p:sp>
          <p:nvSpPr>
            <p:cNvPr id="152" name="Freeform 11">
              <a:extLst>
                <a:ext uri="{FF2B5EF4-FFF2-40B4-BE49-F238E27FC236}">
                  <a16:creationId xmlns:a16="http://schemas.microsoft.com/office/drawing/2014/main" id="{ECAD0863-D843-4B3B-9343-B263821990D8}"/>
                </a:ext>
              </a:extLst>
            </p:cNvPr>
            <p:cNvSpPr>
              <a:spLocks/>
            </p:cNvSpPr>
            <p:nvPr/>
          </p:nvSpPr>
          <p:spPr bwMode="auto">
            <a:xfrm>
              <a:off x="7380948" y="3270572"/>
              <a:ext cx="142518" cy="63424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Semilight"/>
              </a:endParaRPr>
            </a:p>
          </p:txBody>
        </p:sp>
      </p:grpSp>
      <p:grpSp>
        <p:nvGrpSpPr>
          <p:cNvPr id="153" name="Group 152">
            <a:extLst>
              <a:ext uri="{FF2B5EF4-FFF2-40B4-BE49-F238E27FC236}">
                <a16:creationId xmlns:a16="http://schemas.microsoft.com/office/drawing/2014/main" id="{97E4CDB7-D1F0-448B-80A3-150FC71D8CDF}"/>
              </a:ext>
            </a:extLst>
          </p:cNvPr>
          <p:cNvGrpSpPr/>
          <p:nvPr/>
        </p:nvGrpSpPr>
        <p:grpSpPr>
          <a:xfrm>
            <a:off x="11128444" y="2919971"/>
            <a:ext cx="409909" cy="1015421"/>
            <a:chOff x="7242901" y="2889394"/>
            <a:chExt cx="409909" cy="1015421"/>
          </a:xfrm>
          <a:solidFill>
            <a:schemeClr val="accent1"/>
          </a:solidFill>
        </p:grpSpPr>
        <p:sp>
          <p:nvSpPr>
            <p:cNvPr id="154" name="Freeform 13">
              <a:extLst>
                <a:ext uri="{FF2B5EF4-FFF2-40B4-BE49-F238E27FC236}">
                  <a16:creationId xmlns:a16="http://schemas.microsoft.com/office/drawing/2014/main" id="{820115B2-15B3-4170-BDBA-25760ADBAB2C}"/>
                </a:ext>
              </a:extLst>
            </p:cNvPr>
            <p:cNvSpPr>
              <a:spLocks/>
            </p:cNvSpPr>
            <p:nvPr/>
          </p:nvSpPr>
          <p:spPr bwMode="auto">
            <a:xfrm>
              <a:off x="7242901" y="2889394"/>
              <a:ext cx="409909" cy="407954"/>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Semilight"/>
              </a:endParaRPr>
            </a:p>
          </p:txBody>
        </p:sp>
        <p:sp>
          <p:nvSpPr>
            <p:cNvPr id="155" name="Freeform 11">
              <a:extLst>
                <a:ext uri="{FF2B5EF4-FFF2-40B4-BE49-F238E27FC236}">
                  <a16:creationId xmlns:a16="http://schemas.microsoft.com/office/drawing/2014/main" id="{CEA5E23C-FDC7-4ADC-9488-905832E9A237}"/>
                </a:ext>
              </a:extLst>
            </p:cNvPr>
            <p:cNvSpPr>
              <a:spLocks/>
            </p:cNvSpPr>
            <p:nvPr/>
          </p:nvSpPr>
          <p:spPr bwMode="auto">
            <a:xfrm>
              <a:off x="7380948" y="3270572"/>
              <a:ext cx="142518" cy="63424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Semilight"/>
              </a:endParaRPr>
            </a:p>
          </p:txBody>
        </p:sp>
      </p:grpSp>
      <p:sp>
        <p:nvSpPr>
          <p:cNvPr id="156" name="Oval 16">
            <a:extLst>
              <a:ext uri="{FF2B5EF4-FFF2-40B4-BE49-F238E27FC236}">
                <a16:creationId xmlns:a16="http://schemas.microsoft.com/office/drawing/2014/main" id="{68832FFD-C1BF-4852-B050-14F7D267EA8C}"/>
              </a:ext>
            </a:extLst>
          </p:cNvPr>
          <p:cNvSpPr>
            <a:spLocks noChangeArrowheads="1"/>
          </p:cNvSpPr>
          <p:nvPr/>
        </p:nvSpPr>
        <p:spPr bwMode="auto">
          <a:xfrm>
            <a:off x="8384925" y="3018074"/>
            <a:ext cx="139804" cy="164139"/>
          </a:xfrm>
          <a:prstGeom prst="ellipse">
            <a:avLst/>
          </a:prstGeom>
          <a:solidFill>
            <a:schemeClr val="accent1"/>
          </a:solidFill>
          <a:ln>
            <a:noFill/>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Semilight"/>
            </a:endParaRPr>
          </a:p>
        </p:txBody>
      </p:sp>
      <p:sp>
        <p:nvSpPr>
          <p:cNvPr id="157" name="Oval 16">
            <a:extLst>
              <a:ext uri="{FF2B5EF4-FFF2-40B4-BE49-F238E27FC236}">
                <a16:creationId xmlns:a16="http://schemas.microsoft.com/office/drawing/2014/main" id="{12FFD7BF-E397-4369-8E63-868786BCBD43}"/>
              </a:ext>
            </a:extLst>
          </p:cNvPr>
          <p:cNvSpPr>
            <a:spLocks noChangeArrowheads="1"/>
          </p:cNvSpPr>
          <p:nvPr/>
        </p:nvSpPr>
        <p:spPr bwMode="auto">
          <a:xfrm>
            <a:off x="9880424" y="3018074"/>
            <a:ext cx="139804" cy="164139"/>
          </a:xfrm>
          <a:prstGeom prst="ellipse">
            <a:avLst/>
          </a:prstGeom>
          <a:solidFill>
            <a:schemeClr val="accent1"/>
          </a:solidFill>
          <a:ln>
            <a:noFill/>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Semilight"/>
            </a:endParaRPr>
          </a:p>
        </p:txBody>
      </p:sp>
      <p:sp>
        <p:nvSpPr>
          <p:cNvPr id="158" name="Oval 16">
            <a:extLst>
              <a:ext uri="{FF2B5EF4-FFF2-40B4-BE49-F238E27FC236}">
                <a16:creationId xmlns:a16="http://schemas.microsoft.com/office/drawing/2014/main" id="{7E18F71A-80BA-465A-B09C-4ACDAC707E46}"/>
              </a:ext>
            </a:extLst>
          </p:cNvPr>
          <p:cNvSpPr>
            <a:spLocks noChangeArrowheads="1"/>
          </p:cNvSpPr>
          <p:nvPr/>
        </p:nvSpPr>
        <p:spPr bwMode="auto">
          <a:xfrm>
            <a:off x="11263496" y="3018074"/>
            <a:ext cx="139804" cy="164139"/>
          </a:xfrm>
          <a:prstGeom prst="ellipse">
            <a:avLst/>
          </a:prstGeom>
          <a:solidFill>
            <a:schemeClr val="accent1"/>
          </a:solidFill>
          <a:ln>
            <a:noFill/>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Semilight"/>
            </a:endParaRPr>
          </a:p>
        </p:txBody>
      </p:sp>
      <p:pic>
        <p:nvPicPr>
          <p:cNvPr id="159" name="Picture 10" descr="http://devopscube.com/wp-content/uploads/2015/01/SWARM.png">
            <a:extLst>
              <a:ext uri="{FF2B5EF4-FFF2-40B4-BE49-F238E27FC236}">
                <a16:creationId xmlns:a16="http://schemas.microsoft.com/office/drawing/2014/main" id="{8F587115-8308-4B57-9324-FB0EAD4489B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47861" y="4247724"/>
            <a:ext cx="971074" cy="808574"/>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2" descr="https://mesosphere.com/wp-content/uploads/2016/04/logo-horizontal-styled.png">
            <a:extLst>
              <a:ext uri="{FF2B5EF4-FFF2-40B4-BE49-F238E27FC236}">
                <a16:creationId xmlns:a16="http://schemas.microsoft.com/office/drawing/2014/main" id="{E3AB7891-EAF7-44F6-8F65-5C5C9ADC2FB1}"/>
              </a:ext>
            </a:extLst>
          </p:cNvPr>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7878" t="29598" r="58594" b="23368"/>
          <a:stretch/>
        </p:blipFill>
        <p:spPr bwMode="auto">
          <a:xfrm>
            <a:off x="9471863" y="4150286"/>
            <a:ext cx="956926" cy="1003451"/>
          </a:xfrm>
          <a:prstGeom prst="rect">
            <a:avLst/>
          </a:prstGeom>
          <a:extLst>
            <a:ext uri="{909E8E84-426E-40DD-AFC4-6F175D3DCCD1}">
              <a14:hiddenFill xmlns:a14="http://schemas.microsoft.com/office/drawing/2010/main">
                <a:solidFill>
                  <a:srgbClr val="FFFFFF"/>
                </a:solidFill>
              </a14:hiddenFill>
            </a:ext>
          </a:extLst>
        </p:spPr>
      </p:pic>
      <p:pic>
        <p:nvPicPr>
          <p:cNvPr id="161" name="Picture 160">
            <a:extLst>
              <a:ext uri="{FF2B5EF4-FFF2-40B4-BE49-F238E27FC236}">
                <a16:creationId xmlns:a16="http://schemas.microsoft.com/office/drawing/2014/main" id="{DA1618B9-F5CD-4BC9-9CB9-2A6703D3708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62502" y="4271346"/>
            <a:ext cx="784651" cy="761331"/>
          </a:xfrm>
          <a:prstGeom prst="rect">
            <a:avLst/>
          </a:prstGeom>
        </p:spPr>
      </p:pic>
      <p:sp>
        <p:nvSpPr>
          <p:cNvPr id="162" name="Rectangle 161">
            <a:extLst>
              <a:ext uri="{FF2B5EF4-FFF2-40B4-BE49-F238E27FC236}">
                <a16:creationId xmlns:a16="http://schemas.microsoft.com/office/drawing/2014/main" id="{F9933EDD-2957-452E-BCE6-79ADED42191B}"/>
              </a:ext>
            </a:extLst>
          </p:cNvPr>
          <p:cNvSpPr/>
          <p:nvPr/>
        </p:nvSpPr>
        <p:spPr>
          <a:xfrm>
            <a:off x="10920625" y="5194048"/>
            <a:ext cx="825547" cy="307777"/>
          </a:xfrm>
          <a:prstGeom prst="rect">
            <a:avLst/>
          </a:prstGeom>
        </p:spPr>
        <p:txBody>
          <a:bodyPr wrap="none" lIns="0" tIns="0" rIns="0" bIns="0">
            <a:spAutoFit/>
          </a:bodyPr>
          <a:lstStyle/>
          <a:p>
            <a:pPr algn="ctr" defTabSz="914049">
              <a:defRPr/>
            </a:pPr>
            <a:r>
              <a:rPr lang="en-US" sz="2000" b="1" kern="0" dirty="0">
                <a:solidFill>
                  <a:schemeClr val="tx2"/>
                </a:solidFill>
                <a:cs typeface="Segoe UI Semibold" panose="020B0702040204020203" pitchFamily="34" charset="0"/>
              </a:rPr>
              <a:t>Swarm</a:t>
            </a:r>
          </a:p>
        </p:txBody>
      </p:sp>
      <p:sp>
        <p:nvSpPr>
          <p:cNvPr id="163" name="Rectangle 162">
            <a:extLst>
              <a:ext uri="{FF2B5EF4-FFF2-40B4-BE49-F238E27FC236}">
                <a16:creationId xmlns:a16="http://schemas.microsoft.com/office/drawing/2014/main" id="{7396034D-C8F2-46C2-8F16-AA4F3B452430}"/>
              </a:ext>
            </a:extLst>
          </p:cNvPr>
          <p:cNvSpPr/>
          <p:nvPr/>
        </p:nvSpPr>
        <p:spPr>
          <a:xfrm>
            <a:off x="9549576" y="5194048"/>
            <a:ext cx="801501" cy="307777"/>
          </a:xfrm>
          <a:prstGeom prst="rect">
            <a:avLst/>
          </a:prstGeom>
        </p:spPr>
        <p:txBody>
          <a:bodyPr wrap="none" lIns="0" tIns="0" rIns="0" bIns="0">
            <a:spAutoFit/>
          </a:bodyPr>
          <a:lstStyle/>
          <a:p>
            <a:pPr algn="ctr" defTabSz="914049">
              <a:defRPr/>
            </a:pPr>
            <a:r>
              <a:rPr lang="en-US" sz="2000" b="1" kern="0" dirty="0">
                <a:solidFill>
                  <a:schemeClr val="tx2"/>
                </a:solidFill>
                <a:cs typeface="Segoe UI Semibold" panose="020B0702040204020203" pitchFamily="34" charset="0"/>
              </a:rPr>
              <a:t>DC/OS</a:t>
            </a:r>
          </a:p>
        </p:txBody>
      </p:sp>
      <p:sp>
        <p:nvSpPr>
          <p:cNvPr id="164" name="Rectangle 163">
            <a:extLst>
              <a:ext uri="{FF2B5EF4-FFF2-40B4-BE49-F238E27FC236}">
                <a16:creationId xmlns:a16="http://schemas.microsoft.com/office/drawing/2014/main" id="{ACF80BD3-C98B-46BC-A7F0-3CF6BE6BB857}"/>
              </a:ext>
            </a:extLst>
          </p:cNvPr>
          <p:cNvSpPr/>
          <p:nvPr/>
        </p:nvSpPr>
        <p:spPr>
          <a:xfrm>
            <a:off x="7770345" y="5194048"/>
            <a:ext cx="1368965" cy="307777"/>
          </a:xfrm>
          <a:prstGeom prst="rect">
            <a:avLst/>
          </a:prstGeom>
        </p:spPr>
        <p:txBody>
          <a:bodyPr wrap="none" lIns="0" tIns="0" rIns="0" bIns="0">
            <a:spAutoFit/>
          </a:bodyPr>
          <a:lstStyle/>
          <a:p>
            <a:pPr algn="ctr" defTabSz="914049">
              <a:defRPr/>
            </a:pPr>
            <a:r>
              <a:rPr lang="en-US" sz="2000" b="1" kern="0" dirty="0">
                <a:solidFill>
                  <a:schemeClr val="tx2"/>
                </a:solidFill>
                <a:cs typeface="Segoe UI Semibold" panose="020B0702040204020203" pitchFamily="34" charset="0"/>
              </a:rPr>
              <a:t>Kubernetes</a:t>
            </a:r>
          </a:p>
        </p:txBody>
      </p:sp>
      <p:grpSp>
        <p:nvGrpSpPr>
          <p:cNvPr id="13" name="Group 12">
            <a:extLst>
              <a:ext uri="{FF2B5EF4-FFF2-40B4-BE49-F238E27FC236}">
                <a16:creationId xmlns:a16="http://schemas.microsoft.com/office/drawing/2014/main" id="{3C2EA47F-407D-4149-98E2-8B766A7764D0}"/>
              </a:ext>
            </a:extLst>
          </p:cNvPr>
          <p:cNvGrpSpPr/>
          <p:nvPr/>
        </p:nvGrpSpPr>
        <p:grpSpPr>
          <a:xfrm>
            <a:off x="365138" y="1367444"/>
            <a:ext cx="7002614" cy="4413728"/>
            <a:chOff x="365138" y="1367444"/>
            <a:chExt cx="7002614" cy="4413728"/>
          </a:xfrm>
        </p:grpSpPr>
        <p:sp>
          <p:nvSpPr>
            <p:cNvPr id="78" name="Rectangle 77">
              <a:extLst>
                <a:ext uri="{FF2B5EF4-FFF2-40B4-BE49-F238E27FC236}">
                  <a16:creationId xmlns:a16="http://schemas.microsoft.com/office/drawing/2014/main" id="{EF3B456A-8219-434C-875D-59B2485C74B8}"/>
                </a:ext>
              </a:extLst>
            </p:cNvPr>
            <p:cNvSpPr/>
            <p:nvPr/>
          </p:nvSpPr>
          <p:spPr>
            <a:xfrm>
              <a:off x="868680" y="1367444"/>
              <a:ext cx="6499072" cy="441372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ct val="0"/>
                </a:spcBef>
                <a:spcAft>
                  <a:spcPts val="1800"/>
                </a:spcAft>
              </a:pPr>
              <a:r>
                <a:rPr lang="en-GB" sz="2800" dirty="0">
                  <a:solidFill>
                    <a:schemeClr val="accent1"/>
                  </a:solidFill>
                  <a:latin typeface="+mj-lt"/>
                </a:rPr>
                <a:t>Standard Docker tooling and API support</a:t>
              </a:r>
            </a:p>
            <a:p>
              <a:pPr lvl="0" defTabSz="444500">
                <a:spcBef>
                  <a:spcPct val="0"/>
                </a:spcBef>
                <a:spcAft>
                  <a:spcPts val="1800"/>
                </a:spcAft>
              </a:pPr>
              <a:r>
                <a:rPr lang="en-GB" sz="2800" dirty="0">
                  <a:solidFill>
                    <a:schemeClr val="accent1"/>
                  </a:solidFill>
                  <a:latin typeface="+mj-lt"/>
                </a:rPr>
                <a:t>Streamlined provisioning of </a:t>
              </a:r>
              <a:r>
                <a:rPr lang="en-GB" sz="2800" dirty="0" err="1">
                  <a:solidFill>
                    <a:schemeClr val="accent1"/>
                  </a:solidFill>
                  <a:latin typeface="+mj-lt"/>
                </a:rPr>
                <a:t>DCOS</a:t>
              </a:r>
              <a:r>
                <a:rPr lang="en-GB" sz="2800" dirty="0">
                  <a:solidFill>
                    <a:schemeClr val="accent1"/>
                  </a:solidFill>
                  <a:latin typeface="+mj-lt"/>
                </a:rPr>
                <a:t> and Docker Swarm</a:t>
              </a:r>
            </a:p>
            <a:p>
              <a:pPr lvl="0" defTabSz="444500">
                <a:spcBef>
                  <a:spcPct val="0"/>
                </a:spcBef>
                <a:spcAft>
                  <a:spcPts val="1800"/>
                </a:spcAft>
              </a:pPr>
              <a:r>
                <a:rPr lang="en-GB" sz="2800" dirty="0">
                  <a:solidFill>
                    <a:schemeClr val="accent1"/>
                  </a:solidFill>
                  <a:latin typeface="+mj-lt"/>
                </a:rPr>
                <a:t>Linux and Windows Server containers</a:t>
              </a:r>
            </a:p>
            <a:p>
              <a:pPr lvl="0" defTabSz="444500">
                <a:spcBef>
                  <a:spcPct val="0"/>
                </a:spcBef>
                <a:spcAft>
                  <a:spcPts val="1800"/>
                </a:spcAft>
              </a:pPr>
              <a:r>
                <a:rPr lang="en-GB" sz="2800" dirty="0">
                  <a:solidFill>
                    <a:schemeClr val="accent1"/>
                  </a:solidFill>
                  <a:latin typeface="+mj-lt"/>
                </a:rPr>
                <a:t>Azure and Azure Stack</a:t>
              </a:r>
            </a:p>
          </p:txBody>
        </p:sp>
        <p:sp>
          <p:nvSpPr>
            <p:cNvPr id="173" name="Graphic 8">
              <a:extLst>
                <a:ext uri="{FF2B5EF4-FFF2-40B4-BE49-F238E27FC236}">
                  <a16:creationId xmlns:a16="http://schemas.microsoft.com/office/drawing/2014/main" id="{5D8EB5ED-D5A6-46CB-9F5A-19CCD003AC45}"/>
                </a:ext>
              </a:extLst>
            </p:cNvPr>
            <p:cNvSpPr/>
            <p:nvPr/>
          </p:nvSpPr>
          <p:spPr>
            <a:xfrm rot="10800000">
              <a:off x="365138" y="1470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74" name="Graphic 8">
              <a:extLst>
                <a:ext uri="{FF2B5EF4-FFF2-40B4-BE49-F238E27FC236}">
                  <a16:creationId xmlns:a16="http://schemas.microsoft.com/office/drawing/2014/main" id="{616F23C8-AF6D-4D66-8B4B-F0454CA25F61}"/>
                </a:ext>
              </a:extLst>
            </p:cNvPr>
            <p:cNvSpPr/>
            <p:nvPr/>
          </p:nvSpPr>
          <p:spPr>
            <a:xfrm rot="10800000">
              <a:off x="365138" y="2131075"/>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75" name="Graphic 8">
              <a:extLst>
                <a:ext uri="{FF2B5EF4-FFF2-40B4-BE49-F238E27FC236}">
                  <a16:creationId xmlns:a16="http://schemas.microsoft.com/office/drawing/2014/main" id="{B9D832CB-6F23-4F9D-A1C5-D77BA2D7AD98}"/>
                </a:ext>
              </a:extLst>
            </p:cNvPr>
            <p:cNvSpPr/>
            <p:nvPr/>
          </p:nvSpPr>
          <p:spPr>
            <a:xfrm rot="10800000">
              <a:off x="365138" y="31980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76" name="Graphic 8">
              <a:extLst>
                <a:ext uri="{FF2B5EF4-FFF2-40B4-BE49-F238E27FC236}">
                  <a16:creationId xmlns:a16="http://schemas.microsoft.com/office/drawing/2014/main" id="{43A618AD-C87C-4FEB-B11F-DEE6072C26B2}"/>
                </a:ext>
              </a:extLst>
            </p:cNvPr>
            <p:cNvSpPr/>
            <p:nvPr/>
          </p:nvSpPr>
          <p:spPr>
            <a:xfrm rot="10800000">
              <a:off x="365138" y="3848115"/>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grpSp>
    </p:spTree>
    <p:extLst>
      <p:ext uri="{BB962C8B-B14F-4D97-AF65-F5344CB8AC3E}">
        <p14:creationId xmlns:p14="http://schemas.microsoft.com/office/powerpoint/2010/main" val="321156357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9C369CD-35E9-461A-850A-38ACCEE4F175}"/>
              </a:ext>
            </a:extLst>
          </p:cNvPr>
          <p:cNvSpPr/>
          <p:nvPr/>
        </p:nvSpPr>
        <p:spPr bwMode="auto">
          <a:xfrm>
            <a:off x="7589520" y="1367444"/>
            <a:ext cx="4381763" cy="5236704"/>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Freeform 5">
            <a:extLst>
              <a:ext uri="{FF2B5EF4-FFF2-40B4-BE49-F238E27FC236}">
                <a16:creationId xmlns:a16="http://schemas.microsoft.com/office/drawing/2014/main" id="{6244882A-CBA8-42A3-B343-BAA8AB2D40BC}"/>
              </a:ext>
            </a:extLst>
          </p:cNvPr>
          <p:cNvSpPr>
            <a:spLocks/>
          </p:cNvSpPr>
          <p:nvPr/>
        </p:nvSpPr>
        <p:spPr bwMode="auto">
          <a:xfrm>
            <a:off x="7870371" y="1498986"/>
            <a:ext cx="3796910" cy="2011488"/>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sp>
        <p:nvSpPr>
          <p:cNvPr id="7" name="Title 6">
            <a:extLst>
              <a:ext uri="{FF2B5EF4-FFF2-40B4-BE49-F238E27FC236}">
                <a16:creationId xmlns:a16="http://schemas.microsoft.com/office/drawing/2014/main" id="{31A3D8FF-709C-4A76-9A5D-52202FDB91BF}"/>
              </a:ext>
            </a:extLst>
          </p:cNvPr>
          <p:cNvSpPr>
            <a:spLocks noGrp="1"/>
          </p:cNvSpPr>
          <p:nvPr>
            <p:ph type="title"/>
          </p:nvPr>
        </p:nvSpPr>
        <p:spPr/>
        <p:txBody>
          <a:bodyPr/>
          <a:lstStyle/>
          <a:p>
            <a:r>
              <a:rPr lang="en-IN"/>
              <a:t>Azure Container Instances</a:t>
            </a:r>
            <a:endParaRPr lang="en-IN" dirty="0"/>
          </a:p>
        </p:txBody>
      </p:sp>
      <p:sp>
        <p:nvSpPr>
          <p:cNvPr id="47" name="Arrow: Up 46">
            <a:extLst>
              <a:ext uri="{FF2B5EF4-FFF2-40B4-BE49-F238E27FC236}">
                <a16:creationId xmlns:a16="http://schemas.microsoft.com/office/drawing/2014/main" id="{78263D4E-5EB2-4AE1-8720-8AAC6ABAC4AE}"/>
              </a:ext>
            </a:extLst>
          </p:cNvPr>
          <p:cNvSpPr/>
          <p:nvPr/>
        </p:nvSpPr>
        <p:spPr bwMode="auto">
          <a:xfrm>
            <a:off x="9540240" y="2362200"/>
            <a:ext cx="484632" cy="978408"/>
          </a:xfrm>
          <a:prstGeom prst="up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a:extLst>
              <a:ext uri="{FF2B5EF4-FFF2-40B4-BE49-F238E27FC236}">
                <a16:creationId xmlns:a16="http://schemas.microsoft.com/office/drawing/2014/main" id="{60F90D24-3CA7-4BDF-A15A-9FCD619AD1E7}"/>
              </a:ext>
            </a:extLst>
          </p:cNvPr>
          <p:cNvSpPr/>
          <p:nvPr/>
        </p:nvSpPr>
        <p:spPr bwMode="auto">
          <a:xfrm>
            <a:off x="8807143" y="3337560"/>
            <a:ext cx="2060554" cy="23250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Frame 50">
            <a:extLst>
              <a:ext uri="{FF2B5EF4-FFF2-40B4-BE49-F238E27FC236}">
                <a16:creationId xmlns:a16="http://schemas.microsoft.com/office/drawing/2014/main" id="{CEBA736B-63FD-435E-9BDB-BAB32BF43289}"/>
              </a:ext>
            </a:extLst>
          </p:cNvPr>
          <p:cNvSpPr/>
          <p:nvPr/>
        </p:nvSpPr>
        <p:spPr bwMode="auto">
          <a:xfrm>
            <a:off x="9027861" y="3586615"/>
            <a:ext cx="1619118" cy="1826988"/>
          </a:xfrm>
          <a:prstGeom prst="frame">
            <a:avLst>
              <a:gd name="adj1" fmla="val 6658"/>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a:extLst>
              <a:ext uri="{FF2B5EF4-FFF2-40B4-BE49-F238E27FC236}">
                <a16:creationId xmlns:a16="http://schemas.microsoft.com/office/drawing/2014/main" id="{D50E7F8F-DB5B-402F-BC23-D4AE09362FB4}"/>
              </a:ext>
            </a:extLst>
          </p:cNvPr>
          <p:cNvSpPr/>
          <p:nvPr/>
        </p:nvSpPr>
        <p:spPr bwMode="auto">
          <a:xfrm>
            <a:off x="9480331" y="3599657"/>
            <a:ext cx="115614" cy="18139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a:extLst>
              <a:ext uri="{FF2B5EF4-FFF2-40B4-BE49-F238E27FC236}">
                <a16:creationId xmlns:a16="http://schemas.microsoft.com/office/drawing/2014/main" id="{1FDCBA95-F91F-4AAC-B6F2-AF5E36900D6B}"/>
              </a:ext>
            </a:extLst>
          </p:cNvPr>
          <p:cNvSpPr/>
          <p:nvPr/>
        </p:nvSpPr>
        <p:spPr bwMode="auto">
          <a:xfrm>
            <a:off x="9995337" y="3599657"/>
            <a:ext cx="115614" cy="18139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3" name="Group 62">
            <a:extLst>
              <a:ext uri="{FF2B5EF4-FFF2-40B4-BE49-F238E27FC236}">
                <a16:creationId xmlns:a16="http://schemas.microsoft.com/office/drawing/2014/main" id="{BFFB702E-A76B-43B8-BD3E-86376759767C}"/>
              </a:ext>
            </a:extLst>
          </p:cNvPr>
          <p:cNvGrpSpPr/>
          <p:nvPr/>
        </p:nvGrpSpPr>
        <p:grpSpPr>
          <a:xfrm>
            <a:off x="365138" y="1367444"/>
            <a:ext cx="7002614" cy="4413728"/>
            <a:chOff x="365138" y="1367444"/>
            <a:chExt cx="7002614" cy="4413728"/>
          </a:xfrm>
        </p:grpSpPr>
        <p:sp>
          <p:nvSpPr>
            <p:cNvPr id="12" name="Rectangle 11">
              <a:extLst>
                <a:ext uri="{FF2B5EF4-FFF2-40B4-BE49-F238E27FC236}">
                  <a16:creationId xmlns:a16="http://schemas.microsoft.com/office/drawing/2014/main" id="{D50030EE-19A0-42F6-944A-EE973E9818DA}"/>
                </a:ext>
              </a:extLst>
            </p:cNvPr>
            <p:cNvSpPr/>
            <p:nvPr/>
          </p:nvSpPr>
          <p:spPr>
            <a:xfrm>
              <a:off x="868680" y="1367444"/>
              <a:ext cx="6499072" cy="441372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ct val="0"/>
                </a:spcBef>
                <a:spcAft>
                  <a:spcPts val="1800"/>
                </a:spcAft>
              </a:pPr>
              <a:r>
                <a:rPr lang="en-GB" sz="2800" dirty="0">
                  <a:solidFill>
                    <a:schemeClr val="accent1"/>
                  </a:solidFill>
                  <a:latin typeface="+mj-lt"/>
                </a:rPr>
                <a:t>Simplest and easiest way to run individual containers in the cloud </a:t>
              </a:r>
            </a:p>
            <a:p>
              <a:pPr lvl="0" defTabSz="444500">
                <a:spcBef>
                  <a:spcPct val="0"/>
                </a:spcBef>
                <a:spcAft>
                  <a:spcPts val="1800"/>
                </a:spcAft>
              </a:pPr>
              <a:r>
                <a:rPr lang="en-GB" sz="2800" dirty="0">
                  <a:solidFill>
                    <a:schemeClr val="accent1"/>
                  </a:solidFill>
                  <a:latin typeface="+mj-lt"/>
                </a:rPr>
                <a:t>No </a:t>
              </a:r>
              <a:r>
                <a:rPr lang="en-GB" sz="2800" dirty="0" err="1">
                  <a:solidFill>
                    <a:schemeClr val="accent1"/>
                  </a:solidFill>
                  <a:latin typeface="+mj-lt"/>
                </a:rPr>
                <a:t>VM</a:t>
              </a:r>
              <a:r>
                <a:rPr lang="en-GB" sz="2800" dirty="0">
                  <a:solidFill>
                    <a:schemeClr val="accent1"/>
                  </a:solidFill>
                  <a:latin typeface="+mj-lt"/>
                </a:rPr>
                <a:t> management</a:t>
              </a:r>
            </a:p>
            <a:p>
              <a:pPr lvl="0" defTabSz="444500">
                <a:spcBef>
                  <a:spcPct val="0"/>
                </a:spcBef>
                <a:spcAft>
                  <a:spcPts val="1800"/>
                </a:spcAft>
              </a:pPr>
              <a:r>
                <a:rPr lang="en-GB" sz="2800" dirty="0">
                  <a:solidFill>
                    <a:schemeClr val="accent1"/>
                  </a:solidFill>
                  <a:latin typeface="+mj-lt"/>
                </a:rPr>
                <a:t>Per-second billing with customized resource requests</a:t>
              </a:r>
            </a:p>
            <a:p>
              <a:pPr lvl="0" defTabSz="444500">
                <a:spcBef>
                  <a:spcPct val="0"/>
                </a:spcBef>
                <a:spcAft>
                  <a:spcPts val="1800"/>
                </a:spcAft>
              </a:pPr>
              <a:r>
                <a:rPr lang="en-GB" sz="2800" dirty="0">
                  <a:solidFill>
                    <a:schemeClr val="accent1"/>
                  </a:solidFill>
                  <a:latin typeface="+mj-lt"/>
                </a:rPr>
                <a:t>Linux and Windows Server containers</a:t>
              </a:r>
            </a:p>
          </p:txBody>
        </p:sp>
        <p:sp>
          <p:nvSpPr>
            <p:cNvPr id="64" name="Graphic 8">
              <a:extLst>
                <a:ext uri="{FF2B5EF4-FFF2-40B4-BE49-F238E27FC236}">
                  <a16:creationId xmlns:a16="http://schemas.microsoft.com/office/drawing/2014/main" id="{68D2158C-2465-4A99-BFD4-8F878EB09C53}"/>
                </a:ext>
              </a:extLst>
            </p:cNvPr>
            <p:cNvSpPr/>
            <p:nvPr/>
          </p:nvSpPr>
          <p:spPr>
            <a:xfrm rot="10800000">
              <a:off x="365138" y="1470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65" name="Graphic 8">
              <a:extLst>
                <a:ext uri="{FF2B5EF4-FFF2-40B4-BE49-F238E27FC236}">
                  <a16:creationId xmlns:a16="http://schemas.microsoft.com/office/drawing/2014/main" id="{6A2498F2-5DDC-4FF1-8777-401379EFEC3A}"/>
                </a:ext>
              </a:extLst>
            </p:cNvPr>
            <p:cNvSpPr/>
            <p:nvPr/>
          </p:nvSpPr>
          <p:spPr>
            <a:xfrm rot="10800000">
              <a:off x="365138" y="254776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66" name="Graphic 8">
              <a:extLst>
                <a:ext uri="{FF2B5EF4-FFF2-40B4-BE49-F238E27FC236}">
                  <a16:creationId xmlns:a16="http://schemas.microsoft.com/office/drawing/2014/main" id="{3118E95A-FAE7-4CC9-ABD3-21633BE1A76A}"/>
                </a:ext>
              </a:extLst>
            </p:cNvPr>
            <p:cNvSpPr/>
            <p:nvPr/>
          </p:nvSpPr>
          <p:spPr>
            <a:xfrm rot="10800000">
              <a:off x="365138" y="31980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67" name="Graphic 8">
              <a:extLst>
                <a:ext uri="{FF2B5EF4-FFF2-40B4-BE49-F238E27FC236}">
                  <a16:creationId xmlns:a16="http://schemas.microsoft.com/office/drawing/2014/main" id="{A7761178-DE9D-4FC8-9F95-B83FBF857AF4}"/>
                </a:ext>
              </a:extLst>
            </p:cNvPr>
            <p:cNvSpPr/>
            <p:nvPr/>
          </p:nvSpPr>
          <p:spPr>
            <a:xfrm rot="10800000">
              <a:off x="365138" y="4264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grpSp>
    </p:spTree>
    <p:extLst>
      <p:ext uri="{BB962C8B-B14F-4D97-AF65-F5344CB8AC3E}">
        <p14:creationId xmlns:p14="http://schemas.microsoft.com/office/powerpoint/2010/main" val="323691499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wipe(left)">
                                      <p:cBhvr>
                                        <p:cTn id="7" dur="10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extBox 56">
            <a:extLst>
              <a:ext uri="{FF2B5EF4-FFF2-40B4-BE49-F238E27FC236}">
                <a16:creationId xmlns:a16="http://schemas.microsoft.com/office/drawing/2014/main" id="{25DA868A-0ADE-41B2-AE1D-F6554CB421D2}"/>
              </a:ext>
            </a:extLst>
          </p:cNvPr>
          <p:cNvSpPr txBox="1"/>
          <p:nvPr/>
        </p:nvSpPr>
        <p:spPr>
          <a:xfrm>
            <a:off x="472441" y="1950721"/>
            <a:ext cx="3656521" cy="4328160"/>
          </a:xfrm>
          <a:prstGeom prst="rect">
            <a:avLst/>
          </a:prstGeom>
          <a:noFill/>
          <a:ln w="6350">
            <a:solidFill>
              <a:schemeClr val="bg1">
                <a:lumMod val="75000"/>
              </a:schemeClr>
            </a:solidFill>
          </a:ln>
        </p:spPr>
        <p:txBody>
          <a:bodyPr wrap="square" lIns="91440" tIns="45720" rIns="91440" bIns="45720" rtlCol="0" anchor="ctr">
            <a:noAutofit/>
          </a:bodyPr>
          <a:lstStyle/>
          <a:p>
            <a:pPr algn="ctr" defTabSz="913461">
              <a:lnSpc>
                <a:spcPct val="90000"/>
              </a:lnSpc>
              <a:tabLst>
                <a:tab pos="895467" algn="l"/>
              </a:tabLst>
              <a:defRPr/>
            </a:pPr>
            <a:endParaRPr lang="en-US" sz="2000" kern="0" dirty="0">
              <a:solidFill>
                <a:schemeClr val="tx2"/>
              </a:solidFill>
              <a:latin typeface="Segoe UI Semibold" panose="020B0702040204020203" pitchFamily="34" charset="0"/>
              <a:ea typeface="Segoe UI Semilight" charset="0"/>
              <a:cs typeface="Segoe UI Semibold" panose="020B0702040204020203" pitchFamily="34" charset="0"/>
            </a:endParaRPr>
          </a:p>
        </p:txBody>
      </p:sp>
      <p:sp>
        <p:nvSpPr>
          <p:cNvPr id="58" name="TextBox 57">
            <a:extLst>
              <a:ext uri="{FF2B5EF4-FFF2-40B4-BE49-F238E27FC236}">
                <a16:creationId xmlns:a16="http://schemas.microsoft.com/office/drawing/2014/main" id="{74903CB4-E851-447F-931E-89D753889A26}"/>
              </a:ext>
            </a:extLst>
          </p:cNvPr>
          <p:cNvSpPr txBox="1"/>
          <p:nvPr/>
        </p:nvSpPr>
        <p:spPr>
          <a:xfrm>
            <a:off x="4283519" y="1950721"/>
            <a:ext cx="3656521" cy="4328160"/>
          </a:xfrm>
          <a:prstGeom prst="rect">
            <a:avLst/>
          </a:prstGeom>
          <a:noFill/>
          <a:ln w="6350">
            <a:solidFill>
              <a:schemeClr val="bg1">
                <a:lumMod val="75000"/>
              </a:schemeClr>
            </a:solidFill>
          </a:ln>
        </p:spPr>
        <p:txBody>
          <a:bodyPr wrap="square" lIns="91440" tIns="45720" rIns="91440" bIns="45720" rtlCol="0" anchor="ctr">
            <a:noAutofit/>
          </a:bodyPr>
          <a:lstStyle/>
          <a:p>
            <a:pPr algn="ctr" defTabSz="913461">
              <a:lnSpc>
                <a:spcPct val="90000"/>
              </a:lnSpc>
              <a:tabLst>
                <a:tab pos="895467" algn="l"/>
              </a:tabLst>
              <a:defRPr/>
            </a:pPr>
            <a:endParaRPr lang="en-US" sz="2000" kern="0" dirty="0">
              <a:solidFill>
                <a:schemeClr val="tx2"/>
              </a:solidFill>
              <a:latin typeface="Segoe UI Semibold" panose="020B0702040204020203" pitchFamily="34" charset="0"/>
              <a:cs typeface="Segoe UI Semibold" panose="020B0702040204020203" pitchFamily="34" charset="0"/>
            </a:endParaRPr>
          </a:p>
        </p:txBody>
      </p:sp>
      <p:sp>
        <p:nvSpPr>
          <p:cNvPr id="59" name="TextBox 58">
            <a:extLst>
              <a:ext uri="{FF2B5EF4-FFF2-40B4-BE49-F238E27FC236}">
                <a16:creationId xmlns:a16="http://schemas.microsoft.com/office/drawing/2014/main" id="{26AC8985-9814-4F09-8469-B18EC73BAB6E}"/>
              </a:ext>
            </a:extLst>
          </p:cNvPr>
          <p:cNvSpPr txBox="1"/>
          <p:nvPr/>
        </p:nvSpPr>
        <p:spPr>
          <a:xfrm>
            <a:off x="8094597" y="1950721"/>
            <a:ext cx="3884044" cy="4328160"/>
          </a:xfrm>
          <a:prstGeom prst="rect">
            <a:avLst/>
          </a:prstGeom>
          <a:noFill/>
          <a:ln w="6350">
            <a:solidFill>
              <a:schemeClr val="bg1">
                <a:lumMod val="75000"/>
              </a:schemeClr>
            </a:solidFill>
          </a:ln>
        </p:spPr>
        <p:txBody>
          <a:bodyPr wrap="square" lIns="91440" tIns="45720" rIns="91440" bIns="45720" rtlCol="0" anchor="ctr">
            <a:noAutofit/>
          </a:bodyPr>
          <a:lstStyle/>
          <a:p>
            <a:pPr algn="ctr" defTabSz="913461">
              <a:lnSpc>
                <a:spcPct val="90000"/>
              </a:lnSpc>
              <a:tabLst>
                <a:tab pos="895467" algn="l"/>
              </a:tabLst>
              <a:defRPr/>
            </a:pPr>
            <a:endParaRPr lang="en-US" sz="2000" kern="0" dirty="0">
              <a:solidFill>
                <a:schemeClr val="tx2"/>
              </a:solidFill>
              <a:latin typeface="Segoe UI Semibold" panose="020B0702040204020203" pitchFamily="34" charset="0"/>
              <a:cs typeface="Segoe UI Semibold" panose="020B0702040204020203" pitchFamily="34" charset="0"/>
            </a:endParaRPr>
          </a:p>
        </p:txBody>
      </p:sp>
      <p:sp>
        <p:nvSpPr>
          <p:cNvPr id="3" name="Title 2"/>
          <p:cNvSpPr>
            <a:spLocks noGrp="1"/>
          </p:cNvSpPr>
          <p:nvPr>
            <p:ph type="title"/>
          </p:nvPr>
        </p:nvSpPr>
        <p:spPr/>
        <p:txBody>
          <a:bodyPr/>
          <a:lstStyle/>
          <a:p>
            <a:r>
              <a:rPr lang="en-US"/>
              <a:t>Azure App Service</a:t>
            </a:r>
            <a:endParaRPr lang="en-US" dirty="0"/>
          </a:p>
        </p:txBody>
      </p:sp>
      <p:sp>
        <p:nvSpPr>
          <p:cNvPr id="70" name="TextBox 69"/>
          <p:cNvSpPr txBox="1"/>
          <p:nvPr/>
        </p:nvSpPr>
        <p:spPr>
          <a:xfrm>
            <a:off x="472441" y="1402081"/>
            <a:ext cx="3656521" cy="563879"/>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defTabSz="913461">
              <a:lnSpc>
                <a:spcPct val="90000"/>
              </a:lnSpc>
              <a:tabLst>
                <a:tab pos="895467" algn="l"/>
              </a:tabLst>
              <a:defRPr/>
            </a:pPr>
            <a:r>
              <a:rPr lang="en-US" sz="2000" b="1" kern="0" dirty="0">
                <a:solidFill>
                  <a:schemeClr val="bg1"/>
                </a:solidFill>
                <a:latin typeface="Segoe UI" panose="020B0502040204020203" pitchFamily="34" charset="0"/>
                <a:ea typeface="Segoe UI Semilight" charset="0"/>
                <a:cs typeface="Segoe UI" panose="020B0502040204020203" pitchFamily="34" charset="0"/>
              </a:rPr>
              <a:t>Enterprise-grade apps</a:t>
            </a:r>
          </a:p>
        </p:txBody>
      </p:sp>
      <p:sp>
        <p:nvSpPr>
          <p:cNvPr id="71" name="TextBox 70"/>
          <p:cNvSpPr txBox="1"/>
          <p:nvPr/>
        </p:nvSpPr>
        <p:spPr>
          <a:xfrm>
            <a:off x="4283519" y="1402081"/>
            <a:ext cx="3656521" cy="563879"/>
          </a:xfrm>
          <a:prstGeom prst="rect">
            <a:avLst/>
          </a:prstGeom>
          <a:solidFill>
            <a:schemeClr val="accent2"/>
          </a:solidFill>
          <a:ln w="6350">
            <a:solidFill>
              <a:schemeClr val="accent2"/>
            </a:solidFill>
          </a:ln>
        </p:spPr>
        <p:txBody>
          <a:bodyPr wrap="square" lIns="91440" tIns="45720" rIns="91440" bIns="45720" rtlCol="0" anchor="ctr">
            <a:noAutofit/>
          </a:bodyPr>
          <a:lstStyle/>
          <a:p>
            <a:pPr algn="ctr" defTabSz="913461">
              <a:lnSpc>
                <a:spcPct val="90000"/>
              </a:lnSpc>
              <a:tabLst>
                <a:tab pos="895467" algn="l"/>
              </a:tabLst>
              <a:defRPr/>
            </a:pPr>
            <a:r>
              <a:rPr lang="en-US" sz="2000" b="1" kern="0" dirty="0">
                <a:solidFill>
                  <a:schemeClr val="bg1"/>
                </a:solidFill>
                <a:latin typeface="Segoe UI" panose="020B0502040204020203" pitchFamily="34" charset="0"/>
                <a:cs typeface="Segoe UI" panose="020B0502040204020203" pitchFamily="34" charset="0"/>
              </a:rPr>
              <a:t>Fully managed platform</a:t>
            </a:r>
          </a:p>
        </p:txBody>
      </p:sp>
      <p:sp>
        <p:nvSpPr>
          <p:cNvPr id="72" name="TextBox 71"/>
          <p:cNvSpPr txBox="1"/>
          <p:nvPr/>
        </p:nvSpPr>
        <p:spPr>
          <a:xfrm>
            <a:off x="8094597" y="1402081"/>
            <a:ext cx="3884044" cy="563879"/>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defTabSz="913461">
              <a:lnSpc>
                <a:spcPct val="90000"/>
              </a:lnSpc>
              <a:tabLst>
                <a:tab pos="895467" algn="l"/>
              </a:tabLst>
              <a:defRPr/>
            </a:pPr>
            <a:r>
              <a:rPr lang="en-US" sz="2000" b="1" kern="0" dirty="0">
                <a:solidFill>
                  <a:schemeClr val="bg1"/>
                </a:solidFill>
                <a:latin typeface="Segoe UI" panose="020B0502040204020203" pitchFamily="34" charset="0"/>
                <a:cs typeface="Segoe UI" panose="020B0502040204020203" pitchFamily="34" charset="0"/>
              </a:rPr>
              <a:t>High productivity development</a:t>
            </a:r>
          </a:p>
        </p:txBody>
      </p:sp>
      <p:sp>
        <p:nvSpPr>
          <p:cNvPr id="110" name="TextBox 109"/>
          <p:cNvSpPr txBox="1"/>
          <p:nvPr/>
        </p:nvSpPr>
        <p:spPr>
          <a:xfrm>
            <a:off x="776105" y="5471808"/>
            <a:ext cx="1115690" cy="498598"/>
          </a:xfrm>
          <a:prstGeom prst="rect">
            <a:avLst/>
          </a:prstGeom>
          <a:noFill/>
          <a:ln w="0">
            <a:noFill/>
          </a:ln>
        </p:spPr>
        <p:txBody>
          <a:bodyPr wrap="none" lIns="0" tIns="0" rIns="0" bIns="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913313">
              <a:defRPr/>
            </a:pPr>
            <a:r>
              <a:rPr lang="en-US" sz="1800" dirty="0" err="1">
                <a:solidFill>
                  <a:schemeClr val="tx2"/>
                </a:solidFill>
              </a:rPr>
              <a:t>AAD</a:t>
            </a:r>
            <a:br>
              <a:rPr lang="en-US" sz="1800" dirty="0">
                <a:solidFill>
                  <a:schemeClr val="tx2"/>
                </a:solidFill>
              </a:rPr>
            </a:br>
            <a:r>
              <a:rPr lang="en-US" sz="1800" dirty="0">
                <a:solidFill>
                  <a:schemeClr val="tx2"/>
                </a:solidFill>
              </a:rPr>
              <a:t>integrated </a:t>
            </a:r>
          </a:p>
        </p:txBody>
      </p:sp>
      <p:sp>
        <p:nvSpPr>
          <p:cNvPr id="116" name="TextBox 115"/>
          <p:cNvSpPr txBox="1"/>
          <p:nvPr/>
        </p:nvSpPr>
        <p:spPr>
          <a:xfrm>
            <a:off x="2681377" y="5471808"/>
            <a:ext cx="1077218" cy="498598"/>
          </a:xfrm>
          <a:prstGeom prst="rect">
            <a:avLst/>
          </a:prstGeom>
          <a:noFill/>
        </p:spPr>
        <p:txBody>
          <a:bodyPr wrap="none" lIns="0" tIns="0" rIns="0" bIns="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913313">
              <a:defRPr/>
            </a:pPr>
            <a:r>
              <a:rPr lang="en-US" sz="1800" dirty="0">
                <a:solidFill>
                  <a:schemeClr val="tx2"/>
                </a:solidFill>
              </a:rPr>
              <a:t>Secure +</a:t>
            </a:r>
            <a:br>
              <a:rPr lang="en-US" sz="1800" dirty="0">
                <a:solidFill>
                  <a:schemeClr val="tx2"/>
                </a:solidFill>
              </a:rPr>
            </a:br>
            <a:r>
              <a:rPr lang="en-US" sz="1800" dirty="0">
                <a:solidFill>
                  <a:schemeClr val="tx2"/>
                </a:solidFill>
              </a:rPr>
              <a:t>compliant </a:t>
            </a:r>
          </a:p>
        </p:txBody>
      </p:sp>
      <p:sp>
        <p:nvSpPr>
          <p:cNvPr id="125" name="TextBox 124"/>
          <p:cNvSpPr txBox="1"/>
          <p:nvPr/>
        </p:nvSpPr>
        <p:spPr>
          <a:xfrm>
            <a:off x="4325176" y="5471808"/>
            <a:ext cx="1726435" cy="498598"/>
          </a:xfrm>
          <a:prstGeom prst="rect">
            <a:avLst/>
          </a:prstGeom>
          <a:noFill/>
        </p:spPr>
        <p:txBody>
          <a:bodyPr wrap="none" lIns="0" tIns="0" rIns="0" bIns="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913313">
              <a:defRPr/>
            </a:pPr>
            <a:r>
              <a:rPr lang="en-US" sz="1800" dirty="0">
                <a:solidFill>
                  <a:schemeClr val="tx2"/>
                </a:solidFill>
              </a:rPr>
              <a:t>Reduced</a:t>
            </a:r>
            <a:br>
              <a:rPr lang="en-US" sz="1800" dirty="0">
                <a:solidFill>
                  <a:schemeClr val="tx2"/>
                </a:solidFill>
              </a:rPr>
            </a:br>
            <a:r>
              <a:rPr lang="en-US" sz="1800" dirty="0">
                <a:solidFill>
                  <a:schemeClr val="tx2"/>
                </a:solidFill>
              </a:rPr>
              <a:t>operations costs </a:t>
            </a:r>
          </a:p>
        </p:txBody>
      </p:sp>
      <p:sp>
        <p:nvSpPr>
          <p:cNvPr id="128" name="TextBox 127"/>
          <p:cNvSpPr txBox="1"/>
          <p:nvPr/>
        </p:nvSpPr>
        <p:spPr>
          <a:xfrm>
            <a:off x="6453285" y="5471808"/>
            <a:ext cx="1184620" cy="498598"/>
          </a:xfrm>
          <a:prstGeom prst="rect">
            <a:avLst/>
          </a:prstGeom>
          <a:noFill/>
        </p:spPr>
        <p:txBody>
          <a:bodyPr wrap="none" lIns="0" tIns="0" rIns="0" bIns="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913313">
              <a:defRPr/>
            </a:pPr>
            <a:r>
              <a:rPr lang="en-US" sz="1800" dirty="0">
                <a:solidFill>
                  <a:schemeClr val="tx2"/>
                </a:solidFill>
              </a:rPr>
              <a:t>Backup and</a:t>
            </a:r>
            <a:br>
              <a:rPr lang="en-US" sz="1800" dirty="0">
                <a:solidFill>
                  <a:schemeClr val="tx2"/>
                </a:solidFill>
              </a:rPr>
            </a:br>
            <a:r>
              <a:rPr lang="en-US" sz="1800" dirty="0">
                <a:solidFill>
                  <a:schemeClr val="tx2"/>
                </a:solidFill>
              </a:rPr>
              <a:t>recovery </a:t>
            </a:r>
          </a:p>
        </p:txBody>
      </p:sp>
      <p:sp>
        <p:nvSpPr>
          <p:cNvPr id="140" name="TextBox 139"/>
          <p:cNvSpPr txBox="1"/>
          <p:nvPr/>
        </p:nvSpPr>
        <p:spPr>
          <a:xfrm>
            <a:off x="10554046" y="5471808"/>
            <a:ext cx="1247137" cy="498598"/>
          </a:xfrm>
          <a:prstGeom prst="rect">
            <a:avLst/>
          </a:prstGeom>
          <a:noFill/>
        </p:spPr>
        <p:txBody>
          <a:bodyPr wrap="none" lIns="0" tIns="0" rIns="0" bIns="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913313">
              <a:defRPr/>
            </a:pPr>
            <a:r>
              <a:rPr lang="en-US" sz="1800" dirty="0">
                <a:solidFill>
                  <a:schemeClr val="tx2"/>
                </a:solidFill>
              </a:rPr>
              <a:t>App gallery</a:t>
            </a:r>
            <a:br>
              <a:rPr lang="en-US" sz="1800" dirty="0">
                <a:solidFill>
                  <a:schemeClr val="tx2"/>
                </a:solidFill>
              </a:rPr>
            </a:br>
            <a:r>
              <a:rPr lang="en-US" sz="1800" dirty="0">
                <a:solidFill>
                  <a:schemeClr val="tx2"/>
                </a:solidFill>
              </a:rPr>
              <a:t>marketplace</a:t>
            </a:r>
          </a:p>
        </p:txBody>
      </p:sp>
      <p:sp>
        <p:nvSpPr>
          <p:cNvPr id="107" name="TextBox 106"/>
          <p:cNvSpPr txBox="1"/>
          <p:nvPr/>
        </p:nvSpPr>
        <p:spPr>
          <a:xfrm>
            <a:off x="592331" y="3212389"/>
            <a:ext cx="1662315" cy="498598"/>
          </a:xfrm>
          <a:prstGeom prst="rect">
            <a:avLst/>
          </a:prstGeom>
          <a:noFill/>
          <a:ln w="0">
            <a:noFill/>
          </a:ln>
        </p:spPr>
        <p:txBody>
          <a:bodyPr wrap="none" lIns="0" tIns="0" rIns="0" bIns="0" rtlCol="0">
            <a:spAutoFit/>
          </a:bodyPr>
          <a:lstStyle/>
          <a:p>
            <a:pPr algn="ctr" defTabSz="913313">
              <a:lnSpc>
                <a:spcPct val="90000"/>
              </a:lnSpc>
              <a:defRPr/>
            </a:pPr>
            <a:r>
              <a:rPr lang="en-US" kern="0" dirty="0">
                <a:solidFill>
                  <a:schemeClr val="tx2"/>
                </a:solidFill>
              </a:rPr>
              <a:t>Global data</a:t>
            </a:r>
            <a:br>
              <a:rPr lang="en-US" kern="0" dirty="0">
                <a:solidFill>
                  <a:schemeClr val="tx2"/>
                </a:solidFill>
              </a:rPr>
            </a:br>
            <a:r>
              <a:rPr lang="en-US" kern="0" dirty="0">
                <a:solidFill>
                  <a:schemeClr val="tx2"/>
                </a:solidFill>
              </a:rPr>
              <a:t>center footprint </a:t>
            </a:r>
          </a:p>
        </p:txBody>
      </p:sp>
      <p:sp>
        <p:nvSpPr>
          <p:cNvPr id="113" name="TextBox 112"/>
          <p:cNvSpPr txBox="1"/>
          <p:nvPr/>
        </p:nvSpPr>
        <p:spPr>
          <a:xfrm>
            <a:off x="2574036" y="3212389"/>
            <a:ext cx="1291908" cy="498598"/>
          </a:xfrm>
          <a:prstGeom prst="rect">
            <a:avLst/>
          </a:prstGeom>
          <a:noFill/>
        </p:spPr>
        <p:txBody>
          <a:bodyPr wrap="square" lIns="0" tIns="0" rIns="0" bIns="0" rtlCol="0">
            <a:spAutoFit/>
          </a:bodyPr>
          <a:lstStyle/>
          <a:p>
            <a:pPr algn="ctr" defTabSz="913313">
              <a:lnSpc>
                <a:spcPct val="90000"/>
              </a:lnSpc>
              <a:defRPr/>
            </a:pPr>
            <a:r>
              <a:rPr lang="en-US" kern="0" dirty="0">
                <a:solidFill>
                  <a:schemeClr val="tx2"/>
                </a:solidFill>
              </a:rPr>
              <a:t>Hybrid</a:t>
            </a:r>
            <a:br>
              <a:rPr lang="en-US" kern="0" dirty="0">
                <a:solidFill>
                  <a:schemeClr val="tx2"/>
                </a:solidFill>
              </a:rPr>
            </a:br>
            <a:r>
              <a:rPr lang="en-US" kern="0" dirty="0">
                <a:solidFill>
                  <a:schemeClr val="tx2"/>
                </a:solidFill>
              </a:rPr>
              <a:t>support </a:t>
            </a:r>
          </a:p>
        </p:txBody>
      </p:sp>
      <p:sp>
        <p:nvSpPr>
          <p:cNvPr id="119" name="TextBox 118"/>
          <p:cNvSpPr txBox="1"/>
          <p:nvPr/>
        </p:nvSpPr>
        <p:spPr>
          <a:xfrm>
            <a:off x="4471898" y="3212389"/>
            <a:ext cx="1554913" cy="747897"/>
          </a:xfrm>
          <a:prstGeom prst="rect">
            <a:avLst/>
          </a:prstGeom>
          <a:noFill/>
        </p:spPr>
        <p:txBody>
          <a:bodyPr wrap="none" lIns="0" tIns="0" rIns="0" bIns="0" rtlCol="0">
            <a:spAutoFit/>
          </a:bodyPr>
          <a:lstStyle/>
          <a:p>
            <a:pPr algn="ctr" defTabSz="913313">
              <a:lnSpc>
                <a:spcPct val="90000"/>
              </a:lnSpc>
              <a:defRPr/>
            </a:pPr>
            <a:r>
              <a:rPr lang="en-US" kern="0" dirty="0">
                <a:solidFill>
                  <a:schemeClr val="tx2"/>
                </a:solidFill>
              </a:rPr>
              <a:t>Built-in</a:t>
            </a:r>
            <a:br>
              <a:rPr lang="en-US" kern="0" dirty="0">
                <a:solidFill>
                  <a:schemeClr val="tx2"/>
                </a:solidFill>
              </a:rPr>
            </a:br>
            <a:r>
              <a:rPr lang="en-US" kern="0" dirty="0">
                <a:solidFill>
                  <a:schemeClr val="tx2"/>
                </a:solidFill>
              </a:rPr>
              <a:t>auto scale and</a:t>
            </a:r>
            <a:br>
              <a:rPr lang="en-US" kern="0" dirty="0">
                <a:solidFill>
                  <a:schemeClr val="tx2"/>
                </a:solidFill>
              </a:rPr>
            </a:br>
            <a:r>
              <a:rPr lang="en-US" kern="0" dirty="0">
                <a:solidFill>
                  <a:schemeClr val="tx2"/>
                </a:solidFill>
              </a:rPr>
              <a:t>load balancing </a:t>
            </a:r>
          </a:p>
        </p:txBody>
      </p:sp>
      <p:sp>
        <p:nvSpPr>
          <p:cNvPr id="122" name="TextBox 121"/>
          <p:cNvSpPr txBox="1"/>
          <p:nvPr/>
        </p:nvSpPr>
        <p:spPr>
          <a:xfrm>
            <a:off x="6208100" y="3212389"/>
            <a:ext cx="1625446" cy="747897"/>
          </a:xfrm>
          <a:prstGeom prst="rect">
            <a:avLst/>
          </a:prstGeom>
          <a:noFill/>
        </p:spPr>
        <p:txBody>
          <a:bodyPr wrap="none" lIns="0" tIns="0" rIns="0" bIns="0" rtlCol="0">
            <a:spAutoFit/>
          </a:bodyPr>
          <a:lstStyle/>
          <a:p>
            <a:pPr algn="ctr" defTabSz="913313">
              <a:lnSpc>
                <a:spcPct val="90000"/>
              </a:lnSpc>
              <a:defRPr/>
            </a:pPr>
            <a:r>
              <a:rPr lang="en-US" kern="0" dirty="0">
                <a:solidFill>
                  <a:schemeClr val="tx2"/>
                </a:solidFill>
              </a:rPr>
              <a:t>High</a:t>
            </a:r>
            <a:br>
              <a:rPr lang="en-US" kern="0" dirty="0">
                <a:solidFill>
                  <a:schemeClr val="tx2"/>
                </a:solidFill>
              </a:rPr>
            </a:br>
            <a:r>
              <a:rPr lang="en-US" kern="0" dirty="0">
                <a:solidFill>
                  <a:schemeClr val="tx2"/>
                </a:solidFill>
              </a:rPr>
              <a:t>availability with </a:t>
            </a:r>
            <a:br>
              <a:rPr lang="en-US" kern="0" dirty="0">
                <a:solidFill>
                  <a:schemeClr val="tx2"/>
                </a:solidFill>
              </a:rPr>
            </a:br>
            <a:r>
              <a:rPr lang="en-US" kern="0" dirty="0">
                <a:solidFill>
                  <a:schemeClr val="tx2"/>
                </a:solidFill>
              </a:rPr>
              <a:t>auto-patching </a:t>
            </a:r>
          </a:p>
        </p:txBody>
      </p:sp>
      <p:sp>
        <p:nvSpPr>
          <p:cNvPr id="131" name="TextBox 130"/>
          <p:cNvSpPr txBox="1"/>
          <p:nvPr/>
        </p:nvSpPr>
        <p:spPr>
          <a:xfrm>
            <a:off x="8277513" y="3212389"/>
            <a:ext cx="1899559" cy="498598"/>
          </a:xfrm>
          <a:prstGeom prst="rect">
            <a:avLst/>
          </a:prstGeom>
          <a:noFill/>
        </p:spPr>
        <p:txBody>
          <a:bodyPr wrap="none" lIns="0" tIns="0" rIns="0" bIns="0" rtlCol="0">
            <a:spAutoFit/>
          </a:bodyPr>
          <a:lstStyle/>
          <a:p>
            <a:pPr algn="ctr" defTabSz="913313">
              <a:lnSpc>
                <a:spcPct val="90000"/>
              </a:lnSpc>
              <a:defRPr/>
            </a:pPr>
            <a:r>
              <a:rPr lang="en-US" kern="0" dirty="0">
                <a:solidFill>
                  <a:schemeClr val="tx2"/>
                </a:solidFill>
              </a:rPr>
              <a:t>.NET, Java, PHP,</a:t>
            </a:r>
            <a:br>
              <a:rPr lang="en-US" kern="0" dirty="0">
                <a:solidFill>
                  <a:schemeClr val="tx2"/>
                </a:solidFill>
              </a:rPr>
            </a:br>
            <a:r>
              <a:rPr lang="en-US" kern="0" dirty="0">
                <a:solidFill>
                  <a:schemeClr val="tx2"/>
                </a:solidFill>
              </a:rPr>
              <a:t>Node, and Python </a:t>
            </a:r>
          </a:p>
        </p:txBody>
      </p:sp>
      <p:sp>
        <p:nvSpPr>
          <p:cNvPr id="134" name="TextBox 133"/>
          <p:cNvSpPr txBox="1"/>
          <p:nvPr/>
        </p:nvSpPr>
        <p:spPr>
          <a:xfrm>
            <a:off x="10398424" y="3212389"/>
            <a:ext cx="1223092" cy="498598"/>
          </a:xfrm>
          <a:prstGeom prst="rect">
            <a:avLst/>
          </a:prstGeom>
          <a:noFill/>
        </p:spPr>
        <p:txBody>
          <a:bodyPr wrap="none" lIns="0" tIns="0" rIns="0" bIns="0" rtlCol="0">
            <a:spAutoFit/>
          </a:bodyPr>
          <a:lstStyle/>
          <a:p>
            <a:pPr algn="ctr" defTabSz="913313">
              <a:lnSpc>
                <a:spcPct val="90000"/>
              </a:lnSpc>
              <a:defRPr/>
            </a:pPr>
            <a:r>
              <a:rPr lang="en-US" kern="0" dirty="0">
                <a:solidFill>
                  <a:schemeClr val="tx2"/>
                </a:solidFill>
              </a:rPr>
              <a:t>Staging and</a:t>
            </a:r>
            <a:br>
              <a:rPr lang="en-US" kern="0" dirty="0">
                <a:solidFill>
                  <a:schemeClr val="tx2"/>
                </a:solidFill>
              </a:rPr>
            </a:br>
            <a:r>
              <a:rPr lang="en-US" kern="0" dirty="0">
                <a:solidFill>
                  <a:schemeClr val="tx2"/>
                </a:solidFill>
              </a:rPr>
              <a:t>deployment</a:t>
            </a:r>
          </a:p>
        </p:txBody>
      </p:sp>
      <p:sp>
        <p:nvSpPr>
          <p:cNvPr id="53" name="TextBox 52"/>
          <p:cNvSpPr txBox="1"/>
          <p:nvPr/>
        </p:nvSpPr>
        <p:spPr>
          <a:xfrm>
            <a:off x="8187367" y="5471808"/>
            <a:ext cx="1978662" cy="498598"/>
          </a:xfrm>
          <a:prstGeom prst="rect">
            <a:avLst/>
          </a:prstGeom>
          <a:noFill/>
        </p:spPr>
        <p:txBody>
          <a:bodyPr wrap="square" lIns="0" tIns="0" rIns="0" bIns="0" rtlCol="0" anchor="b">
            <a:spAutoFit/>
          </a:bodyPr>
          <a:lstStyle/>
          <a:p>
            <a:pPr algn="ctr" defTabSz="913313">
              <a:lnSpc>
                <a:spcPct val="90000"/>
              </a:lnSpc>
              <a:defRPr/>
            </a:pPr>
            <a:r>
              <a:rPr lang="en-US" kern="0" dirty="0">
                <a:solidFill>
                  <a:schemeClr val="tx2"/>
                </a:solidFill>
              </a:rPr>
              <a:t>Source code control integration</a:t>
            </a:r>
          </a:p>
        </p:txBody>
      </p:sp>
      <p:sp>
        <p:nvSpPr>
          <p:cNvPr id="60" name="Freeform 10">
            <a:extLst>
              <a:ext uri="{FF2B5EF4-FFF2-40B4-BE49-F238E27FC236}">
                <a16:creationId xmlns:a16="http://schemas.microsoft.com/office/drawing/2014/main" id="{E96675C4-299C-4F78-8244-A35179F8DBCC}"/>
              </a:ext>
            </a:extLst>
          </p:cNvPr>
          <p:cNvSpPr/>
          <p:nvPr/>
        </p:nvSpPr>
        <p:spPr>
          <a:xfrm rot="16200000">
            <a:off x="976030" y="2307038"/>
            <a:ext cx="608930" cy="608930"/>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61" name="Freeform 44">
            <a:extLst>
              <a:ext uri="{FF2B5EF4-FFF2-40B4-BE49-F238E27FC236}">
                <a16:creationId xmlns:a16="http://schemas.microsoft.com/office/drawing/2014/main" id="{B23090BA-7B2F-43B3-AF3B-E1C604164B16}"/>
              </a:ext>
            </a:extLst>
          </p:cNvPr>
          <p:cNvSpPr/>
          <p:nvPr/>
        </p:nvSpPr>
        <p:spPr>
          <a:xfrm>
            <a:off x="2792561" y="2346404"/>
            <a:ext cx="954043" cy="53019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62" name="Frame 16">
            <a:extLst>
              <a:ext uri="{FF2B5EF4-FFF2-40B4-BE49-F238E27FC236}">
                <a16:creationId xmlns:a16="http://schemas.microsoft.com/office/drawing/2014/main" id="{A4E61F95-53EC-421B-A998-054BB682854B}"/>
              </a:ext>
            </a:extLst>
          </p:cNvPr>
          <p:cNvSpPr/>
          <p:nvPr/>
        </p:nvSpPr>
        <p:spPr>
          <a:xfrm>
            <a:off x="4902160" y="2306161"/>
            <a:ext cx="572470" cy="610685"/>
          </a:xfrm>
          <a:custGeom>
            <a:avLst/>
            <a:gdLst/>
            <a:ahLst/>
            <a:cxnLst/>
            <a:rect l="l" t="t" r="r" b="b"/>
            <a:pathLst>
              <a:path w="2425700" h="2587625">
                <a:moveTo>
                  <a:pt x="160339" y="1527973"/>
                </a:moveTo>
                <a:lnTo>
                  <a:pt x="160339" y="2427286"/>
                </a:lnTo>
                <a:lnTo>
                  <a:pt x="1056477" y="2427286"/>
                </a:lnTo>
                <a:lnTo>
                  <a:pt x="1056477" y="1527973"/>
                </a:lnTo>
                <a:close/>
                <a:moveTo>
                  <a:pt x="1851338" y="1"/>
                </a:moveTo>
                <a:lnTo>
                  <a:pt x="1971674" y="1"/>
                </a:lnTo>
                <a:lnTo>
                  <a:pt x="1971674" y="3"/>
                </a:lnTo>
                <a:lnTo>
                  <a:pt x="2425700" y="3"/>
                </a:lnTo>
                <a:lnTo>
                  <a:pt x="2425700" y="143503"/>
                </a:lnTo>
                <a:lnTo>
                  <a:pt x="2424027" y="143503"/>
                </a:lnTo>
                <a:lnTo>
                  <a:pt x="2424027" y="612773"/>
                </a:lnTo>
                <a:cubicBezTo>
                  <a:pt x="2424027" y="652400"/>
                  <a:pt x="2391903" y="684524"/>
                  <a:pt x="2352276" y="684524"/>
                </a:cubicBezTo>
                <a:lnTo>
                  <a:pt x="2352276" y="684523"/>
                </a:lnTo>
                <a:cubicBezTo>
                  <a:pt x="2312649" y="684523"/>
                  <a:pt x="2280525" y="652399"/>
                  <a:pt x="2280525" y="612772"/>
                </a:cubicBezTo>
                <a:lnTo>
                  <a:pt x="2280525" y="291082"/>
                </a:lnTo>
                <a:lnTo>
                  <a:pt x="1489517" y="1162800"/>
                </a:lnTo>
                <a:cubicBezTo>
                  <a:pt x="1462888" y="1192146"/>
                  <a:pt x="1417511" y="1194349"/>
                  <a:pt x="1388165" y="1167720"/>
                </a:cubicBezTo>
                <a:lnTo>
                  <a:pt x="1388166" y="1167720"/>
                </a:lnTo>
                <a:cubicBezTo>
                  <a:pt x="1358820" y="1141091"/>
                  <a:pt x="1356617" y="1095714"/>
                  <a:pt x="1383246" y="1066368"/>
                </a:cubicBezTo>
                <a:lnTo>
                  <a:pt x="2220666" y="143502"/>
                </a:lnTo>
                <a:lnTo>
                  <a:pt x="1851338" y="143502"/>
                </a:lnTo>
                <a:cubicBezTo>
                  <a:pt x="1811711" y="143502"/>
                  <a:pt x="1779587" y="111378"/>
                  <a:pt x="1779587" y="71752"/>
                </a:cubicBezTo>
                <a:cubicBezTo>
                  <a:pt x="1779587" y="32125"/>
                  <a:pt x="1811711" y="1"/>
                  <a:pt x="1851338" y="1"/>
                </a:cubicBezTo>
                <a:close/>
                <a:moveTo>
                  <a:pt x="0" y="0"/>
                </a:moveTo>
                <a:lnTo>
                  <a:pt x="1584325" y="0"/>
                </a:lnTo>
                <a:lnTo>
                  <a:pt x="1584325" y="160339"/>
                </a:lnTo>
                <a:lnTo>
                  <a:pt x="160339" y="160339"/>
                </a:lnTo>
                <a:lnTo>
                  <a:pt x="160339" y="1371600"/>
                </a:lnTo>
                <a:lnTo>
                  <a:pt x="1212850" y="1371600"/>
                </a:lnTo>
                <a:lnTo>
                  <a:pt x="1212850" y="2427286"/>
                </a:lnTo>
                <a:lnTo>
                  <a:pt x="2265361" y="2427286"/>
                </a:lnTo>
                <a:lnTo>
                  <a:pt x="2265361" y="923926"/>
                </a:lnTo>
                <a:lnTo>
                  <a:pt x="2425700" y="923926"/>
                </a:lnTo>
                <a:lnTo>
                  <a:pt x="2425700" y="2587625"/>
                </a:lnTo>
                <a:lnTo>
                  <a:pt x="1212850" y="2587625"/>
                </a:lnTo>
                <a:lnTo>
                  <a:pt x="0" y="2587625"/>
                </a:lnTo>
                <a:lnTo>
                  <a:pt x="0" y="137160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63" name="Donut 146">
            <a:extLst>
              <a:ext uri="{FF2B5EF4-FFF2-40B4-BE49-F238E27FC236}">
                <a16:creationId xmlns:a16="http://schemas.microsoft.com/office/drawing/2014/main" id="{52F289FE-C7D9-4868-BA76-AEDFA149E9E6}"/>
              </a:ext>
            </a:extLst>
          </p:cNvPr>
          <p:cNvSpPr/>
          <p:nvPr/>
        </p:nvSpPr>
        <p:spPr>
          <a:xfrm>
            <a:off x="6767192" y="2291780"/>
            <a:ext cx="639448" cy="639446"/>
          </a:xfrm>
          <a:custGeom>
            <a:avLst/>
            <a:gdLst/>
            <a:ahLst/>
            <a:cxnLst/>
            <a:rect l="l" t="t" r="r" b="b"/>
            <a:pathLst>
              <a:path w="1519234" h="1519232">
                <a:moveTo>
                  <a:pt x="749584" y="1231897"/>
                </a:moveTo>
                <a:lnTo>
                  <a:pt x="752795" y="1231897"/>
                </a:lnTo>
                <a:lnTo>
                  <a:pt x="757611" y="1231897"/>
                </a:lnTo>
                <a:lnTo>
                  <a:pt x="762427" y="1231897"/>
                </a:lnTo>
                <a:lnTo>
                  <a:pt x="764835" y="1231897"/>
                </a:lnTo>
                <a:lnTo>
                  <a:pt x="769651" y="1233476"/>
                </a:lnTo>
                <a:lnTo>
                  <a:pt x="772861" y="1235055"/>
                </a:lnTo>
                <a:lnTo>
                  <a:pt x="776072" y="1236633"/>
                </a:lnTo>
                <a:lnTo>
                  <a:pt x="781691" y="1239791"/>
                </a:lnTo>
                <a:lnTo>
                  <a:pt x="786507" y="1244527"/>
                </a:lnTo>
                <a:lnTo>
                  <a:pt x="789718" y="1246895"/>
                </a:lnTo>
                <a:lnTo>
                  <a:pt x="792928" y="1250053"/>
                </a:lnTo>
                <a:lnTo>
                  <a:pt x="794534" y="1253210"/>
                </a:lnTo>
                <a:lnTo>
                  <a:pt x="795336" y="1254789"/>
                </a:lnTo>
                <a:lnTo>
                  <a:pt x="794534" y="1356617"/>
                </a:lnTo>
                <a:lnTo>
                  <a:pt x="789718" y="1359774"/>
                </a:lnTo>
                <a:lnTo>
                  <a:pt x="786507" y="1362932"/>
                </a:lnTo>
                <a:lnTo>
                  <a:pt x="781691" y="1366089"/>
                </a:lnTo>
                <a:lnTo>
                  <a:pt x="779283" y="1368457"/>
                </a:lnTo>
                <a:lnTo>
                  <a:pt x="774467" y="1370036"/>
                </a:lnTo>
                <a:lnTo>
                  <a:pt x="771256" y="1371615"/>
                </a:lnTo>
                <a:lnTo>
                  <a:pt x="768045" y="1373194"/>
                </a:lnTo>
                <a:lnTo>
                  <a:pt x="764835" y="1374772"/>
                </a:lnTo>
                <a:lnTo>
                  <a:pt x="757611" y="1374772"/>
                </a:lnTo>
                <a:lnTo>
                  <a:pt x="752795" y="1374772"/>
                </a:lnTo>
                <a:lnTo>
                  <a:pt x="747176" y="1373194"/>
                </a:lnTo>
                <a:lnTo>
                  <a:pt x="743965" y="1371615"/>
                </a:lnTo>
                <a:lnTo>
                  <a:pt x="737544" y="1368457"/>
                </a:lnTo>
                <a:lnTo>
                  <a:pt x="734333" y="1366879"/>
                </a:lnTo>
                <a:lnTo>
                  <a:pt x="730320" y="1364510"/>
                </a:lnTo>
                <a:lnTo>
                  <a:pt x="728714" y="1361353"/>
                </a:lnTo>
                <a:lnTo>
                  <a:pt x="725504" y="1356617"/>
                </a:lnTo>
                <a:lnTo>
                  <a:pt x="723898" y="1355038"/>
                </a:lnTo>
                <a:lnTo>
                  <a:pt x="723898" y="1254789"/>
                </a:lnTo>
                <a:lnTo>
                  <a:pt x="727109" y="1251631"/>
                </a:lnTo>
                <a:lnTo>
                  <a:pt x="730320" y="1245316"/>
                </a:lnTo>
                <a:lnTo>
                  <a:pt x="734333" y="1242948"/>
                </a:lnTo>
                <a:lnTo>
                  <a:pt x="739149" y="1236633"/>
                </a:lnTo>
                <a:lnTo>
                  <a:pt x="747176" y="1233476"/>
                </a:lnTo>
                <a:close/>
                <a:moveTo>
                  <a:pt x="995175" y="1155697"/>
                </a:moveTo>
                <a:lnTo>
                  <a:pt x="999904" y="1155697"/>
                </a:lnTo>
                <a:lnTo>
                  <a:pt x="1003057" y="1155697"/>
                </a:lnTo>
                <a:lnTo>
                  <a:pt x="1007787" y="1155697"/>
                </a:lnTo>
                <a:lnTo>
                  <a:pt x="1010152" y="1155697"/>
                </a:lnTo>
                <a:lnTo>
                  <a:pt x="1016458" y="1155697"/>
                </a:lnTo>
                <a:lnTo>
                  <a:pt x="1021188" y="1155697"/>
                </a:lnTo>
                <a:lnTo>
                  <a:pt x="1026706" y="1158872"/>
                </a:lnTo>
                <a:lnTo>
                  <a:pt x="1082673" y="1247772"/>
                </a:lnTo>
                <a:lnTo>
                  <a:pt x="1081097" y="1247772"/>
                </a:lnTo>
                <a:lnTo>
                  <a:pt x="1081097" y="1250947"/>
                </a:lnTo>
                <a:lnTo>
                  <a:pt x="1081097" y="1254122"/>
                </a:lnTo>
                <a:lnTo>
                  <a:pt x="1079520" y="1259678"/>
                </a:lnTo>
                <a:lnTo>
                  <a:pt x="1076367" y="1266028"/>
                </a:lnTo>
                <a:lnTo>
                  <a:pt x="1074790" y="1272378"/>
                </a:lnTo>
                <a:lnTo>
                  <a:pt x="1070849" y="1276347"/>
                </a:lnTo>
                <a:lnTo>
                  <a:pt x="1064543" y="1284285"/>
                </a:lnTo>
                <a:lnTo>
                  <a:pt x="1061390" y="1284285"/>
                </a:lnTo>
                <a:lnTo>
                  <a:pt x="1056660" y="1287460"/>
                </a:lnTo>
                <a:lnTo>
                  <a:pt x="1054295" y="1287460"/>
                </a:lnTo>
                <a:lnTo>
                  <a:pt x="1051142" y="1289047"/>
                </a:lnTo>
                <a:lnTo>
                  <a:pt x="1046413" y="1289047"/>
                </a:lnTo>
                <a:lnTo>
                  <a:pt x="1043259" y="1289047"/>
                </a:lnTo>
                <a:lnTo>
                  <a:pt x="1039318" y="1287460"/>
                </a:lnTo>
                <a:lnTo>
                  <a:pt x="1036165" y="1287460"/>
                </a:lnTo>
                <a:lnTo>
                  <a:pt x="1029859" y="1284285"/>
                </a:lnTo>
                <a:lnTo>
                  <a:pt x="1025129" y="1282697"/>
                </a:lnTo>
                <a:lnTo>
                  <a:pt x="1022764" y="1281110"/>
                </a:lnTo>
                <a:lnTo>
                  <a:pt x="1021188" y="1281110"/>
                </a:lnTo>
                <a:lnTo>
                  <a:pt x="969950" y="1196972"/>
                </a:lnTo>
                <a:lnTo>
                  <a:pt x="968373" y="1195385"/>
                </a:lnTo>
                <a:lnTo>
                  <a:pt x="968373" y="1193797"/>
                </a:lnTo>
                <a:lnTo>
                  <a:pt x="968373" y="1190622"/>
                </a:lnTo>
                <a:lnTo>
                  <a:pt x="969950" y="1187447"/>
                </a:lnTo>
                <a:lnTo>
                  <a:pt x="969950" y="1182685"/>
                </a:lnTo>
                <a:lnTo>
                  <a:pt x="971526" y="1180303"/>
                </a:lnTo>
                <a:lnTo>
                  <a:pt x="973103" y="1175541"/>
                </a:lnTo>
                <a:lnTo>
                  <a:pt x="976256" y="1172366"/>
                </a:lnTo>
                <a:lnTo>
                  <a:pt x="978621" y="1167603"/>
                </a:lnTo>
                <a:lnTo>
                  <a:pt x="981774" y="1163635"/>
                </a:lnTo>
                <a:lnTo>
                  <a:pt x="986504" y="1160460"/>
                </a:lnTo>
                <a:lnTo>
                  <a:pt x="992810" y="1157285"/>
                </a:lnTo>
                <a:close/>
                <a:moveTo>
                  <a:pt x="517118" y="1155697"/>
                </a:moveTo>
                <a:lnTo>
                  <a:pt x="523423" y="1155697"/>
                </a:lnTo>
                <a:lnTo>
                  <a:pt x="526575" y="1155697"/>
                </a:lnTo>
                <a:lnTo>
                  <a:pt x="532092" y="1155697"/>
                </a:lnTo>
                <a:lnTo>
                  <a:pt x="535245" y="1155697"/>
                </a:lnTo>
                <a:lnTo>
                  <a:pt x="539973" y="1155697"/>
                </a:lnTo>
                <a:lnTo>
                  <a:pt x="543126" y="1155697"/>
                </a:lnTo>
                <a:lnTo>
                  <a:pt x="546278" y="1157285"/>
                </a:lnTo>
                <a:lnTo>
                  <a:pt x="551795" y="1160460"/>
                </a:lnTo>
                <a:lnTo>
                  <a:pt x="556524" y="1163635"/>
                </a:lnTo>
                <a:lnTo>
                  <a:pt x="561253" y="1167603"/>
                </a:lnTo>
                <a:lnTo>
                  <a:pt x="563617" y="1172366"/>
                </a:lnTo>
                <a:lnTo>
                  <a:pt x="565193" y="1175541"/>
                </a:lnTo>
                <a:lnTo>
                  <a:pt x="568346" y="1180303"/>
                </a:lnTo>
                <a:lnTo>
                  <a:pt x="568346" y="1182685"/>
                </a:lnTo>
                <a:lnTo>
                  <a:pt x="569922" y="1187447"/>
                </a:lnTo>
                <a:lnTo>
                  <a:pt x="569922" y="1190622"/>
                </a:lnTo>
                <a:lnTo>
                  <a:pt x="569922" y="1193797"/>
                </a:lnTo>
                <a:lnTo>
                  <a:pt x="569922" y="1195385"/>
                </a:lnTo>
                <a:lnTo>
                  <a:pt x="571498" y="1196972"/>
                </a:lnTo>
                <a:lnTo>
                  <a:pt x="518694" y="1281110"/>
                </a:lnTo>
                <a:lnTo>
                  <a:pt x="517118" y="1281110"/>
                </a:lnTo>
                <a:lnTo>
                  <a:pt x="514754" y="1282697"/>
                </a:lnTo>
                <a:lnTo>
                  <a:pt x="510025" y="1284285"/>
                </a:lnTo>
                <a:lnTo>
                  <a:pt x="503720" y="1287460"/>
                </a:lnTo>
                <a:lnTo>
                  <a:pt x="501356" y="1287460"/>
                </a:lnTo>
                <a:lnTo>
                  <a:pt x="496627" y="1289047"/>
                </a:lnTo>
                <a:lnTo>
                  <a:pt x="493474" y="1289047"/>
                </a:lnTo>
                <a:lnTo>
                  <a:pt x="490322" y="1289047"/>
                </a:lnTo>
                <a:lnTo>
                  <a:pt x="486381" y="1287460"/>
                </a:lnTo>
                <a:lnTo>
                  <a:pt x="483229" y="1287460"/>
                </a:lnTo>
                <a:lnTo>
                  <a:pt x="480076" y="1284285"/>
                </a:lnTo>
                <a:lnTo>
                  <a:pt x="476924" y="1284285"/>
                </a:lnTo>
                <a:lnTo>
                  <a:pt x="470619" y="1276347"/>
                </a:lnTo>
                <a:lnTo>
                  <a:pt x="466678" y="1272378"/>
                </a:lnTo>
                <a:lnTo>
                  <a:pt x="463526" y="1266028"/>
                </a:lnTo>
                <a:lnTo>
                  <a:pt x="461949" y="1259678"/>
                </a:lnTo>
                <a:lnTo>
                  <a:pt x="460373" y="1254122"/>
                </a:lnTo>
                <a:lnTo>
                  <a:pt x="460373" y="1250947"/>
                </a:lnTo>
                <a:lnTo>
                  <a:pt x="460373" y="1247772"/>
                </a:lnTo>
                <a:lnTo>
                  <a:pt x="513177" y="1158872"/>
                </a:lnTo>
                <a:close/>
                <a:moveTo>
                  <a:pt x="1192210" y="971547"/>
                </a:moveTo>
                <a:lnTo>
                  <a:pt x="1197767" y="971547"/>
                </a:lnTo>
                <a:lnTo>
                  <a:pt x="1281111" y="1031456"/>
                </a:lnTo>
                <a:lnTo>
                  <a:pt x="1282698" y="1036186"/>
                </a:lnTo>
                <a:lnTo>
                  <a:pt x="1284286" y="1039339"/>
                </a:lnTo>
                <a:lnTo>
                  <a:pt x="1285873" y="1044857"/>
                </a:lnTo>
                <a:lnTo>
                  <a:pt x="1285873" y="1046433"/>
                </a:lnTo>
                <a:lnTo>
                  <a:pt x="1285873" y="1051163"/>
                </a:lnTo>
                <a:lnTo>
                  <a:pt x="1285873" y="1054316"/>
                </a:lnTo>
                <a:lnTo>
                  <a:pt x="1285873" y="1057469"/>
                </a:lnTo>
                <a:lnTo>
                  <a:pt x="1284286" y="1061411"/>
                </a:lnTo>
                <a:lnTo>
                  <a:pt x="1282698" y="1064564"/>
                </a:lnTo>
                <a:lnTo>
                  <a:pt x="1281111" y="1067717"/>
                </a:lnTo>
                <a:lnTo>
                  <a:pt x="1281111" y="1072447"/>
                </a:lnTo>
                <a:lnTo>
                  <a:pt x="1277936" y="1074811"/>
                </a:lnTo>
                <a:lnTo>
                  <a:pt x="1274761" y="1077964"/>
                </a:lnTo>
                <a:lnTo>
                  <a:pt x="1271586" y="1079541"/>
                </a:lnTo>
                <a:lnTo>
                  <a:pt x="1269204" y="1081118"/>
                </a:lnTo>
                <a:lnTo>
                  <a:pt x="1266029" y="1082694"/>
                </a:lnTo>
                <a:lnTo>
                  <a:pt x="1262854" y="1084271"/>
                </a:lnTo>
                <a:lnTo>
                  <a:pt x="1258092" y="1084271"/>
                </a:lnTo>
                <a:lnTo>
                  <a:pt x="1255711" y="1085847"/>
                </a:lnTo>
                <a:lnTo>
                  <a:pt x="1252536" y="1085847"/>
                </a:lnTo>
                <a:lnTo>
                  <a:pt x="1247773" y="1085847"/>
                </a:lnTo>
                <a:lnTo>
                  <a:pt x="1244598" y="1085847"/>
                </a:lnTo>
                <a:lnTo>
                  <a:pt x="1243011" y="1085847"/>
                </a:lnTo>
                <a:lnTo>
                  <a:pt x="1240629" y="1085847"/>
                </a:lnTo>
                <a:lnTo>
                  <a:pt x="1239042" y="1085847"/>
                </a:lnTo>
                <a:lnTo>
                  <a:pt x="1158873" y="1029091"/>
                </a:lnTo>
                <a:lnTo>
                  <a:pt x="1157285" y="1027515"/>
                </a:lnTo>
                <a:lnTo>
                  <a:pt x="1157285" y="1025938"/>
                </a:lnTo>
                <a:lnTo>
                  <a:pt x="1155698" y="1022785"/>
                </a:lnTo>
                <a:lnTo>
                  <a:pt x="1155698" y="1019632"/>
                </a:lnTo>
                <a:lnTo>
                  <a:pt x="1154110" y="1016479"/>
                </a:lnTo>
                <a:lnTo>
                  <a:pt x="1154110" y="1012538"/>
                </a:lnTo>
                <a:lnTo>
                  <a:pt x="1154110" y="1007808"/>
                </a:lnTo>
                <a:lnTo>
                  <a:pt x="1155698" y="1003078"/>
                </a:lnTo>
                <a:lnTo>
                  <a:pt x="1155698" y="997560"/>
                </a:lnTo>
                <a:lnTo>
                  <a:pt x="1158873" y="992831"/>
                </a:lnTo>
                <a:lnTo>
                  <a:pt x="1162048" y="988101"/>
                </a:lnTo>
                <a:lnTo>
                  <a:pt x="1166017" y="984160"/>
                </a:lnTo>
                <a:lnTo>
                  <a:pt x="1167604" y="982583"/>
                </a:lnTo>
                <a:lnTo>
                  <a:pt x="1172367" y="981007"/>
                </a:lnTo>
                <a:lnTo>
                  <a:pt x="1175542" y="977853"/>
                </a:lnTo>
                <a:lnTo>
                  <a:pt x="1178717" y="976277"/>
                </a:lnTo>
                <a:lnTo>
                  <a:pt x="1182685" y="974700"/>
                </a:lnTo>
                <a:lnTo>
                  <a:pt x="1187448" y="973124"/>
                </a:lnTo>
                <a:close/>
                <a:moveTo>
                  <a:pt x="342104" y="971547"/>
                </a:moveTo>
                <a:lnTo>
                  <a:pt x="346866" y="971547"/>
                </a:lnTo>
                <a:lnTo>
                  <a:pt x="350835" y="973124"/>
                </a:lnTo>
                <a:lnTo>
                  <a:pt x="355598" y="974700"/>
                </a:lnTo>
                <a:lnTo>
                  <a:pt x="360360" y="976277"/>
                </a:lnTo>
                <a:lnTo>
                  <a:pt x="364329" y="977853"/>
                </a:lnTo>
                <a:lnTo>
                  <a:pt x="367504" y="981007"/>
                </a:lnTo>
                <a:lnTo>
                  <a:pt x="370679" y="982583"/>
                </a:lnTo>
                <a:lnTo>
                  <a:pt x="373854" y="984160"/>
                </a:lnTo>
                <a:lnTo>
                  <a:pt x="377029" y="988101"/>
                </a:lnTo>
                <a:lnTo>
                  <a:pt x="380998" y="992831"/>
                </a:lnTo>
                <a:lnTo>
                  <a:pt x="382585" y="997560"/>
                </a:lnTo>
                <a:lnTo>
                  <a:pt x="384173" y="1003078"/>
                </a:lnTo>
                <a:lnTo>
                  <a:pt x="384173" y="1007808"/>
                </a:lnTo>
                <a:lnTo>
                  <a:pt x="385760" y="1012538"/>
                </a:lnTo>
                <a:lnTo>
                  <a:pt x="384173" y="1016479"/>
                </a:lnTo>
                <a:lnTo>
                  <a:pt x="384173" y="1019632"/>
                </a:lnTo>
                <a:lnTo>
                  <a:pt x="382585" y="1022785"/>
                </a:lnTo>
                <a:lnTo>
                  <a:pt x="382585" y="1025938"/>
                </a:lnTo>
                <a:lnTo>
                  <a:pt x="382585" y="1027515"/>
                </a:lnTo>
                <a:lnTo>
                  <a:pt x="382585" y="1029091"/>
                </a:lnTo>
                <a:lnTo>
                  <a:pt x="302416" y="1085847"/>
                </a:lnTo>
                <a:lnTo>
                  <a:pt x="300035" y="1085847"/>
                </a:lnTo>
                <a:lnTo>
                  <a:pt x="296860" y="1085847"/>
                </a:lnTo>
                <a:lnTo>
                  <a:pt x="290510" y="1085847"/>
                </a:lnTo>
                <a:lnTo>
                  <a:pt x="285748" y="1085847"/>
                </a:lnTo>
                <a:lnTo>
                  <a:pt x="281779" y="1084271"/>
                </a:lnTo>
                <a:lnTo>
                  <a:pt x="278604" y="1084271"/>
                </a:lnTo>
                <a:lnTo>
                  <a:pt x="275429" y="1082694"/>
                </a:lnTo>
                <a:lnTo>
                  <a:pt x="272254" y="1081118"/>
                </a:lnTo>
                <a:lnTo>
                  <a:pt x="268285" y="1079541"/>
                </a:lnTo>
                <a:lnTo>
                  <a:pt x="266698" y="1077964"/>
                </a:lnTo>
                <a:lnTo>
                  <a:pt x="263523" y="1074811"/>
                </a:lnTo>
                <a:lnTo>
                  <a:pt x="261935" y="1072447"/>
                </a:lnTo>
                <a:lnTo>
                  <a:pt x="258760" y="1067717"/>
                </a:lnTo>
                <a:lnTo>
                  <a:pt x="257173" y="1064564"/>
                </a:lnTo>
                <a:lnTo>
                  <a:pt x="257173" y="1061411"/>
                </a:lnTo>
                <a:lnTo>
                  <a:pt x="255585" y="1057469"/>
                </a:lnTo>
                <a:lnTo>
                  <a:pt x="255585" y="1054316"/>
                </a:lnTo>
                <a:lnTo>
                  <a:pt x="255585" y="1051163"/>
                </a:lnTo>
                <a:lnTo>
                  <a:pt x="255585" y="1046433"/>
                </a:lnTo>
                <a:lnTo>
                  <a:pt x="255585" y="1044857"/>
                </a:lnTo>
                <a:lnTo>
                  <a:pt x="255585" y="1039339"/>
                </a:lnTo>
                <a:lnTo>
                  <a:pt x="257173" y="1036186"/>
                </a:lnTo>
                <a:lnTo>
                  <a:pt x="257173" y="1031456"/>
                </a:lnTo>
                <a:lnTo>
                  <a:pt x="258760" y="1031456"/>
                </a:lnTo>
                <a:close/>
                <a:moveTo>
                  <a:pt x="205445" y="739772"/>
                </a:moveTo>
                <a:lnTo>
                  <a:pt x="304122" y="739772"/>
                </a:lnTo>
                <a:lnTo>
                  <a:pt x="305701" y="739772"/>
                </a:lnTo>
                <a:lnTo>
                  <a:pt x="310437" y="744429"/>
                </a:lnTo>
                <a:lnTo>
                  <a:pt x="313595" y="745981"/>
                </a:lnTo>
                <a:lnTo>
                  <a:pt x="315963" y="749086"/>
                </a:lnTo>
                <a:lnTo>
                  <a:pt x="317542" y="752190"/>
                </a:lnTo>
                <a:lnTo>
                  <a:pt x="322279" y="757623"/>
                </a:lnTo>
                <a:lnTo>
                  <a:pt x="322279" y="762279"/>
                </a:lnTo>
                <a:lnTo>
                  <a:pt x="325436" y="766936"/>
                </a:lnTo>
                <a:lnTo>
                  <a:pt x="323857" y="772369"/>
                </a:lnTo>
                <a:lnTo>
                  <a:pt x="323857" y="778578"/>
                </a:lnTo>
                <a:lnTo>
                  <a:pt x="322279" y="781682"/>
                </a:lnTo>
                <a:lnTo>
                  <a:pt x="322279" y="784787"/>
                </a:lnTo>
                <a:lnTo>
                  <a:pt x="320700" y="787115"/>
                </a:lnTo>
                <a:lnTo>
                  <a:pt x="317542" y="791772"/>
                </a:lnTo>
                <a:lnTo>
                  <a:pt x="315963" y="794876"/>
                </a:lnTo>
                <a:lnTo>
                  <a:pt x="313595" y="799533"/>
                </a:lnTo>
                <a:lnTo>
                  <a:pt x="310437" y="803413"/>
                </a:lnTo>
                <a:lnTo>
                  <a:pt x="307280" y="806518"/>
                </a:lnTo>
                <a:lnTo>
                  <a:pt x="205445" y="809622"/>
                </a:lnTo>
                <a:lnTo>
                  <a:pt x="203866" y="808070"/>
                </a:lnTo>
                <a:lnTo>
                  <a:pt x="200709" y="806518"/>
                </a:lnTo>
                <a:lnTo>
                  <a:pt x="197551" y="803413"/>
                </a:lnTo>
                <a:lnTo>
                  <a:pt x="193604" y="800309"/>
                </a:lnTo>
                <a:lnTo>
                  <a:pt x="190446" y="794876"/>
                </a:lnTo>
                <a:lnTo>
                  <a:pt x="185710" y="788667"/>
                </a:lnTo>
                <a:lnTo>
                  <a:pt x="184131" y="785563"/>
                </a:lnTo>
                <a:lnTo>
                  <a:pt x="182552" y="783234"/>
                </a:lnTo>
                <a:lnTo>
                  <a:pt x="180973" y="778578"/>
                </a:lnTo>
                <a:lnTo>
                  <a:pt x="180973" y="775473"/>
                </a:lnTo>
                <a:lnTo>
                  <a:pt x="180973" y="770817"/>
                </a:lnTo>
                <a:lnTo>
                  <a:pt x="180973" y="766936"/>
                </a:lnTo>
                <a:lnTo>
                  <a:pt x="182552" y="763832"/>
                </a:lnTo>
                <a:lnTo>
                  <a:pt x="184131" y="760727"/>
                </a:lnTo>
                <a:lnTo>
                  <a:pt x="187289" y="755294"/>
                </a:lnTo>
                <a:lnTo>
                  <a:pt x="193604" y="749086"/>
                </a:lnTo>
                <a:lnTo>
                  <a:pt x="195972" y="744429"/>
                </a:lnTo>
                <a:lnTo>
                  <a:pt x="202287" y="741324"/>
                </a:lnTo>
                <a:close/>
                <a:moveTo>
                  <a:pt x="1237454" y="441322"/>
                </a:moveTo>
                <a:lnTo>
                  <a:pt x="1239042" y="441322"/>
                </a:lnTo>
                <a:lnTo>
                  <a:pt x="1241423" y="441322"/>
                </a:lnTo>
                <a:lnTo>
                  <a:pt x="1243011" y="441322"/>
                </a:lnTo>
                <a:lnTo>
                  <a:pt x="1246186" y="441322"/>
                </a:lnTo>
                <a:lnTo>
                  <a:pt x="1249361" y="441322"/>
                </a:lnTo>
                <a:lnTo>
                  <a:pt x="1254123" y="441322"/>
                </a:lnTo>
                <a:lnTo>
                  <a:pt x="1256504" y="441322"/>
                </a:lnTo>
                <a:lnTo>
                  <a:pt x="1259679" y="442910"/>
                </a:lnTo>
                <a:lnTo>
                  <a:pt x="1262854" y="442910"/>
                </a:lnTo>
                <a:lnTo>
                  <a:pt x="1267617" y="446085"/>
                </a:lnTo>
                <a:lnTo>
                  <a:pt x="1270792" y="447672"/>
                </a:lnTo>
                <a:lnTo>
                  <a:pt x="1273173" y="449260"/>
                </a:lnTo>
                <a:lnTo>
                  <a:pt x="1274761" y="453229"/>
                </a:lnTo>
                <a:lnTo>
                  <a:pt x="1277936" y="456404"/>
                </a:lnTo>
                <a:lnTo>
                  <a:pt x="1281111" y="462754"/>
                </a:lnTo>
                <a:lnTo>
                  <a:pt x="1284286" y="468310"/>
                </a:lnTo>
                <a:lnTo>
                  <a:pt x="1284286" y="473072"/>
                </a:lnTo>
                <a:lnTo>
                  <a:pt x="1284286" y="476247"/>
                </a:lnTo>
                <a:lnTo>
                  <a:pt x="1284286" y="479422"/>
                </a:lnTo>
                <a:lnTo>
                  <a:pt x="1285873" y="481804"/>
                </a:lnTo>
                <a:lnTo>
                  <a:pt x="1284286" y="488154"/>
                </a:lnTo>
                <a:lnTo>
                  <a:pt x="1282698" y="491329"/>
                </a:lnTo>
                <a:lnTo>
                  <a:pt x="1281111" y="495297"/>
                </a:lnTo>
                <a:lnTo>
                  <a:pt x="1197767" y="557210"/>
                </a:lnTo>
                <a:lnTo>
                  <a:pt x="1192210" y="556416"/>
                </a:lnTo>
                <a:lnTo>
                  <a:pt x="1187448" y="554829"/>
                </a:lnTo>
                <a:lnTo>
                  <a:pt x="1182685" y="553241"/>
                </a:lnTo>
                <a:lnTo>
                  <a:pt x="1178717" y="553241"/>
                </a:lnTo>
                <a:lnTo>
                  <a:pt x="1175542" y="550066"/>
                </a:lnTo>
                <a:lnTo>
                  <a:pt x="1172367" y="548479"/>
                </a:lnTo>
                <a:lnTo>
                  <a:pt x="1167604" y="546891"/>
                </a:lnTo>
                <a:lnTo>
                  <a:pt x="1166017" y="545304"/>
                </a:lnTo>
                <a:lnTo>
                  <a:pt x="1162048" y="541335"/>
                </a:lnTo>
                <a:lnTo>
                  <a:pt x="1158873" y="536573"/>
                </a:lnTo>
                <a:lnTo>
                  <a:pt x="1155698" y="531810"/>
                </a:lnTo>
                <a:lnTo>
                  <a:pt x="1155698" y="527048"/>
                </a:lnTo>
                <a:lnTo>
                  <a:pt x="1154110" y="521491"/>
                </a:lnTo>
                <a:lnTo>
                  <a:pt x="1154110" y="518316"/>
                </a:lnTo>
                <a:lnTo>
                  <a:pt x="1155698" y="513554"/>
                </a:lnTo>
                <a:lnTo>
                  <a:pt x="1155698" y="510379"/>
                </a:lnTo>
                <a:lnTo>
                  <a:pt x="1155698" y="506410"/>
                </a:lnTo>
                <a:lnTo>
                  <a:pt x="1157285" y="504823"/>
                </a:lnTo>
                <a:lnTo>
                  <a:pt x="1157285" y="503235"/>
                </a:lnTo>
                <a:lnTo>
                  <a:pt x="1158873" y="503235"/>
                </a:lnTo>
                <a:close/>
                <a:moveTo>
                  <a:pt x="274801" y="441322"/>
                </a:moveTo>
                <a:lnTo>
                  <a:pt x="279593" y="441322"/>
                </a:lnTo>
                <a:lnTo>
                  <a:pt x="285183" y="441322"/>
                </a:lnTo>
                <a:lnTo>
                  <a:pt x="289975" y="441322"/>
                </a:lnTo>
                <a:lnTo>
                  <a:pt x="294767" y="441322"/>
                </a:lnTo>
                <a:lnTo>
                  <a:pt x="296364" y="441322"/>
                </a:lnTo>
                <a:lnTo>
                  <a:pt x="377025" y="503235"/>
                </a:lnTo>
                <a:lnTo>
                  <a:pt x="377025" y="504823"/>
                </a:lnTo>
                <a:lnTo>
                  <a:pt x="377025" y="506410"/>
                </a:lnTo>
                <a:lnTo>
                  <a:pt x="377823" y="510379"/>
                </a:lnTo>
                <a:lnTo>
                  <a:pt x="377823" y="513554"/>
                </a:lnTo>
                <a:lnTo>
                  <a:pt x="377823" y="518316"/>
                </a:lnTo>
                <a:lnTo>
                  <a:pt x="377823" y="521491"/>
                </a:lnTo>
                <a:lnTo>
                  <a:pt x="377823" y="527048"/>
                </a:lnTo>
                <a:lnTo>
                  <a:pt x="377025" y="531810"/>
                </a:lnTo>
                <a:lnTo>
                  <a:pt x="373830" y="536573"/>
                </a:lnTo>
                <a:lnTo>
                  <a:pt x="370636" y="541335"/>
                </a:lnTo>
                <a:lnTo>
                  <a:pt x="367441" y="545304"/>
                </a:lnTo>
                <a:lnTo>
                  <a:pt x="364247" y="546891"/>
                </a:lnTo>
                <a:lnTo>
                  <a:pt x="360254" y="548479"/>
                </a:lnTo>
                <a:lnTo>
                  <a:pt x="357059" y="550066"/>
                </a:lnTo>
                <a:lnTo>
                  <a:pt x="353865" y="553241"/>
                </a:lnTo>
                <a:lnTo>
                  <a:pt x="349073" y="553241"/>
                </a:lnTo>
                <a:lnTo>
                  <a:pt x="345080" y="554829"/>
                </a:lnTo>
                <a:lnTo>
                  <a:pt x="340288" y="556416"/>
                </a:lnTo>
                <a:lnTo>
                  <a:pt x="335496" y="557210"/>
                </a:lnTo>
                <a:lnTo>
                  <a:pt x="252440" y="495297"/>
                </a:lnTo>
                <a:lnTo>
                  <a:pt x="250843" y="495297"/>
                </a:lnTo>
                <a:lnTo>
                  <a:pt x="249245" y="491329"/>
                </a:lnTo>
                <a:lnTo>
                  <a:pt x="249245" y="488154"/>
                </a:lnTo>
                <a:lnTo>
                  <a:pt x="249245" y="481804"/>
                </a:lnTo>
                <a:lnTo>
                  <a:pt x="247648" y="479422"/>
                </a:lnTo>
                <a:lnTo>
                  <a:pt x="247648" y="476247"/>
                </a:lnTo>
                <a:lnTo>
                  <a:pt x="247648" y="473072"/>
                </a:lnTo>
                <a:lnTo>
                  <a:pt x="249245" y="468310"/>
                </a:lnTo>
                <a:lnTo>
                  <a:pt x="250843" y="462754"/>
                </a:lnTo>
                <a:lnTo>
                  <a:pt x="253239" y="456404"/>
                </a:lnTo>
                <a:lnTo>
                  <a:pt x="256433" y="453229"/>
                </a:lnTo>
                <a:lnTo>
                  <a:pt x="258030" y="449260"/>
                </a:lnTo>
                <a:lnTo>
                  <a:pt x="261225" y="447672"/>
                </a:lnTo>
                <a:lnTo>
                  <a:pt x="264419" y="446085"/>
                </a:lnTo>
                <a:lnTo>
                  <a:pt x="267614" y="442910"/>
                </a:lnTo>
                <a:lnTo>
                  <a:pt x="271607" y="442910"/>
                </a:lnTo>
                <a:close/>
                <a:moveTo>
                  <a:pt x="1041521" y="423860"/>
                </a:moveTo>
                <a:lnTo>
                  <a:pt x="1044691" y="423860"/>
                </a:lnTo>
                <a:lnTo>
                  <a:pt x="1047861" y="423860"/>
                </a:lnTo>
                <a:lnTo>
                  <a:pt x="1051030" y="425445"/>
                </a:lnTo>
                <a:lnTo>
                  <a:pt x="1056577" y="427030"/>
                </a:lnTo>
                <a:lnTo>
                  <a:pt x="1061332" y="430199"/>
                </a:lnTo>
                <a:lnTo>
                  <a:pt x="1067671" y="433368"/>
                </a:lnTo>
                <a:lnTo>
                  <a:pt x="1074803" y="435745"/>
                </a:lnTo>
                <a:lnTo>
                  <a:pt x="1081143" y="440499"/>
                </a:lnTo>
                <a:lnTo>
                  <a:pt x="1086690" y="445254"/>
                </a:lnTo>
                <a:lnTo>
                  <a:pt x="1089860" y="448423"/>
                </a:lnTo>
                <a:lnTo>
                  <a:pt x="1093030" y="450800"/>
                </a:lnTo>
                <a:lnTo>
                  <a:pt x="1096199" y="453969"/>
                </a:lnTo>
                <a:lnTo>
                  <a:pt x="1099369" y="458723"/>
                </a:lnTo>
                <a:lnTo>
                  <a:pt x="1101746" y="461893"/>
                </a:lnTo>
                <a:lnTo>
                  <a:pt x="1103331" y="464270"/>
                </a:lnTo>
                <a:lnTo>
                  <a:pt x="1106501" y="469024"/>
                </a:lnTo>
                <a:lnTo>
                  <a:pt x="1109671" y="475363"/>
                </a:lnTo>
                <a:lnTo>
                  <a:pt x="1109671" y="479324"/>
                </a:lnTo>
                <a:lnTo>
                  <a:pt x="1112840" y="484078"/>
                </a:lnTo>
                <a:lnTo>
                  <a:pt x="1114425" y="490417"/>
                </a:lnTo>
                <a:lnTo>
                  <a:pt x="1116010" y="497548"/>
                </a:lnTo>
                <a:lnTo>
                  <a:pt x="881703" y="714372"/>
                </a:lnTo>
                <a:lnTo>
                  <a:pt x="1353360" y="714372"/>
                </a:lnTo>
                <a:lnTo>
                  <a:pt x="1354946" y="715943"/>
                </a:lnTo>
                <a:lnTo>
                  <a:pt x="1359703" y="720655"/>
                </a:lnTo>
                <a:lnTo>
                  <a:pt x="1361289" y="723797"/>
                </a:lnTo>
                <a:lnTo>
                  <a:pt x="1362875" y="727724"/>
                </a:lnTo>
                <a:lnTo>
                  <a:pt x="1365254" y="732436"/>
                </a:lnTo>
                <a:lnTo>
                  <a:pt x="1368425" y="737149"/>
                </a:lnTo>
                <a:lnTo>
                  <a:pt x="1368425" y="742647"/>
                </a:lnTo>
                <a:lnTo>
                  <a:pt x="1370011" y="748930"/>
                </a:lnTo>
                <a:lnTo>
                  <a:pt x="1368425" y="755213"/>
                </a:lnTo>
                <a:lnTo>
                  <a:pt x="1368425" y="760711"/>
                </a:lnTo>
                <a:lnTo>
                  <a:pt x="1366840" y="763852"/>
                </a:lnTo>
                <a:lnTo>
                  <a:pt x="1365254" y="768565"/>
                </a:lnTo>
                <a:lnTo>
                  <a:pt x="1364461" y="770921"/>
                </a:lnTo>
                <a:lnTo>
                  <a:pt x="1362875" y="774063"/>
                </a:lnTo>
                <a:lnTo>
                  <a:pt x="1359703" y="778775"/>
                </a:lnTo>
                <a:lnTo>
                  <a:pt x="1356532" y="781917"/>
                </a:lnTo>
                <a:lnTo>
                  <a:pt x="1353360" y="785058"/>
                </a:lnTo>
                <a:lnTo>
                  <a:pt x="1348602" y="788985"/>
                </a:lnTo>
                <a:lnTo>
                  <a:pt x="848977" y="788985"/>
                </a:lnTo>
                <a:lnTo>
                  <a:pt x="848449" y="790814"/>
                </a:lnTo>
                <a:lnTo>
                  <a:pt x="845249" y="795558"/>
                </a:lnTo>
                <a:lnTo>
                  <a:pt x="843649" y="798720"/>
                </a:lnTo>
                <a:lnTo>
                  <a:pt x="840449" y="802674"/>
                </a:lnTo>
                <a:lnTo>
                  <a:pt x="839649" y="807418"/>
                </a:lnTo>
                <a:lnTo>
                  <a:pt x="836449" y="810580"/>
                </a:lnTo>
                <a:lnTo>
                  <a:pt x="833250" y="815324"/>
                </a:lnTo>
                <a:lnTo>
                  <a:pt x="830050" y="817696"/>
                </a:lnTo>
                <a:lnTo>
                  <a:pt x="826850" y="822440"/>
                </a:lnTo>
                <a:lnTo>
                  <a:pt x="822850" y="825603"/>
                </a:lnTo>
                <a:lnTo>
                  <a:pt x="818051" y="828765"/>
                </a:lnTo>
                <a:lnTo>
                  <a:pt x="814851" y="831137"/>
                </a:lnTo>
                <a:lnTo>
                  <a:pt x="811651" y="834300"/>
                </a:lnTo>
                <a:lnTo>
                  <a:pt x="807651" y="837463"/>
                </a:lnTo>
                <a:lnTo>
                  <a:pt x="802851" y="840625"/>
                </a:lnTo>
                <a:lnTo>
                  <a:pt x="798052" y="842207"/>
                </a:lnTo>
                <a:lnTo>
                  <a:pt x="794052" y="843788"/>
                </a:lnTo>
                <a:lnTo>
                  <a:pt x="789252" y="845369"/>
                </a:lnTo>
                <a:lnTo>
                  <a:pt x="784453" y="846160"/>
                </a:lnTo>
                <a:lnTo>
                  <a:pt x="779653" y="847741"/>
                </a:lnTo>
                <a:lnTo>
                  <a:pt x="774053" y="849323"/>
                </a:lnTo>
                <a:lnTo>
                  <a:pt x="769253" y="850904"/>
                </a:lnTo>
                <a:lnTo>
                  <a:pt x="764454" y="850904"/>
                </a:lnTo>
                <a:lnTo>
                  <a:pt x="760454" y="852485"/>
                </a:lnTo>
                <a:lnTo>
                  <a:pt x="754054" y="852485"/>
                </a:lnTo>
                <a:lnTo>
                  <a:pt x="749255" y="852485"/>
                </a:lnTo>
                <a:lnTo>
                  <a:pt x="743655" y="850904"/>
                </a:lnTo>
                <a:lnTo>
                  <a:pt x="738855" y="850904"/>
                </a:lnTo>
                <a:lnTo>
                  <a:pt x="735151" y="849989"/>
                </a:lnTo>
                <a:lnTo>
                  <a:pt x="711867" y="871535"/>
                </a:lnTo>
                <a:lnTo>
                  <a:pt x="710282" y="871535"/>
                </a:lnTo>
                <a:lnTo>
                  <a:pt x="707112" y="871535"/>
                </a:lnTo>
                <a:lnTo>
                  <a:pt x="703942" y="871535"/>
                </a:lnTo>
                <a:lnTo>
                  <a:pt x="701565" y="871535"/>
                </a:lnTo>
                <a:lnTo>
                  <a:pt x="698395" y="871535"/>
                </a:lnTo>
                <a:lnTo>
                  <a:pt x="695226" y="871535"/>
                </a:lnTo>
                <a:lnTo>
                  <a:pt x="692056" y="869951"/>
                </a:lnTo>
                <a:lnTo>
                  <a:pt x="687301" y="868366"/>
                </a:lnTo>
                <a:lnTo>
                  <a:pt x="683339" y="866781"/>
                </a:lnTo>
                <a:lnTo>
                  <a:pt x="678584" y="865196"/>
                </a:lnTo>
                <a:lnTo>
                  <a:pt x="673830" y="862027"/>
                </a:lnTo>
                <a:lnTo>
                  <a:pt x="669868" y="859650"/>
                </a:lnTo>
                <a:lnTo>
                  <a:pt x="663528" y="854896"/>
                </a:lnTo>
                <a:lnTo>
                  <a:pt x="658774" y="850142"/>
                </a:lnTo>
                <a:lnTo>
                  <a:pt x="654811" y="845388"/>
                </a:lnTo>
                <a:lnTo>
                  <a:pt x="650057" y="839841"/>
                </a:lnTo>
                <a:lnTo>
                  <a:pt x="646887" y="833503"/>
                </a:lnTo>
                <a:lnTo>
                  <a:pt x="643717" y="829541"/>
                </a:lnTo>
                <a:lnTo>
                  <a:pt x="642132" y="824787"/>
                </a:lnTo>
                <a:lnTo>
                  <a:pt x="639755" y="820033"/>
                </a:lnTo>
                <a:lnTo>
                  <a:pt x="639755" y="816863"/>
                </a:lnTo>
                <a:lnTo>
                  <a:pt x="638170" y="814486"/>
                </a:lnTo>
                <a:lnTo>
                  <a:pt x="636585" y="809732"/>
                </a:lnTo>
                <a:lnTo>
                  <a:pt x="636585" y="806563"/>
                </a:lnTo>
                <a:lnTo>
                  <a:pt x="636585" y="803394"/>
                </a:lnTo>
                <a:lnTo>
                  <a:pt x="636585" y="801809"/>
                </a:lnTo>
                <a:lnTo>
                  <a:pt x="636585" y="799432"/>
                </a:lnTo>
                <a:lnTo>
                  <a:pt x="638170" y="799432"/>
                </a:lnTo>
                <a:lnTo>
                  <a:pt x="649389" y="788985"/>
                </a:lnTo>
                <a:lnTo>
                  <a:pt x="629421" y="788985"/>
                </a:lnTo>
                <a:lnTo>
                  <a:pt x="627835" y="787414"/>
                </a:lnTo>
                <a:lnTo>
                  <a:pt x="626250" y="787414"/>
                </a:lnTo>
                <a:lnTo>
                  <a:pt x="622285" y="785058"/>
                </a:lnTo>
                <a:lnTo>
                  <a:pt x="619113" y="781917"/>
                </a:lnTo>
                <a:lnTo>
                  <a:pt x="615942" y="777204"/>
                </a:lnTo>
                <a:lnTo>
                  <a:pt x="612770" y="770921"/>
                </a:lnTo>
                <a:lnTo>
                  <a:pt x="611184" y="768565"/>
                </a:lnTo>
                <a:lnTo>
                  <a:pt x="609598" y="763852"/>
                </a:lnTo>
                <a:lnTo>
                  <a:pt x="609598" y="759140"/>
                </a:lnTo>
                <a:lnTo>
                  <a:pt x="609598" y="755213"/>
                </a:lnTo>
                <a:lnTo>
                  <a:pt x="609598" y="748930"/>
                </a:lnTo>
                <a:lnTo>
                  <a:pt x="609598" y="745788"/>
                </a:lnTo>
                <a:lnTo>
                  <a:pt x="611184" y="739505"/>
                </a:lnTo>
                <a:lnTo>
                  <a:pt x="612770" y="737149"/>
                </a:lnTo>
                <a:lnTo>
                  <a:pt x="614356" y="732436"/>
                </a:lnTo>
                <a:lnTo>
                  <a:pt x="617527" y="729295"/>
                </a:lnTo>
                <a:lnTo>
                  <a:pt x="619113" y="726153"/>
                </a:lnTo>
                <a:lnTo>
                  <a:pt x="622285" y="724582"/>
                </a:lnTo>
                <a:lnTo>
                  <a:pt x="626250" y="720655"/>
                </a:lnTo>
                <a:lnTo>
                  <a:pt x="631007" y="717514"/>
                </a:lnTo>
                <a:lnTo>
                  <a:pt x="634179" y="714372"/>
                </a:lnTo>
                <a:lnTo>
                  <a:pt x="635765" y="714372"/>
                </a:lnTo>
                <a:lnTo>
                  <a:pt x="658508" y="714372"/>
                </a:lnTo>
                <a:lnTo>
                  <a:pt x="659660" y="710957"/>
                </a:lnTo>
                <a:lnTo>
                  <a:pt x="661260" y="707004"/>
                </a:lnTo>
                <a:lnTo>
                  <a:pt x="662860" y="702260"/>
                </a:lnTo>
                <a:lnTo>
                  <a:pt x="666059" y="697516"/>
                </a:lnTo>
                <a:lnTo>
                  <a:pt x="669259" y="693562"/>
                </a:lnTo>
                <a:lnTo>
                  <a:pt x="671659" y="690400"/>
                </a:lnTo>
                <a:lnTo>
                  <a:pt x="674859" y="685656"/>
                </a:lnTo>
                <a:lnTo>
                  <a:pt x="678059" y="682493"/>
                </a:lnTo>
                <a:lnTo>
                  <a:pt x="681259" y="679330"/>
                </a:lnTo>
                <a:lnTo>
                  <a:pt x="684458" y="675377"/>
                </a:lnTo>
                <a:lnTo>
                  <a:pt x="688458" y="672214"/>
                </a:lnTo>
                <a:lnTo>
                  <a:pt x="691658" y="669052"/>
                </a:lnTo>
                <a:lnTo>
                  <a:pt x="696458" y="665889"/>
                </a:lnTo>
                <a:lnTo>
                  <a:pt x="701257" y="663517"/>
                </a:lnTo>
                <a:lnTo>
                  <a:pt x="705257" y="661936"/>
                </a:lnTo>
                <a:lnTo>
                  <a:pt x="710057" y="658773"/>
                </a:lnTo>
                <a:lnTo>
                  <a:pt x="714857" y="657192"/>
                </a:lnTo>
                <a:lnTo>
                  <a:pt x="718856" y="655611"/>
                </a:lnTo>
                <a:lnTo>
                  <a:pt x="723656" y="654029"/>
                </a:lnTo>
                <a:lnTo>
                  <a:pt x="728456" y="652448"/>
                </a:lnTo>
                <a:lnTo>
                  <a:pt x="732456" y="650867"/>
                </a:lnTo>
                <a:lnTo>
                  <a:pt x="738855" y="650867"/>
                </a:lnTo>
                <a:lnTo>
                  <a:pt x="743655" y="649285"/>
                </a:lnTo>
                <a:lnTo>
                  <a:pt x="749255" y="649285"/>
                </a:lnTo>
                <a:lnTo>
                  <a:pt x="754054" y="649285"/>
                </a:lnTo>
                <a:lnTo>
                  <a:pt x="760454" y="649285"/>
                </a:lnTo>
                <a:lnTo>
                  <a:pt x="764454" y="649285"/>
                </a:lnTo>
                <a:lnTo>
                  <a:pt x="769253" y="650867"/>
                </a:lnTo>
                <a:lnTo>
                  <a:pt x="774053" y="650867"/>
                </a:lnTo>
                <a:lnTo>
                  <a:pt x="779653" y="652448"/>
                </a:lnTo>
                <a:lnTo>
                  <a:pt x="784453" y="654029"/>
                </a:lnTo>
                <a:lnTo>
                  <a:pt x="789252" y="655611"/>
                </a:lnTo>
                <a:lnTo>
                  <a:pt x="791747" y="656432"/>
                </a:lnTo>
                <a:close/>
                <a:moveTo>
                  <a:pt x="1036147" y="241297"/>
                </a:moveTo>
                <a:lnTo>
                  <a:pt x="1040088" y="241297"/>
                </a:lnTo>
                <a:lnTo>
                  <a:pt x="1043241" y="241297"/>
                </a:lnTo>
                <a:lnTo>
                  <a:pt x="1047970" y="241297"/>
                </a:lnTo>
                <a:lnTo>
                  <a:pt x="1051123" y="241297"/>
                </a:lnTo>
                <a:lnTo>
                  <a:pt x="1054276" y="242894"/>
                </a:lnTo>
                <a:lnTo>
                  <a:pt x="1056640" y="244491"/>
                </a:lnTo>
                <a:lnTo>
                  <a:pt x="1061370" y="247685"/>
                </a:lnTo>
                <a:lnTo>
                  <a:pt x="1066099" y="251678"/>
                </a:lnTo>
                <a:lnTo>
                  <a:pt x="1070828" y="258066"/>
                </a:lnTo>
                <a:lnTo>
                  <a:pt x="1073193" y="264454"/>
                </a:lnTo>
                <a:lnTo>
                  <a:pt x="1076345" y="270043"/>
                </a:lnTo>
                <a:lnTo>
                  <a:pt x="1076345" y="274834"/>
                </a:lnTo>
                <a:lnTo>
                  <a:pt x="1077922" y="279625"/>
                </a:lnTo>
                <a:lnTo>
                  <a:pt x="1077922" y="282021"/>
                </a:lnTo>
                <a:lnTo>
                  <a:pt x="1079498" y="283618"/>
                </a:lnTo>
                <a:lnTo>
                  <a:pt x="1025112" y="373050"/>
                </a:lnTo>
                <a:lnTo>
                  <a:pt x="1019595" y="373050"/>
                </a:lnTo>
                <a:lnTo>
                  <a:pt x="1014866" y="374647"/>
                </a:lnTo>
                <a:lnTo>
                  <a:pt x="1009348" y="374647"/>
                </a:lnTo>
                <a:lnTo>
                  <a:pt x="1006195" y="374647"/>
                </a:lnTo>
                <a:lnTo>
                  <a:pt x="1001466" y="374647"/>
                </a:lnTo>
                <a:lnTo>
                  <a:pt x="998313" y="373050"/>
                </a:lnTo>
                <a:lnTo>
                  <a:pt x="994372" y="373050"/>
                </a:lnTo>
                <a:lnTo>
                  <a:pt x="991220" y="373050"/>
                </a:lnTo>
                <a:lnTo>
                  <a:pt x="984914" y="370655"/>
                </a:lnTo>
                <a:lnTo>
                  <a:pt x="980185" y="367461"/>
                </a:lnTo>
                <a:lnTo>
                  <a:pt x="977820" y="364267"/>
                </a:lnTo>
                <a:lnTo>
                  <a:pt x="974667" y="359476"/>
                </a:lnTo>
                <a:lnTo>
                  <a:pt x="971514" y="355483"/>
                </a:lnTo>
                <a:lnTo>
                  <a:pt x="969938" y="350692"/>
                </a:lnTo>
                <a:lnTo>
                  <a:pt x="968362" y="347498"/>
                </a:lnTo>
                <a:lnTo>
                  <a:pt x="968362" y="342707"/>
                </a:lnTo>
                <a:lnTo>
                  <a:pt x="966785" y="338714"/>
                </a:lnTo>
                <a:lnTo>
                  <a:pt x="968362" y="335520"/>
                </a:lnTo>
                <a:lnTo>
                  <a:pt x="1018018" y="250081"/>
                </a:lnTo>
                <a:lnTo>
                  <a:pt x="1019595" y="249282"/>
                </a:lnTo>
                <a:lnTo>
                  <a:pt x="1022748" y="247685"/>
                </a:lnTo>
                <a:lnTo>
                  <a:pt x="1024324" y="246088"/>
                </a:lnTo>
                <a:lnTo>
                  <a:pt x="1026689" y="244491"/>
                </a:lnTo>
                <a:lnTo>
                  <a:pt x="1029841" y="242894"/>
                </a:lnTo>
                <a:lnTo>
                  <a:pt x="1032994" y="242894"/>
                </a:lnTo>
                <a:close/>
                <a:moveTo>
                  <a:pt x="483192" y="241297"/>
                </a:moveTo>
                <a:lnTo>
                  <a:pt x="487132" y="241297"/>
                </a:lnTo>
                <a:lnTo>
                  <a:pt x="490284" y="241297"/>
                </a:lnTo>
                <a:lnTo>
                  <a:pt x="493436" y="241297"/>
                </a:lnTo>
                <a:lnTo>
                  <a:pt x="498165" y="241297"/>
                </a:lnTo>
                <a:lnTo>
                  <a:pt x="501317" y="242894"/>
                </a:lnTo>
                <a:lnTo>
                  <a:pt x="506833" y="244491"/>
                </a:lnTo>
                <a:lnTo>
                  <a:pt x="511561" y="247685"/>
                </a:lnTo>
                <a:lnTo>
                  <a:pt x="514713" y="249282"/>
                </a:lnTo>
                <a:lnTo>
                  <a:pt x="517078" y="250081"/>
                </a:lnTo>
                <a:lnTo>
                  <a:pt x="565148" y="335520"/>
                </a:lnTo>
                <a:lnTo>
                  <a:pt x="565148" y="338714"/>
                </a:lnTo>
                <a:lnTo>
                  <a:pt x="565148" y="342707"/>
                </a:lnTo>
                <a:lnTo>
                  <a:pt x="563572" y="347498"/>
                </a:lnTo>
                <a:lnTo>
                  <a:pt x="562784" y="350692"/>
                </a:lnTo>
                <a:lnTo>
                  <a:pt x="561208" y="355483"/>
                </a:lnTo>
                <a:lnTo>
                  <a:pt x="559632" y="359476"/>
                </a:lnTo>
                <a:lnTo>
                  <a:pt x="554904" y="364267"/>
                </a:lnTo>
                <a:lnTo>
                  <a:pt x="551752" y="367461"/>
                </a:lnTo>
                <a:lnTo>
                  <a:pt x="546235" y="370655"/>
                </a:lnTo>
                <a:lnTo>
                  <a:pt x="541507" y="373050"/>
                </a:lnTo>
                <a:lnTo>
                  <a:pt x="538355" y="373050"/>
                </a:lnTo>
                <a:lnTo>
                  <a:pt x="533627" y="373050"/>
                </a:lnTo>
                <a:lnTo>
                  <a:pt x="529686" y="374647"/>
                </a:lnTo>
                <a:lnTo>
                  <a:pt x="526534" y="374647"/>
                </a:lnTo>
                <a:lnTo>
                  <a:pt x="521806" y="374647"/>
                </a:lnTo>
                <a:lnTo>
                  <a:pt x="517078" y="374647"/>
                </a:lnTo>
                <a:lnTo>
                  <a:pt x="513137" y="373050"/>
                </a:lnTo>
                <a:lnTo>
                  <a:pt x="506833" y="373050"/>
                </a:lnTo>
                <a:lnTo>
                  <a:pt x="455610" y="283618"/>
                </a:lnTo>
                <a:lnTo>
                  <a:pt x="455610" y="282021"/>
                </a:lnTo>
                <a:lnTo>
                  <a:pt x="455610" y="279625"/>
                </a:lnTo>
                <a:lnTo>
                  <a:pt x="455610" y="274834"/>
                </a:lnTo>
                <a:lnTo>
                  <a:pt x="457186" y="270043"/>
                </a:lnTo>
                <a:lnTo>
                  <a:pt x="458762" y="264454"/>
                </a:lnTo>
                <a:lnTo>
                  <a:pt x="461915" y="258066"/>
                </a:lnTo>
                <a:lnTo>
                  <a:pt x="466643" y="251678"/>
                </a:lnTo>
                <a:lnTo>
                  <a:pt x="472159" y="247685"/>
                </a:lnTo>
                <a:lnTo>
                  <a:pt x="475311" y="244491"/>
                </a:lnTo>
                <a:lnTo>
                  <a:pt x="480040" y="242894"/>
                </a:lnTo>
                <a:close/>
                <a:moveTo>
                  <a:pt x="749298" y="163510"/>
                </a:moveTo>
                <a:lnTo>
                  <a:pt x="754060" y="163510"/>
                </a:lnTo>
                <a:lnTo>
                  <a:pt x="758823" y="165089"/>
                </a:lnTo>
                <a:lnTo>
                  <a:pt x="761998" y="165089"/>
                </a:lnTo>
                <a:lnTo>
                  <a:pt x="764379" y="165089"/>
                </a:lnTo>
                <a:lnTo>
                  <a:pt x="769141" y="166668"/>
                </a:lnTo>
                <a:lnTo>
                  <a:pt x="772316" y="168247"/>
                </a:lnTo>
                <a:lnTo>
                  <a:pt x="777079" y="172983"/>
                </a:lnTo>
                <a:lnTo>
                  <a:pt x="782635" y="176930"/>
                </a:lnTo>
                <a:lnTo>
                  <a:pt x="785810" y="180088"/>
                </a:lnTo>
                <a:lnTo>
                  <a:pt x="788985" y="184824"/>
                </a:lnTo>
                <a:lnTo>
                  <a:pt x="792160" y="186403"/>
                </a:lnTo>
                <a:lnTo>
                  <a:pt x="792160" y="187982"/>
                </a:lnTo>
                <a:lnTo>
                  <a:pt x="792160" y="289817"/>
                </a:lnTo>
                <a:lnTo>
                  <a:pt x="785810" y="292974"/>
                </a:lnTo>
                <a:lnTo>
                  <a:pt x="782635" y="296132"/>
                </a:lnTo>
                <a:lnTo>
                  <a:pt x="778666" y="298500"/>
                </a:lnTo>
                <a:lnTo>
                  <a:pt x="775491" y="301658"/>
                </a:lnTo>
                <a:lnTo>
                  <a:pt x="770729" y="303237"/>
                </a:lnTo>
                <a:lnTo>
                  <a:pt x="767554" y="304815"/>
                </a:lnTo>
                <a:lnTo>
                  <a:pt x="764379" y="306394"/>
                </a:lnTo>
                <a:lnTo>
                  <a:pt x="761998" y="307973"/>
                </a:lnTo>
                <a:lnTo>
                  <a:pt x="754060" y="307973"/>
                </a:lnTo>
                <a:lnTo>
                  <a:pt x="749298" y="307973"/>
                </a:lnTo>
                <a:lnTo>
                  <a:pt x="743741" y="304815"/>
                </a:lnTo>
                <a:lnTo>
                  <a:pt x="740566" y="304815"/>
                </a:lnTo>
                <a:lnTo>
                  <a:pt x="734216" y="301658"/>
                </a:lnTo>
                <a:lnTo>
                  <a:pt x="731835" y="298500"/>
                </a:lnTo>
                <a:lnTo>
                  <a:pt x="728660" y="296132"/>
                </a:lnTo>
                <a:lnTo>
                  <a:pt x="727073" y="292974"/>
                </a:lnTo>
                <a:lnTo>
                  <a:pt x="722310" y="288238"/>
                </a:lnTo>
                <a:lnTo>
                  <a:pt x="722310" y="286659"/>
                </a:lnTo>
                <a:lnTo>
                  <a:pt x="722310" y="189561"/>
                </a:lnTo>
                <a:lnTo>
                  <a:pt x="722310" y="187982"/>
                </a:lnTo>
                <a:lnTo>
                  <a:pt x="723898" y="184824"/>
                </a:lnTo>
                <a:lnTo>
                  <a:pt x="727073" y="180088"/>
                </a:lnTo>
                <a:lnTo>
                  <a:pt x="731835" y="175351"/>
                </a:lnTo>
                <a:lnTo>
                  <a:pt x="737391" y="169825"/>
                </a:lnTo>
                <a:lnTo>
                  <a:pt x="743741" y="166668"/>
                </a:lnTo>
                <a:lnTo>
                  <a:pt x="746916" y="165089"/>
                </a:lnTo>
                <a:close/>
                <a:moveTo>
                  <a:pt x="759617" y="98006"/>
                </a:moveTo>
                <a:cubicBezTo>
                  <a:pt x="394219" y="98006"/>
                  <a:pt x="98006" y="394219"/>
                  <a:pt x="98006" y="759616"/>
                </a:cubicBezTo>
                <a:cubicBezTo>
                  <a:pt x="98006" y="1125013"/>
                  <a:pt x="394219" y="1421226"/>
                  <a:pt x="759617" y="1421226"/>
                </a:cubicBezTo>
                <a:cubicBezTo>
                  <a:pt x="1125015" y="1421226"/>
                  <a:pt x="1421228" y="1125013"/>
                  <a:pt x="1421228" y="759616"/>
                </a:cubicBezTo>
                <a:cubicBezTo>
                  <a:pt x="1421228" y="394219"/>
                  <a:pt x="1125015" y="98006"/>
                  <a:pt x="759617" y="98006"/>
                </a:cubicBezTo>
                <a:close/>
                <a:moveTo>
                  <a:pt x="759617" y="0"/>
                </a:moveTo>
                <a:cubicBezTo>
                  <a:pt x="1179142" y="0"/>
                  <a:pt x="1519234" y="340092"/>
                  <a:pt x="1519234" y="759616"/>
                </a:cubicBezTo>
                <a:cubicBezTo>
                  <a:pt x="1519234" y="1179140"/>
                  <a:pt x="1179142" y="1519232"/>
                  <a:pt x="759617" y="1519232"/>
                </a:cubicBezTo>
                <a:cubicBezTo>
                  <a:pt x="340092" y="1519232"/>
                  <a:pt x="0" y="1179140"/>
                  <a:pt x="0" y="759616"/>
                </a:cubicBezTo>
                <a:cubicBezTo>
                  <a:pt x="0" y="340092"/>
                  <a:pt x="340092" y="0"/>
                  <a:pt x="759617" y="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64" name="Freeform 13">
            <a:extLst>
              <a:ext uri="{FF2B5EF4-FFF2-40B4-BE49-F238E27FC236}">
                <a16:creationId xmlns:a16="http://schemas.microsoft.com/office/drawing/2014/main" id="{760F9E23-E700-46AE-A5E4-9312CF5E0444}"/>
              </a:ext>
            </a:extLst>
          </p:cNvPr>
          <p:cNvSpPr>
            <a:spLocks noChangeAspect="1" noEditPoints="1"/>
          </p:cNvSpPr>
          <p:nvPr/>
        </p:nvSpPr>
        <p:spPr bwMode="auto">
          <a:xfrm>
            <a:off x="8810880" y="2229697"/>
            <a:ext cx="683640" cy="763612"/>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chemeClr val="bg1">
              <a:lumMod val="50000"/>
            </a:schemeClr>
          </a:solidFill>
          <a:ln>
            <a:solidFill>
              <a:schemeClr val="bg1">
                <a:lumMod val="50000"/>
              </a:schemeClr>
            </a:solidFill>
          </a:ln>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66" name="Freeform: Shape 65">
            <a:extLst>
              <a:ext uri="{FF2B5EF4-FFF2-40B4-BE49-F238E27FC236}">
                <a16:creationId xmlns:a16="http://schemas.microsoft.com/office/drawing/2014/main" id="{FA000D2C-7ED5-44B4-B81C-08EA3EC7A582}"/>
              </a:ext>
            </a:extLst>
          </p:cNvPr>
          <p:cNvSpPr/>
          <p:nvPr/>
        </p:nvSpPr>
        <p:spPr>
          <a:xfrm>
            <a:off x="10600450" y="2240898"/>
            <a:ext cx="920990" cy="741210"/>
          </a:xfrm>
          <a:custGeom>
            <a:avLst/>
            <a:gdLst>
              <a:gd name="connsiteX0" fmla="*/ 550925 w 1115892"/>
              <a:gd name="connsiteY0" fmla="*/ 560293 h 898069"/>
              <a:gd name="connsiteX1" fmla="*/ 549244 w 1115892"/>
              <a:gd name="connsiteY1" fmla="*/ 567181 h 898069"/>
              <a:gd name="connsiteX2" fmla="*/ 548031 w 1115892"/>
              <a:gd name="connsiteY2" fmla="*/ 826586 h 898069"/>
              <a:gd name="connsiteX3" fmla="*/ 574991 w 1115892"/>
              <a:gd name="connsiteY3" fmla="*/ 850632 h 898069"/>
              <a:gd name="connsiteX4" fmla="*/ 821037 w 1115892"/>
              <a:gd name="connsiteY4" fmla="*/ 764892 h 898069"/>
              <a:gd name="connsiteX5" fmla="*/ 845693 w 1115892"/>
              <a:gd name="connsiteY5" fmla="*/ 738416 h 898069"/>
              <a:gd name="connsiteX6" fmla="*/ 845812 w 1115892"/>
              <a:gd name="connsiteY6" fmla="*/ 626931 h 898069"/>
              <a:gd name="connsiteX7" fmla="*/ 661341 w 1115892"/>
              <a:gd name="connsiteY7" fmla="*/ 692146 h 898069"/>
              <a:gd name="connsiteX8" fmla="*/ 633042 w 1115892"/>
              <a:gd name="connsiteY8" fmla="*/ 684860 h 898069"/>
              <a:gd name="connsiteX9" fmla="*/ 577662 w 1115892"/>
              <a:gd name="connsiteY9" fmla="*/ 597055 h 898069"/>
              <a:gd name="connsiteX10" fmla="*/ 550925 w 1115892"/>
              <a:gd name="connsiteY10" fmla="*/ 560293 h 898069"/>
              <a:gd name="connsiteX11" fmla="*/ 484670 w 1115892"/>
              <a:gd name="connsiteY11" fmla="*/ 535209 h 898069"/>
              <a:gd name="connsiteX12" fmla="*/ 473832 w 1115892"/>
              <a:gd name="connsiteY12" fmla="*/ 546049 h 898069"/>
              <a:gd name="connsiteX13" fmla="*/ 365989 w 1115892"/>
              <a:gd name="connsiteY13" fmla="*/ 648791 h 898069"/>
              <a:gd name="connsiteX14" fmla="*/ 335871 w 1115892"/>
              <a:gd name="connsiteY14" fmla="*/ 652920 h 898069"/>
              <a:gd name="connsiteX15" fmla="*/ 197910 w 1115892"/>
              <a:gd name="connsiteY15" fmla="*/ 583454 h 898069"/>
              <a:gd name="connsiteX16" fmla="*/ 186950 w 1115892"/>
              <a:gd name="connsiteY16" fmla="*/ 579870 h 898069"/>
              <a:gd name="connsiteX17" fmla="*/ 185279 w 1115892"/>
              <a:gd name="connsiteY17" fmla="*/ 601427 h 898069"/>
              <a:gd name="connsiteX18" fmla="*/ 185279 w 1115892"/>
              <a:gd name="connsiteY18" fmla="*/ 704412 h 898069"/>
              <a:gd name="connsiteX19" fmla="*/ 464116 w 1115892"/>
              <a:gd name="connsiteY19" fmla="*/ 834600 h 898069"/>
              <a:gd name="connsiteX20" fmla="*/ 490348 w 1115892"/>
              <a:gd name="connsiteY20" fmla="*/ 811284 h 898069"/>
              <a:gd name="connsiteX21" fmla="*/ 488404 w 1115892"/>
              <a:gd name="connsiteY21" fmla="*/ 548963 h 898069"/>
              <a:gd name="connsiteX22" fmla="*/ 847770 w 1115892"/>
              <a:gd name="connsiteY22" fmla="*/ 392515 h 898069"/>
              <a:gd name="connsiteX23" fmla="*/ 828723 w 1115892"/>
              <a:gd name="connsiteY23" fmla="*/ 399069 h 898069"/>
              <a:gd name="connsiteX24" fmla="*/ 586032 w 1115892"/>
              <a:gd name="connsiteY24" fmla="*/ 494446 h 898069"/>
              <a:gd name="connsiteX25" fmla="*/ 564512 w 1115892"/>
              <a:gd name="connsiteY25" fmla="*/ 514244 h 898069"/>
              <a:gd name="connsiteX26" fmla="*/ 638184 w 1115892"/>
              <a:gd name="connsiteY26" fmla="*/ 628596 h 898069"/>
              <a:gd name="connsiteX27" fmla="*/ 703765 w 1115892"/>
              <a:gd name="connsiteY27" fmla="*/ 647517 h 898069"/>
              <a:gd name="connsiteX28" fmla="*/ 914275 w 1115892"/>
              <a:gd name="connsiteY28" fmla="*/ 565832 h 898069"/>
              <a:gd name="connsiteX29" fmla="*/ 945797 w 1115892"/>
              <a:gd name="connsiteY29" fmla="*/ 550088 h 898069"/>
              <a:gd name="connsiteX30" fmla="*/ 939975 w 1115892"/>
              <a:gd name="connsiteY30" fmla="*/ 524141 h 898069"/>
              <a:gd name="connsiteX31" fmla="*/ 871127 w 1115892"/>
              <a:gd name="connsiteY31" fmla="*/ 416087 h 898069"/>
              <a:gd name="connsiteX32" fmla="*/ 847770 w 1115892"/>
              <a:gd name="connsiteY32" fmla="*/ 392515 h 898069"/>
              <a:gd name="connsiteX33" fmla="*/ 168619 w 1115892"/>
              <a:gd name="connsiteY33" fmla="*/ 355876 h 898069"/>
              <a:gd name="connsiteX34" fmla="*/ 149642 w 1115892"/>
              <a:gd name="connsiteY34" fmla="*/ 370788 h 898069"/>
              <a:gd name="connsiteX35" fmla="*/ 65961 w 1115892"/>
              <a:gd name="connsiteY35" fmla="*/ 450546 h 898069"/>
              <a:gd name="connsiteX36" fmla="*/ 47391 w 1115892"/>
              <a:gd name="connsiteY36" fmla="*/ 469134 h 898069"/>
              <a:gd name="connsiteX37" fmla="*/ 59423 w 1115892"/>
              <a:gd name="connsiteY37" fmla="*/ 480619 h 898069"/>
              <a:gd name="connsiteX38" fmla="*/ 323027 w 1115892"/>
              <a:gd name="connsiteY38" fmla="*/ 615806 h 898069"/>
              <a:gd name="connsiteX39" fmla="*/ 371919 w 1115892"/>
              <a:gd name="connsiteY39" fmla="*/ 604833 h 898069"/>
              <a:gd name="connsiteX40" fmla="*/ 454312 w 1115892"/>
              <a:gd name="connsiteY40" fmla="*/ 519374 h 898069"/>
              <a:gd name="connsiteX41" fmla="*/ 445139 w 1115892"/>
              <a:gd name="connsiteY41" fmla="*/ 493694 h 898069"/>
              <a:gd name="connsiteX42" fmla="*/ 192789 w 1115892"/>
              <a:gd name="connsiteY42" fmla="*/ 365557 h 898069"/>
              <a:gd name="connsiteX43" fmla="*/ 168619 w 1115892"/>
              <a:gd name="connsiteY43" fmla="*/ 355876 h 898069"/>
              <a:gd name="connsiteX44" fmla="*/ 646768 w 1115892"/>
              <a:gd name="connsiteY44" fmla="*/ 229807 h 898069"/>
              <a:gd name="connsiteX45" fmla="*/ 877027 w 1115892"/>
              <a:gd name="connsiteY45" fmla="*/ 347852 h 898069"/>
              <a:gd name="connsiteX46" fmla="*/ 993613 w 1115892"/>
              <a:gd name="connsiteY46" fmla="*/ 374084 h 898069"/>
              <a:gd name="connsiteX47" fmla="*/ 758982 w 1115892"/>
              <a:gd name="connsiteY47" fmla="*/ 253125 h 898069"/>
              <a:gd name="connsiteX48" fmla="*/ 385006 w 1115892"/>
              <a:gd name="connsiteY48" fmla="*/ 30828 h 898069"/>
              <a:gd name="connsiteX49" fmla="*/ 366576 w 1115892"/>
              <a:gd name="connsiteY49" fmla="*/ 36922 h 898069"/>
              <a:gd name="connsiteX50" fmla="*/ 121697 w 1115892"/>
              <a:gd name="connsiteY50" fmla="*/ 126468 h 898069"/>
              <a:gd name="connsiteX51" fmla="*/ 100179 w 1115892"/>
              <a:gd name="connsiteY51" fmla="*/ 146268 h 898069"/>
              <a:gd name="connsiteX52" fmla="*/ 173849 w 1115892"/>
              <a:gd name="connsiteY52" fmla="*/ 260620 h 898069"/>
              <a:gd name="connsiteX53" fmla="*/ 237245 w 1115892"/>
              <a:gd name="connsiteY53" fmla="*/ 283184 h 898069"/>
              <a:gd name="connsiteX54" fmla="*/ 447754 w 1115892"/>
              <a:gd name="connsiteY54" fmla="*/ 213886 h 898069"/>
              <a:gd name="connsiteX55" fmla="*/ 477827 w 1115892"/>
              <a:gd name="connsiteY55" fmla="*/ 170739 h 898069"/>
              <a:gd name="connsiteX56" fmla="*/ 404607 w 1115892"/>
              <a:gd name="connsiteY56" fmla="*/ 51755 h 898069"/>
              <a:gd name="connsiteX57" fmla="*/ 385006 w 1115892"/>
              <a:gd name="connsiteY57" fmla="*/ 30828 h 898069"/>
              <a:gd name="connsiteX58" fmla="*/ 415066 w 1115892"/>
              <a:gd name="connsiteY58" fmla="*/ 272 h 898069"/>
              <a:gd name="connsiteX59" fmla="*/ 439908 w 1115892"/>
              <a:gd name="connsiteY59" fmla="*/ 24297 h 898069"/>
              <a:gd name="connsiteX60" fmla="*/ 511822 w 1115892"/>
              <a:gd name="connsiteY60" fmla="*/ 140665 h 898069"/>
              <a:gd name="connsiteX61" fmla="*/ 575889 w 1115892"/>
              <a:gd name="connsiteY61" fmla="*/ 195581 h 898069"/>
              <a:gd name="connsiteX62" fmla="*/ 723639 w 1115892"/>
              <a:gd name="connsiteY62" fmla="*/ 221732 h 898069"/>
              <a:gd name="connsiteX63" fmla="*/ 798166 w 1115892"/>
              <a:gd name="connsiteY63" fmla="*/ 246574 h 898069"/>
              <a:gd name="connsiteX64" fmla="*/ 1115892 w 1115892"/>
              <a:gd name="connsiteY64" fmla="*/ 407398 h 898069"/>
              <a:gd name="connsiteX65" fmla="*/ 1102817 w 1115892"/>
              <a:gd name="connsiteY65" fmla="*/ 433549 h 898069"/>
              <a:gd name="connsiteX66" fmla="*/ 917150 w 1115892"/>
              <a:gd name="connsiteY66" fmla="*/ 385171 h 898069"/>
              <a:gd name="connsiteX67" fmla="*/ 898641 w 1115892"/>
              <a:gd name="connsiteY67" fmla="*/ 380390 h 898069"/>
              <a:gd name="connsiteX68" fmla="*/ 909305 w 1115892"/>
              <a:gd name="connsiteY68" fmla="*/ 408706 h 898069"/>
              <a:gd name="connsiteX69" fmla="*/ 990372 w 1115892"/>
              <a:gd name="connsiteY69" fmla="*/ 536842 h 898069"/>
              <a:gd name="connsiteX70" fmla="*/ 979911 w 1115892"/>
              <a:gd name="connsiteY70" fmla="*/ 573452 h 898069"/>
              <a:gd name="connsiteX71" fmla="*/ 883155 w 1115892"/>
              <a:gd name="connsiteY71" fmla="*/ 608755 h 898069"/>
              <a:gd name="connsiteX72" fmla="*/ 884462 w 1115892"/>
              <a:gd name="connsiteY72" fmla="*/ 768271 h 898069"/>
              <a:gd name="connsiteX73" fmla="*/ 552355 w 1115892"/>
              <a:gd name="connsiteY73" fmla="*/ 891178 h 898069"/>
              <a:gd name="connsiteX74" fmla="*/ 464752 w 1115892"/>
              <a:gd name="connsiteY74" fmla="*/ 882025 h 898069"/>
              <a:gd name="connsiteX75" fmla="*/ 153564 w 1115892"/>
              <a:gd name="connsiteY75" fmla="*/ 726431 h 898069"/>
              <a:gd name="connsiteX76" fmla="*/ 152256 w 1115892"/>
              <a:gd name="connsiteY76" fmla="*/ 561684 h 898069"/>
              <a:gd name="connsiteX77" fmla="*/ 21505 w 1115892"/>
              <a:gd name="connsiteY77" fmla="*/ 500231 h 898069"/>
              <a:gd name="connsiteX78" fmla="*/ 24120 w 1115892"/>
              <a:gd name="connsiteY78" fmla="*/ 453162 h 898069"/>
              <a:gd name="connsiteX79" fmla="*/ 133951 w 1115892"/>
              <a:gd name="connsiteY79" fmla="*/ 345945 h 898069"/>
              <a:gd name="connsiteX80" fmla="*/ 145719 w 1115892"/>
              <a:gd name="connsiteY80" fmla="*/ 296259 h 898069"/>
              <a:gd name="connsiteX81" fmla="*/ 65960 w 1115892"/>
              <a:gd name="connsiteY81" fmla="*/ 166816 h 898069"/>
              <a:gd name="connsiteX82" fmla="*/ 76420 w 1115892"/>
              <a:gd name="connsiteY82" fmla="*/ 113207 h 898069"/>
              <a:gd name="connsiteX83" fmla="*/ 362766 w 1115892"/>
              <a:gd name="connsiteY83" fmla="*/ 12529 h 898069"/>
              <a:gd name="connsiteX84" fmla="*/ 415066 w 1115892"/>
              <a:gd name="connsiteY84" fmla="*/ 272 h 898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115892" h="898069">
                <a:moveTo>
                  <a:pt x="550925" y="560293"/>
                </a:moveTo>
                <a:cubicBezTo>
                  <a:pt x="549820" y="560795"/>
                  <a:pt x="549199" y="562899"/>
                  <a:pt x="549244" y="567181"/>
                </a:cubicBezTo>
                <a:cubicBezTo>
                  <a:pt x="548597" y="654620"/>
                  <a:pt x="548678" y="739146"/>
                  <a:pt x="548031" y="826586"/>
                </a:cubicBezTo>
                <a:cubicBezTo>
                  <a:pt x="548759" y="859132"/>
                  <a:pt x="549488" y="858161"/>
                  <a:pt x="574991" y="850632"/>
                </a:cubicBezTo>
                <a:lnTo>
                  <a:pt x="821037" y="764892"/>
                </a:lnTo>
                <a:cubicBezTo>
                  <a:pt x="843101" y="756066"/>
                  <a:pt x="844761" y="750157"/>
                  <a:pt x="845693" y="738416"/>
                </a:cubicBezTo>
                <a:cubicBezTo>
                  <a:pt x="845976" y="701255"/>
                  <a:pt x="845530" y="664093"/>
                  <a:pt x="845812" y="626931"/>
                </a:cubicBezTo>
                <a:lnTo>
                  <a:pt x="661341" y="692146"/>
                </a:lnTo>
                <a:cubicBezTo>
                  <a:pt x="643528" y="698704"/>
                  <a:pt x="639924" y="694333"/>
                  <a:pt x="633042" y="684860"/>
                </a:cubicBezTo>
                <a:lnTo>
                  <a:pt x="577662" y="597055"/>
                </a:lnTo>
                <a:cubicBezTo>
                  <a:pt x="569572" y="586004"/>
                  <a:pt x="555708" y="558116"/>
                  <a:pt x="550925" y="560293"/>
                </a:cubicBezTo>
                <a:close/>
                <a:moveTo>
                  <a:pt x="484670" y="535209"/>
                </a:moveTo>
                <a:cubicBezTo>
                  <a:pt x="482332" y="535179"/>
                  <a:pt x="478810" y="539248"/>
                  <a:pt x="473832" y="546049"/>
                </a:cubicBezTo>
                <a:lnTo>
                  <a:pt x="365989" y="648791"/>
                </a:lnTo>
                <a:cubicBezTo>
                  <a:pt x="359108" y="656725"/>
                  <a:pt x="351497" y="660287"/>
                  <a:pt x="335871" y="652920"/>
                </a:cubicBezTo>
                <a:lnTo>
                  <a:pt x="197910" y="583454"/>
                </a:lnTo>
                <a:lnTo>
                  <a:pt x="186950" y="579870"/>
                </a:lnTo>
                <a:cubicBezTo>
                  <a:pt x="185179" y="581106"/>
                  <a:pt x="184957" y="586530"/>
                  <a:pt x="185279" y="601427"/>
                </a:cubicBezTo>
                <a:lnTo>
                  <a:pt x="185279" y="704412"/>
                </a:lnTo>
                <a:lnTo>
                  <a:pt x="464116" y="834600"/>
                </a:lnTo>
                <a:cubicBezTo>
                  <a:pt x="482332" y="842859"/>
                  <a:pt x="490348" y="846745"/>
                  <a:pt x="490348" y="811284"/>
                </a:cubicBezTo>
                <a:cubicBezTo>
                  <a:pt x="489700" y="723843"/>
                  <a:pt x="489053" y="636403"/>
                  <a:pt x="488404" y="548963"/>
                </a:cubicBezTo>
                <a:close/>
                <a:moveTo>
                  <a:pt x="847770" y="392515"/>
                </a:moveTo>
                <a:cubicBezTo>
                  <a:pt x="842975" y="392838"/>
                  <a:pt x="837181" y="395458"/>
                  <a:pt x="828723" y="399069"/>
                </a:cubicBezTo>
                <a:lnTo>
                  <a:pt x="586032" y="494446"/>
                </a:lnTo>
                <a:cubicBezTo>
                  <a:pt x="572059" y="499911"/>
                  <a:pt x="557599" y="502949"/>
                  <a:pt x="564512" y="514244"/>
                </a:cubicBezTo>
                <a:lnTo>
                  <a:pt x="638184" y="628596"/>
                </a:lnTo>
                <a:cubicBezTo>
                  <a:pt x="656724" y="658302"/>
                  <a:pt x="668221" y="659589"/>
                  <a:pt x="703765" y="647517"/>
                </a:cubicBezTo>
                <a:lnTo>
                  <a:pt x="914275" y="565832"/>
                </a:lnTo>
                <a:lnTo>
                  <a:pt x="945797" y="550088"/>
                </a:lnTo>
                <a:cubicBezTo>
                  <a:pt x="950475" y="544597"/>
                  <a:pt x="948929" y="537404"/>
                  <a:pt x="939975" y="524141"/>
                </a:cubicBezTo>
                <a:lnTo>
                  <a:pt x="871127" y="416087"/>
                </a:lnTo>
                <a:cubicBezTo>
                  <a:pt x="860977" y="397818"/>
                  <a:pt x="855761" y="391976"/>
                  <a:pt x="847770" y="392515"/>
                </a:cubicBezTo>
                <a:close/>
                <a:moveTo>
                  <a:pt x="168619" y="355876"/>
                </a:moveTo>
                <a:cubicBezTo>
                  <a:pt x="163114" y="356475"/>
                  <a:pt x="158472" y="361172"/>
                  <a:pt x="149642" y="370788"/>
                </a:cubicBezTo>
                <a:lnTo>
                  <a:pt x="65961" y="450546"/>
                </a:lnTo>
                <a:lnTo>
                  <a:pt x="47391" y="469134"/>
                </a:lnTo>
                <a:cubicBezTo>
                  <a:pt x="45754" y="473054"/>
                  <a:pt x="49218" y="475789"/>
                  <a:pt x="59423" y="480619"/>
                </a:cubicBezTo>
                <a:lnTo>
                  <a:pt x="323027" y="615806"/>
                </a:lnTo>
                <a:cubicBezTo>
                  <a:pt x="350011" y="629151"/>
                  <a:pt x="352950" y="625008"/>
                  <a:pt x="371919" y="604833"/>
                </a:cubicBezTo>
                <a:lnTo>
                  <a:pt x="454312" y="519374"/>
                </a:lnTo>
                <a:cubicBezTo>
                  <a:pt x="466921" y="503164"/>
                  <a:pt x="461313" y="502618"/>
                  <a:pt x="445139" y="493694"/>
                </a:cubicBezTo>
                <a:lnTo>
                  <a:pt x="192789" y="365557"/>
                </a:lnTo>
                <a:cubicBezTo>
                  <a:pt x="180498" y="358778"/>
                  <a:pt x="174126" y="355278"/>
                  <a:pt x="168619" y="355876"/>
                </a:cubicBezTo>
                <a:close/>
                <a:moveTo>
                  <a:pt x="646768" y="229807"/>
                </a:moveTo>
                <a:lnTo>
                  <a:pt x="877027" y="347852"/>
                </a:lnTo>
                <a:lnTo>
                  <a:pt x="993613" y="374084"/>
                </a:lnTo>
                <a:lnTo>
                  <a:pt x="758982" y="253125"/>
                </a:lnTo>
                <a:close/>
                <a:moveTo>
                  <a:pt x="385006" y="30828"/>
                </a:moveTo>
                <a:cubicBezTo>
                  <a:pt x="380622" y="30998"/>
                  <a:pt x="375033" y="33311"/>
                  <a:pt x="366576" y="36922"/>
                </a:cubicBezTo>
                <a:lnTo>
                  <a:pt x="121697" y="126468"/>
                </a:lnTo>
                <a:cubicBezTo>
                  <a:pt x="107724" y="131935"/>
                  <a:pt x="93264" y="134972"/>
                  <a:pt x="100179" y="146268"/>
                </a:cubicBezTo>
                <a:lnTo>
                  <a:pt x="173849" y="260620"/>
                </a:lnTo>
                <a:cubicBezTo>
                  <a:pt x="192390" y="290326"/>
                  <a:pt x="201702" y="295256"/>
                  <a:pt x="237245" y="283184"/>
                </a:cubicBezTo>
                <a:lnTo>
                  <a:pt x="447754" y="213886"/>
                </a:lnTo>
                <a:cubicBezTo>
                  <a:pt x="467980" y="206790"/>
                  <a:pt x="499378" y="200180"/>
                  <a:pt x="477827" y="170739"/>
                </a:cubicBezTo>
                <a:lnTo>
                  <a:pt x="404607" y="51755"/>
                </a:lnTo>
                <a:cubicBezTo>
                  <a:pt x="396279" y="36216"/>
                  <a:pt x="392315" y="30546"/>
                  <a:pt x="385006" y="30828"/>
                </a:cubicBezTo>
                <a:close/>
                <a:moveTo>
                  <a:pt x="415066" y="272"/>
                </a:moveTo>
                <a:cubicBezTo>
                  <a:pt x="424655" y="1743"/>
                  <a:pt x="429666" y="9260"/>
                  <a:pt x="439908" y="24297"/>
                </a:cubicBezTo>
                <a:lnTo>
                  <a:pt x="511822" y="140665"/>
                </a:lnTo>
                <a:cubicBezTo>
                  <a:pt x="542331" y="199503"/>
                  <a:pt x="545381" y="186429"/>
                  <a:pt x="575889" y="195581"/>
                </a:cubicBezTo>
                <a:lnTo>
                  <a:pt x="723639" y="221732"/>
                </a:lnTo>
                <a:cubicBezTo>
                  <a:pt x="757634" y="224782"/>
                  <a:pt x="769402" y="233063"/>
                  <a:pt x="798166" y="246574"/>
                </a:cubicBezTo>
                <a:lnTo>
                  <a:pt x="1115892" y="407398"/>
                </a:lnTo>
                <a:lnTo>
                  <a:pt x="1102817" y="433549"/>
                </a:lnTo>
                <a:lnTo>
                  <a:pt x="917150" y="385171"/>
                </a:lnTo>
                <a:lnTo>
                  <a:pt x="898641" y="380390"/>
                </a:lnTo>
                <a:cubicBezTo>
                  <a:pt x="888957" y="381738"/>
                  <a:pt x="902440" y="398899"/>
                  <a:pt x="909305" y="408706"/>
                </a:cubicBezTo>
                <a:lnTo>
                  <a:pt x="990372" y="536842"/>
                </a:lnTo>
                <a:cubicBezTo>
                  <a:pt x="1006476" y="564157"/>
                  <a:pt x="1001853" y="563265"/>
                  <a:pt x="979911" y="573452"/>
                </a:cubicBezTo>
                <a:lnTo>
                  <a:pt x="883155" y="608755"/>
                </a:lnTo>
                <a:cubicBezTo>
                  <a:pt x="883591" y="661928"/>
                  <a:pt x="884027" y="715100"/>
                  <a:pt x="884462" y="768271"/>
                </a:cubicBezTo>
                <a:lnTo>
                  <a:pt x="552355" y="891178"/>
                </a:lnTo>
                <a:cubicBezTo>
                  <a:pt x="500926" y="907739"/>
                  <a:pt x="483492" y="890306"/>
                  <a:pt x="464752" y="882025"/>
                </a:cubicBezTo>
                <a:lnTo>
                  <a:pt x="153564" y="726431"/>
                </a:lnTo>
                <a:cubicBezTo>
                  <a:pt x="153128" y="671516"/>
                  <a:pt x="152692" y="616600"/>
                  <a:pt x="152256" y="561684"/>
                </a:cubicBezTo>
                <a:lnTo>
                  <a:pt x="21505" y="500231"/>
                </a:lnTo>
                <a:cubicBezTo>
                  <a:pt x="-21207" y="480183"/>
                  <a:pt x="10609" y="466672"/>
                  <a:pt x="24120" y="453162"/>
                </a:cubicBezTo>
                <a:lnTo>
                  <a:pt x="133951" y="345945"/>
                </a:lnTo>
                <a:cubicBezTo>
                  <a:pt x="167946" y="317616"/>
                  <a:pt x="156179" y="316744"/>
                  <a:pt x="145719" y="296259"/>
                </a:cubicBezTo>
                <a:lnTo>
                  <a:pt x="65960" y="166816"/>
                </a:lnTo>
                <a:cubicBezTo>
                  <a:pt x="39375" y="130642"/>
                  <a:pt x="50706" y="124540"/>
                  <a:pt x="76420" y="113207"/>
                </a:cubicBezTo>
                <a:lnTo>
                  <a:pt x="362766" y="12529"/>
                </a:lnTo>
                <a:cubicBezTo>
                  <a:pt x="391313" y="3377"/>
                  <a:pt x="405478" y="-1199"/>
                  <a:pt x="415066" y="272"/>
                </a:cubicBezTo>
                <a:close/>
              </a:path>
            </a:pathLst>
          </a:custGeom>
          <a:solidFill>
            <a:schemeClr val="bg1">
              <a:lumMod val="5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68580" rIns="68580" rtlCol="0" anchor="b">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endParaRPr lang="en-US" sz="1400" dirty="0" err="1"/>
          </a:p>
        </p:txBody>
      </p:sp>
      <p:sp>
        <p:nvSpPr>
          <p:cNvPr id="67" name="Freeform 118">
            <a:extLst>
              <a:ext uri="{FF2B5EF4-FFF2-40B4-BE49-F238E27FC236}">
                <a16:creationId xmlns:a16="http://schemas.microsoft.com/office/drawing/2014/main" id="{8EF89902-D3DD-466D-9E07-E6802D5C6488}"/>
              </a:ext>
            </a:extLst>
          </p:cNvPr>
          <p:cNvSpPr>
            <a:spLocks noChangeAspect="1" noEditPoints="1"/>
          </p:cNvSpPr>
          <p:nvPr/>
        </p:nvSpPr>
        <p:spPr bwMode="auto">
          <a:xfrm>
            <a:off x="897090" y="4670277"/>
            <a:ext cx="764579" cy="476916"/>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chemeClr val="bg1">
              <a:lumMod val="50000"/>
            </a:schemeClr>
          </a:solidFill>
          <a:ln>
            <a:solidFill>
              <a:schemeClr val="bg1">
                <a:lumMod val="50000"/>
              </a:schemeClr>
            </a:solidFill>
          </a:ln>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69" name="Freeform 144">
            <a:extLst>
              <a:ext uri="{FF2B5EF4-FFF2-40B4-BE49-F238E27FC236}">
                <a16:creationId xmlns:a16="http://schemas.microsoft.com/office/drawing/2014/main" id="{95F4C1DF-B46C-4946-B417-761C64B5B582}"/>
              </a:ext>
            </a:extLst>
          </p:cNvPr>
          <p:cNvSpPr>
            <a:spLocks noChangeAspect="1" noEditPoints="1"/>
          </p:cNvSpPr>
          <p:nvPr/>
        </p:nvSpPr>
        <p:spPr bwMode="auto">
          <a:xfrm>
            <a:off x="2946222" y="4609972"/>
            <a:ext cx="547533" cy="597526"/>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chemeClr val="bg1">
              <a:lumMod val="50000"/>
            </a:schemeClr>
          </a:solidFill>
          <a:ln>
            <a:solidFill>
              <a:schemeClr val="bg1">
                <a:lumMod val="50000"/>
              </a:schemeClr>
            </a:solidFill>
          </a:ln>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79" name="Freeform 32">
            <a:extLst>
              <a:ext uri="{FF2B5EF4-FFF2-40B4-BE49-F238E27FC236}">
                <a16:creationId xmlns:a16="http://schemas.microsoft.com/office/drawing/2014/main" id="{CF226E50-ACB4-467B-BC65-C5EAD7115CBE}"/>
              </a:ext>
            </a:extLst>
          </p:cNvPr>
          <p:cNvSpPr/>
          <p:nvPr/>
        </p:nvSpPr>
        <p:spPr bwMode="auto">
          <a:xfrm>
            <a:off x="4933633" y="4586554"/>
            <a:ext cx="568007" cy="644363"/>
          </a:xfrm>
          <a:custGeom>
            <a:avLst/>
            <a:gdLst/>
            <a:ahLst/>
            <a:cxnLst/>
            <a:rect l="l" t="t" r="r" b="b"/>
            <a:pathLst>
              <a:path w="3911447" h="4437244">
                <a:moveTo>
                  <a:pt x="2118517" y="1334584"/>
                </a:moveTo>
                <a:lnTo>
                  <a:pt x="2351646" y="1334584"/>
                </a:lnTo>
                <a:lnTo>
                  <a:pt x="2351646" y="1523144"/>
                </a:lnTo>
                <a:cubicBezTo>
                  <a:pt x="2460211" y="1526001"/>
                  <a:pt x="2541349" y="1540857"/>
                  <a:pt x="2636200" y="1567713"/>
                </a:cubicBezTo>
                <a:lnTo>
                  <a:pt x="2636200" y="1920834"/>
                </a:lnTo>
                <a:cubicBezTo>
                  <a:pt x="2474496" y="1835125"/>
                  <a:pt x="2273365" y="1795698"/>
                  <a:pt x="2207654" y="1838553"/>
                </a:cubicBezTo>
                <a:cubicBezTo>
                  <a:pt x="2143087" y="1864266"/>
                  <a:pt x="2148801" y="1951689"/>
                  <a:pt x="2193941" y="1982544"/>
                </a:cubicBezTo>
                <a:cubicBezTo>
                  <a:pt x="2250509" y="2061968"/>
                  <a:pt x="2742480" y="2139677"/>
                  <a:pt x="2697911" y="2513940"/>
                </a:cubicBezTo>
                <a:cubicBezTo>
                  <a:pt x="2676198" y="2774496"/>
                  <a:pt x="2445355" y="2858490"/>
                  <a:pt x="2355074" y="2884203"/>
                </a:cubicBezTo>
                <a:lnTo>
                  <a:pt x="2355074" y="3103618"/>
                </a:lnTo>
                <a:lnTo>
                  <a:pt x="2121945" y="3103618"/>
                </a:lnTo>
                <a:lnTo>
                  <a:pt x="2121945" y="2911630"/>
                </a:lnTo>
                <a:cubicBezTo>
                  <a:pt x="1984239" y="2908202"/>
                  <a:pt x="1817392" y="2870490"/>
                  <a:pt x="1755110" y="2829349"/>
                </a:cubicBezTo>
                <a:lnTo>
                  <a:pt x="1755110" y="2462515"/>
                </a:lnTo>
                <a:cubicBezTo>
                  <a:pt x="1882531" y="2572222"/>
                  <a:pt x="2069949" y="2616791"/>
                  <a:pt x="2173371" y="2606506"/>
                </a:cubicBezTo>
                <a:cubicBezTo>
                  <a:pt x="2273936" y="2595650"/>
                  <a:pt x="2276793" y="2487085"/>
                  <a:pt x="2228225" y="2445373"/>
                </a:cubicBezTo>
                <a:cubicBezTo>
                  <a:pt x="2160800" y="2349950"/>
                  <a:pt x="1657972" y="2316238"/>
                  <a:pt x="1748253" y="1855695"/>
                </a:cubicBezTo>
                <a:cubicBezTo>
                  <a:pt x="1788822" y="1620852"/>
                  <a:pt x="2024808" y="1545428"/>
                  <a:pt x="2121945" y="1536857"/>
                </a:cubicBezTo>
                <a:close/>
                <a:moveTo>
                  <a:pt x="2218622" y="0"/>
                </a:moveTo>
                <a:cubicBezTo>
                  <a:pt x="2627497" y="0"/>
                  <a:pt x="3010537" y="110605"/>
                  <a:pt x="3338276" y="305539"/>
                </a:cubicBezTo>
                <a:lnTo>
                  <a:pt x="3497555" y="101671"/>
                </a:lnTo>
                <a:lnTo>
                  <a:pt x="3773280" y="994290"/>
                </a:lnTo>
                <a:lnTo>
                  <a:pt x="2844521" y="937517"/>
                </a:lnTo>
                <a:lnTo>
                  <a:pt x="3030164" y="699905"/>
                </a:lnTo>
                <a:lnTo>
                  <a:pt x="3013735" y="720897"/>
                </a:lnTo>
                <a:cubicBezTo>
                  <a:pt x="2776817" y="594118"/>
                  <a:pt x="2506071" y="522608"/>
                  <a:pt x="2218622" y="522608"/>
                </a:cubicBezTo>
                <a:cubicBezTo>
                  <a:pt x="1281939" y="522608"/>
                  <a:pt x="522608" y="1281939"/>
                  <a:pt x="522608" y="2218622"/>
                </a:cubicBezTo>
                <a:cubicBezTo>
                  <a:pt x="522608" y="3155305"/>
                  <a:pt x="1281939" y="3914636"/>
                  <a:pt x="2218622" y="3914636"/>
                </a:cubicBezTo>
                <a:cubicBezTo>
                  <a:pt x="2743841" y="3914636"/>
                  <a:pt x="3213298" y="3675896"/>
                  <a:pt x="3524229" y="3300878"/>
                </a:cubicBezTo>
                <a:lnTo>
                  <a:pt x="3911447" y="3650966"/>
                </a:lnTo>
                <a:cubicBezTo>
                  <a:pt x="3505378" y="4132223"/>
                  <a:pt x="2897621" y="4437244"/>
                  <a:pt x="2218622" y="4437244"/>
                </a:cubicBezTo>
                <a:cubicBezTo>
                  <a:pt x="993311" y="4437244"/>
                  <a:pt x="0" y="3443933"/>
                  <a:pt x="0" y="2218622"/>
                </a:cubicBezTo>
                <a:cubicBezTo>
                  <a:pt x="0" y="993311"/>
                  <a:pt x="993311" y="0"/>
                  <a:pt x="2218622" y="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200" dirty="0" err="1"/>
          </a:p>
        </p:txBody>
      </p:sp>
      <p:grpSp>
        <p:nvGrpSpPr>
          <p:cNvPr id="10" name="Group 9">
            <a:extLst>
              <a:ext uri="{FF2B5EF4-FFF2-40B4-BE49-F238E27FC236}">
                <a16:creationId xmlns:a16="http://schemas.microsoft.com/office/drawing/2014/main" id="{EB15B392-84D2-48D6-B8BD-946B513890D1}"/>
              </a:ext>
            </a:extLst>
          </p:cNvPr>
          <p:cNvGrpSpPr/>
          <p:nvPr/>
        </p:nvGrpSpPr>
        <p:grpSpPr>
          <a:xfrm>
            <a:off x="6736993" y="4561405"/>
            <a:ext cx="700128" cy="694660"/>
            <a:chOff x="8429813" y="7167773"/>
            <a:chExt cx="1033047" cy="1024981"/>
          </a:xfrm>
        </p:grpSpPr>
        <p:sp>
          <p:nvSpPr>
            <p:cNvPr id="81" name="Freeform 39">
              <a:extLst>
                <a:ext uri="{FF2B5EF4-FFF2-40B4-BE49-F238E27FC236}">
                  <a16:creationId xmlns:a16="http://schemas.microsoft.com/office/drawing/2014/main" id="{6EFE0019-050B-493F-9754-CC7AE9E4224A}"/>
                </a:ext>
              </a:extLst>
            </p:cNvPr>
            <p:cNvSpPr>
              <a:spLocks/>
            </p:cNvSpPr>
            <p:nvPr/>
          </p:nvSpPr>
          <p:spPr bwMode="auto">
            <a:xfrm>
              <a:off x="8429813" y="7789219"/>
              <a:ext cx="1016906" cy="403535"/>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82" name="Freeform 40">
              <a:extLst>
                <a:ext uri="{FF2B5EF4-FFF2-40B4-BE49-F238E27FC236}">
                  <a16:creationId xmlns:a16="http://schemas.microsoft.com/office/drawing/2014/main" id="{0DAEC42A-F8F8-4A95-92FA-094AB9BE7C12}"/>
                </a:ext>
              </a:extLst>
            </p:cNvPr>
            <p:cNvSpPr>
              <a:spLocks/>
            </p:cNvSpPr>
            <p:nvPr/>
          </p:nvSpPr>
          <p:spPr bwMode="auto">
            <a:xfrm>
              <a:off x="8441918" y="7167773"/>
              <a:ext cx="1020942" cy="407571"/>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grpSp>
      <p:grpSp>
        <p:nvGrpSpPr>
          <p:cNvPr id="86" name="Group 85">
            <a:extLst>
              <a:ext uri="{FF2B5EF4-FFF2-40B4-BE49-F238E27FC236}">
                <a16:creationId xmlns:a16="http://schemas.microsoft.com/office/drawing/2014/main" id="{96BE1802-DFAE-4E97-B26E-27A8C0774BDE}"/>
              </a:ext>
            </a:extLst>
          </p:cNvPr>
          <p:cNvGrpSpPr>
            <a:grpSpLocks noChangeAspect="1"/>
          </p:cNvGrpSpPr>
          <p:nvPr/>
        </p:nvGrpSpPr>
        <p:grpSpPr>
          <a:xfrm>
            <a:off x="8655415" y="4495800"/>
            <a:ext cx="953040" cy="825870"/>
            <a:chOff x="6596640" y="681108"/>
            <a:chExt cx="1125281" cy="876566"/>
          </a:xfrm>
        </p:grpSpPr>
        <p:pic>
          <p:nvPicPr>
            <p:cNvPr id="87" name="Picture 86">
              <a:extLst>
                <a:ext uri="{FF2B5EF4-FFF2-40B4-BE49-F238E27FC236}">
                  <a16:creationId xmlns:a16="http://schemas.microsoft.com/office/drawing/2014/main" id="{DF383FAE-F4B2-4F56-ADBA-CE84660286FD}"/>
                </a:ext>
              </a:extLst>
            </p:cNvPr>
            <p:cNvPicPr>
              <a:picLocks noChangeAspect="1"/>
            </p:cNvPicPr>
            <p:nvPr/>
          </p:nvPicPr>
          <p:blipFill>
            <a:blip r:embed="rId3">
              <a:grayscl/>
            </a:blip>
            <a:stretch>
              <a:fillRect/>
            </a:stretch>
          </p:blipFill>
          <p:spPr>
            <a:xfrm>
              <a:off x="7156959" y="804575"/>
              <a:ext cx="564962" cy="561271"/>
            </a:xfrm>
            <a:prstGeom prst="rect">
              <a:avLst/>
            </a:prstGeom>
          </p:spPr>
        </p:pic>
        <p:pic>
          <p:nvPicPr>
            <p:cNvPr id="88" name="Picture 87">
              <a:extLst>
                <a:ext uri="{FF2B5EF4-FFF2-40B4-BE49-F238E27FC236}">
                  <a16:creationId xmlns:a16="http://schemas.microsoft.com/office/drawing/2014/main" id="{A839646C-0DFF-43DE-BF1D-2A3F5F2E50BD}"/>
                </a:ext>
              </a:extLst>
            </p:cNvPr>
            <p:cNvPicPr>
              <a:picLocks noChangeAspect="1"/>
            </p:cNvPicPr>
            <p:nvPr/>
          </p:nvPicPr>
          <p:blipFill>
            <a:blip r:embed="rId4">
              <a:grayscl/>
            </a:blip>
            <a:stretch>
              <a:fillRect/>
            </a:stretch>
          </p:blipFill>
          <p:spPr>
            <a:xfrm>
              <a:off x="6596640" y="681108"/>
              <a:ext cx="509844" cy="506511"/>
            </a:xfrm>
            <a:prstGeom prst="rect">
              <a:avLst/>
            </a:prstGeom>
          </p:spPr>
        </p:pic>
        <p:pic>
          <p:nvPicPr>
            <p:cNvPr id="89" name="Picture 88">
              <a:extLst>
                <a:ext uri="{FF2B5EF4-FFF2-40B4-BE49-F238E27FC236}">
                  <a16:creationId xmlns:a16="http://schemas.microsoft.com/office/drawing/2014/main" id="{BBE61FF1-A3EC-4497-B2A3-052F32CEE8C1}"/>
                </a:ext>
              </a:extLst>
            </p:cNvPr>
            <p:cNvPicPr>
              <a:picLocks noChangeAspect="1"/>
            </p:cNvPicPr>
            <p:nvPr/>
          </p:nvPicPr>
          <p:blipFill>
            <a:blip r:embed="rId5">
              <a:grayscl/>
            </a:blip>
            <a:stretch>
              <a:fillRect/>
            </a:stretch>
          </p:blipFill>
          <p:spPr>
            <a:xfrm>
              <a:off x="6842261" y="1023783"/>
              <a:ext cx="468505" cy="533891"/>
            </a:xfrm>
            <a:prstGeom prst="rect">
              <a:avLst/>
            </a:prstGeom>
          </p:spPr>
        </p:pic>
      </p:grpSp>
      <p:sp>
        <p:nvSpPr>
          <p:cNvPr id="90" name="Freeform 21">
            <a:extLst>
              <a:ext uri="{FF2B5EF4-FFF2-40B4-BE49-F238E27FC236}">
                <a16:creationId xmlns:a16="http://schemas.microsoft.com/office/drawing/2014/main" id="{70EA5352-C6AF-434A-A60A-A7367CA7EBF5}"/>
              </a:ext>
            </a:extLst>
          </p:cNvPr>
          <p:cNvSpPr>
            <a:spLocks noChangeAspect="1" noEditPoints="1"/>
          </p:cNvSpPr>
          <p:nvPr/>
        </p:nvSpPr>
        <p:spPr bwMode="auto">
          <a:xfrm>
            <a:off x="10818549" y="4608363"/>
            <a:ext cx="718132" cy="600744"/>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chemeClr val="bg1">
              <a:lumMod val="50000"/>
            </a:schemeClr>
          </a:solidFill>
          <a:ln>
            <a:noFill/>
          </a:ln>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Tree>
    <p:extLst>
      <p:ext uri="{BB962C8B-B14F-4D97-AF65-F5344CB8AC3E}">
        <p14:creationId xmlns:p14="http://schemas.microsoft.com/office/powerpoint/2010/main" val="393453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B6EB34D3-3C0A-C447-8F4F-0D52D1984080}"/>
              </a:ext>
            </a:extLst>
          </p:cNvPr>
          <p:cNvSpPr/>
          <p:nvPr/>
        </p:nvSpPr>
        <p:spPr bwMode="auto">
          <a:xfrm>
            <a:off x="881" y="0"/>
            <a:ext cx="3497263" cy="69940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solidFill>
                <a:schemeClr val="bg1"/>
              </a:solidFill>
              <a:latin typeface="Segoe UI"/>
              <a:ea typeface="Segoe UI" pitchFamily="34" charset="0"/>
              <a:cs typeface="Segoe UI" pitchFamily="34" charset="0"/>
            </a:endParaRPr>
          </a:p>
        </p:txBody>
      </p:sp>
      <p:sp>
        <p:nvSpPr>
          <p:cNvPr id="21" name="Title 20">
            <a:extLst>
              <a:ext uri="{FF2B5EF4-FFF2-40B4-BE49-F238E27FC236}">
                <a16:creationId xmlns:a16="http://schemas.microsoft.com/office/drawing/2014/main" id="{86547A5A-E97A-4942-809F-27D8ADAC33DB}"/>
              </a:ext>
            </a:extLst>
          </p:cNvPr>
          <p:cNvSpPr>
            <a:spLocks noGrp="1"/>
          </p:cNvSpPr>
          <p:nvPr>
            <p:ph type="title"/>
          </p:nvPr>
        </p:nvSpPr>
        <p:spPr>
          <a:xfrm>
            <a:off x="274639" y="295276"/>
            <a:ext cx="3335742" cy="820092"/>
          </a:xfrm>
        </p:spPr>
        <p:txBody>
          <a:bodyPr/>
          <a:lstStyle/>
          <a:p>
            <a:r>
              <a:rPr lang="en-US" dirty="0">
                <a:solidFill>
                  <a:schemeClr val="bg1"/>
                </a:solidFill>
              </a:rPr>
              <a:t>Microsoft Global Network</a:t>
            </a:r>
            <a:endParaRPr lang="en-IN" dirty="0">
              <a:solidFill>
                <a:schemeClr val="bg1"/>
              </a:solidFill>
            </a:endParaRPr>
          </a:p>
        </p:txBody>
      </p:sp>
      <p:sp>
        <p:nvSpPr>
          <p:cNvPr id="2" name="Rectangle 1">
            <a:extLst>
              <a:ext uri="{FF2B5EF4-FFF2-40B4-BE49-F238E27FC236}">
                <a16:creationId xmlns:a16="http://schemas.microsoft.com/office/drawing/2014/main" id="{D46AD1AF-83EA-407A-BA48-B84CCF09C1B6}"/>
              </a:ext>
            </a:extLst>
          </p:cNvPr>
          <p:cNvSpPr/>
          <p:nvPr/>
        </p:nvSpPr>
        <p:spPr>
          <a:xfrm>
            <a:off x="275481" y="2945230"/>
            <a:ext cx="3288398" cy="2431435"/>
          </a:xfrm>
          <a:prstGeom prst="rect">
            <a:avLst/>
          </a:prstGeom>
        </p:spPr>
        <p:txBody>
          <a:bodyPr wrap="square">
            <a:spAutoFit/>
          </a:bodyPr>
          <a:lstStyle/>
          <a:p>
            <a:pPr defTabSz="932597">
              <a:defRPr/>
            </a:pPr>
            <a:r>
              <a:rPr lang="en-US" sz="1600" dirty="0">
                <a:solidFill>
                  <a:schemeClr val="bg1"/>
                </a:solidFill>
                <a:latin typeface="Segoe UI Semibold" panose="020B0702040204020203" pitchFamily="34" charset="0"/>
                <a:cs typeface="Segoe UI Semibold" panose="020B0702040204020203" pitchFamily="34" charset="0"/>
              </a:rPr>
              <a:t>One of the largest private</a:t>
            </a:r>
          </a:p>
          <a:p>
            <a:pPr defTabSz="932597">
              <a:spcAft>
                <a:spcPts val="1224"/>
              </a:spcAft>
              <a:defRPr/>
            </a:pPr>
            <a:r>
              <a:rPr lang="en-US" sz="1600" dirty="0">
                <a:solidFill>
                  <a:schemeClr val="bg1"/>
                </a:solidFill>
                <a:latin typeface="Segoe UI Semibold" panose="020B0702040204020203" pitchFamily="34" charset="0"/>
                <a:cs typeface="Segoe UI Semibold" panose="020B0702040204020203" pitchFamily="34" charset="0"/>
              </a:rPr>
              <a:t>networks in the world</a:t>
            </a:r>
          </a:p>
          <a:p>
            <a:pPr marL="227968" indent="-227968" defTabSz="932597">
              <a:spcAft>
                <a:spcPts val="1224"/>
              </a:spcAft>
              <a:buFont typeface="Arial" panose="020B0604020202020204" pitchFamily="34" charset="0"/>
              <a:buChar char="•"/>
              <a:defRPr/>
            </a:pPr>
            <a:r>
              <a:rPr lang="en-US" sz="1400" dirty="0">
                <a:solidFill>
                  <a:schemeClr val="bg1"/>
                </a:solidFill>
                <a:latin typeface="Segoe UI"/>
              </a:rPr>
              <a:t>8,000+ ISP sessions</a:t>
            </a:r>
            <a:endParaRPr lang="en-US" sz="1400" dirty="0">
              <a:solidFill>
                <a:schemeClr val="bg1"/>
              </a:solidFill>
              <a:latin typeface="Segoe UI"/>
              <a:cs typeface="Segoe UI Light"/>
            </a:endParaRPr>
          </a:p>
          <a:p>
            <a:pPr marL="227968" indent="-227968" defTabSz="932597">
              <a:spcAft>
                <a:spcPts val="1224"/>
              </a:spcAft>
              <a:buFont typeface="Arial" panose="020B0604020202020204" pitchFamily="34" charset="0"/>
              <a:buChar char="•"/>
              <a:defRPr/>
            </a:pPr>
            <a:r>
              <a:rPr lang="en-US" sz="1400" dirty="0">
                <a:solidFill>
                  <a:schemeClr val="bg1"/>
                </a:solidFill>
                <a:latin typeface="Segoe UI"/>
              </a:rPr>
              <a:t>130+ edge sites</a:t>
            </a:r>
            <a:endParaRPr lang="en-US" sz="1400" dirty="0">
              <a:solidFill>
                <a:schemeClr val="bg1"/>
              </a:solidFill>
              <a:latin typeface="Segoe UI"/>
              <a:cs typeface="Segoe UI Light"/>
            </a:endParaRPr>
          </a:p>
          <a:p>
            <a:pPr marL="227968" indent="-227968" defTabSz="932597">
              <a:spcAft>
                <a:spcPts val="1224"/>
              </a:spcAft>
              <a:buFont typeface="Arial" panose="020B0604020202020204" pitchFamily="34" charset="0"/>
              <a:buChar char="•"/>
              <a:defRPr/>
            </a:pPr>
            <a:r>
              <a:rPr lang="en-US" sz="1400" dirty="0">
                <a:solidFill>
                  <a:schemeClr val="bg1"/>
                </a:solidFill>
                <a:latin typeface="Segoe UI"/>
              </a:rPr>
              <a:t>44 ExpressRoute locations</a:t>
            </a:r>
            <a:endParaRPr lang="en-US" sz="1400" dirty="0">
              <a:solidFill>
                <a:schemeClr val="bg1"/>
              </a:solidFill>
              <a:latin typeface="Segoe UI"/>
              <a:cs typeface="Segoe UI Light"/>
            </a:endParaRPr>
          </a:p>
          <a:p>
            <a:pPr marL="227968" indent="-227968" defTabSz="932597">
              <a:spcAft>
                <a:spcPts val="1224"/>
              </a:spcAft>
              <a:buFont typeface="Arial" panose="020B0604020202020204" pitchFamily="34" charset="0"/>
              <a:buChar char="•"/>
              <a:defRPr/>
            </a:pPr>
            <a:r>
              <a:rPr lang="en-US" sz="1400" dirty="0">
                <a:solidFill>
                  <a:schemeClr val="bg1"/>
                </a:solidFill>
                <a:latin typeface="Segoe UI"/>
              </a:rPr>
              <a:t>33,000 miles of lit fiber </a:t>
            </a:r>
            <a:endParaRPr lang="en-US" sz="1400" dirty="0">
              <a:solidFill>
                <a:schemeClr val="bg1"/>
              </a:solidFill>
              <a:latin typeface="Segoe UI"/>
              <a:cs typeface="Segoe UI Light"/>
            </a:endParaRPr>
          </a:p>
          <a:p>
            <a:pPr marL="227968" indent="-227968" defTabSz="932597">
              <a:spcAft>
                <a:spcPts val="1224"/>
              </a:spcAft>
              <a:buFont typeface="Arial" panose="020B0604020202020204" pitchFamily="34" charset="0"/>
              <a:buChar char="•"/>
              <a:defRPr/>
            </a:pPr>
            <a:r>
              <a:rPr lang="en-US" sz="1400" dirty="0">
                <a:solidFill>
                  <a:schemeClr val="bg1"/>
                </a:solidFill>
                <a:latin typeface="Segoe UI"/>
                <a:cs typeface="Segoe UI Light"/>
              </a:rPr>
              <a:t>SDN Managed (SWAN, OLS)</a:t>
            </a:r>
          </a:p>
        </p:txBody>
      </p:sp>
      <p:sp>
        <p:nvSpPr>
          <p:cNvPr id="26" name="Rectangle 25">
            <a:extLst>
              <a:ext uri="{FF2B5EF4-FFF2-40B4-BE49-F238E27FC236}">
                <a16:creationId xmlns:a16="http://schemas.microsoft.com/office/drawing/2014/main" id="{7944863B-760E-4DB8-A75F-86A866BA42B4}"/>
              </a:ext>
            </a:extLst>
          </p:cNvPr>
          <p:cNvSpPr/>
          <p:nvPr/>
        </p:nvSpPr>
        <p:spPr bwMode="auto">
          <a:xfrm>
            <a:off x="275482" y="6471574"/>
            <a:ext cx="3079875" cy="3221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93234" rIns="93234" bIns="93234" numCol="1" spcCol="0" rtlCol="0" fromWordArt="0" anchor="ctr" anchorCtr="0" forceAA="0" compatLnSpc="1">
            <a:prstTxWarp prst="textNoShape">
              <a:avLst/>
            </a:prstTxWarp>
            <a:noAutofit/>
          </a:bodyPr>
          <a:lstStyle/>
          <a:p>
            <a:pPr defTabSz="931932" fontAlgn="base">
              <a:spcBef>
                <a:spcPct val="0"/>
              </a:spcBef>
              <a:spcAft>
                <a:spcPct val="0"/>
              </a:spcAft>
              <a:defRPr/>
            </a:pPr>
            <a:r>
              <a:rPr lang="en-US" sz="1400" i="1" kern="0" dirty="0">
                <a:solidFill>
                  <a:schemeClr val="bg1"/>
                </a:solidFill>
                <a:latin typeface="Segoe UI"/>
                <a:ea typeface="Segoe UI" pitchFamily="34" charset="0"/>
                <a:cs typeface="Segoe UI" pitchFamily="34" charset="0"/>
              </a:rPr>
              <a:t>DCs and Network sites not exhaustive</a:t>
            </a:r>
          </a:p>
        </p:txBody>
      </p:sp>
      <p:grpSp>
        <p:nvGrpSpPr>
          <p:cNvPr id="29" name="Group 28">
            <a:extLst>
              <a:ext uri="{FF2B5EF4-FFF2-40B4-BE49-F238E27FC236}">
                <a16:creationId xmlns:a16="http://schemas.microsoft.com/office/drawing/2014/main" id="{296E00F6-4317-4E4E-AE1B-9256D84E3606}"/>
              </a:ext>
            </a:extLst>
          </p:cNvPr>
          <p:cNvGrpSpPr/>
          <p:nvPr/>
        </p:nvGrpSpPr>
        <p:grpSpPr>
          <a:xfrm>
            <a:off x="3547660" y="1197348"/>
            <a:ext cx="8987310" cy="4117347"/>
            <a:chOff x="291512" y="1044399"/>
            <a:chExt cx="11730885" cy="5416112"/>
          </a:xfrm>
        </p:grpSpPr>
        <p:pic>
          <p:nvPicPr>
            <p:cNvPr id="58" name="Picture 57" descr="world map">
              <a:extLst>
                <a:ext uri="{FF2B5EF4-FFF2-40B4-BE49-F238E27FC236}">
                  <a16:creationId xmlns:a16="http://schemas.microsoft.com/office/drawing/2014/main" id="{8D6CB14B-807B-43F6-BACF-E781A61C9AA2}"/>
                </a:ext>
              </a:extLst>
            </p:cNvPr>
            <p:cNvPicPr>
              <a:picLocks noChangeAspect="1"/>
            </p:cNvPicPr>
            <p:nvPr/>
          </p:nvPicPr>
          <p:blipFill rotWithShape="1">
            <a:blip r:embed="rId3" cstate="print">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11566"/>
            <a:stretch/>
          </p:blipFill>
          <p:spPr>
            <a:xfrm>
              <a:off x="291512" y="1044399"/>
              <a:ext cx="11730885" cy="5416112"/>
            </a:xfrm>
            <a:prstGeom prst="rect">
              <a:avLst/>
            </a:prstGeom>
            <a:ln w="19050">
              <a:noFill/>
            </a:ln>
          </p:spPr>
        </p:pic>
        <p:sp>
          <p:nvSpPr>
            <p:cNvPr id="59" name="Rectangle 58">
              <a:extLst>
                <a:ext uri="{FF2B5EF4-FFF2-40B4-BE49-F238E27FC236}">
                  <a16:creationId xmlns:a16="http://schemas.microsoft.com/office/drawing/2014/main" id="{C22FF48A-AB91-47D9-87E1-0B9D44BFBCF1}"/>
                </a:ext>
              </a:extLst>
            </p:cNvPr>
            <p:cNvSpPr/>
            <p:nvPr/>
          </p:nvSpPr>
          <p:spPr bwMode="auto">
            <a:xfrm>
              <a:off x="2189040" y="3305116"/>
              <a:ext cx="841327"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United States</a:t>
              </a:r>
              <a:endParaRPr lang="en-US" sz="700">
                <a:solidFill>
                  <a:schemeClr val="tx2"/>
                </a:solidFill>
                <a:latin typeface="Segoe UI"/>
              </a:endParaRPr>
            </a:p>
          </p:txBody>
        </p:sp>
        <p:sp>
          <p:nvSpPr>
            <p:cNvPr id="60" name="Freeform 8">
              <a:extLst>
                <a:ext uri="{FF2B5EF4-FFF2-40B4-BE49-F238E27FC236}">
                  <a16:creationId xmlns:a16="http://schemas.microsoft.com/office/drawing/2014/main" id="{406E2A47-0937-4325-9A07-8512AE9D68CB}"/>
                </a:ext>
              </a:extLst>
            </p:cNvPr>
            <p:cNvSpPr>
              <a:spLocks/>
            </p:cNvSpPr>
            <p:nvPr/>
          </p:nvSpPr>
          <p:spPr bwMode="auto">
            <a:xfrm>
              <a:off x="2032425" y="3447109"/>
              <a:ext cx="156919" cy="162047"/>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1823 w 10000"/>
                <a:gd name="connsiteY7" fmla="*/ 2634 h 10000"/>
                <a:gd name="connsiteX8" fmla="*/ 3019 w 10000"/>
                <a:gd name="connsiteY8" fmla="*/ 1580 h 10000"/>
                <a:gd name="connsiteX9" fmla="*/ 3467 w 10000"/>
                <a:gd name="connsiteY9" fmla="*/ 702 h 10000"/>
                <a:gd name="connsiteX10" fmla="*/ 4065 w 10000"/>
                <a:gd name="connsiteY10" fmla="*/ 176 h 10000"/>
                <a:gd name="connsiteX11" fmla="*/ 5706 w 10000"/>
                <a:gd name="connsiteY11" fmla="*/ 702 h 10000"/>
                <a:gd name="connsiteX12" fmla="*/ 6454 w 10000"/>
                <a:gd name="connsiteY12" fmla="*/ 351 h 10000"/>
                <a:gd name="connsiteX13" fmla="*/ 9141 w 10000"/>
                <a:gd name="connsiteY13" fmla="*/ 176 h 10000"/>
                <a:gd name="connsiteX14" fmla="*/ 9888 w 10000"/>
                <a:gd name="connsiteY14" fmla="*/ 526 h 10000"/>
                <a:gd name="connsiteX15" fmla="*/ 9888 w 10000"/>
                <a:gd name="connsiteY15" fmla="*/ 1405 h 10000"/>
                <a:gd name="connsiteX16" fmla="*/ 9441 w 10000"/>
                <a:gd name="connsiteY16" fmla="*/ 2281 h 10000"/>
                <a:gd name="connsiteX17" fmla="*/ 9292 w 10000"/>
                <a:gd name="connsiteY17" fmla="*/ 4038 h 10000"/>
                <a:gd name="connsiteX18" fmla="*/ 8993 w 10000"/>
                <a:gd name="connsiteY18" fmla="*/ 4914 h 10000"/>
                <a:gd name="connsiteX19" fmla="*/ 6454 w 10000"/>
                <a:gd name="connsiteY19" fmla="*/ 8074 h 10000"/>
                <a:gd name="connsiteX20" fmla="*/ 5407 w 10000"/>
                <a:gd name="connsiteY20" fmla="*/ 9127 h 10000"/>
                <a:gd name="connsiteX21" fmla="*/ 5110 w 10000"/>
                <a:gd name="connsiteY21" fmla="*/ 9654 h 10000"/>
                <a:gd name="connsiteX22" fmla="*/ 4929 w 10000"/>
                <a:gd name="connsiteY22" fmla="*/ 9950 h 10000"/>
                <a:gd name="connsiteX23" fmla="*/ 4160 w 10000"/>
                <a:gd name="connsiteY23" fmla="*/ 9679 h 10000"/>
                <a:gd name="connsiteX24" fmla="*/ 2158 w 10000"/>
                <a:gd name="connsiteY24" fmla="*/ 8856 h 10000"/>
                <a:gd name="connsiteX25" fmla="*/ 1483 w 10000"/>
                <a:gd name="connsiteY25" fmla="*/ 8012 h 10000"/>
                <a:gd name="connsiteX26" fmla="*/ 1207 w 10000"/>
                <a:gd name="connsiteY26"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019 w 10000"/>
                <a:gd name="connsiteY7" fmla="*/ 1580 h 10000"/>
                <a:gd name="connsiteX8" fmla="*/ 3467 w 10000"/>
                <a:gd name="connsiteY8" fmla="*/ 702 h 10000"/>
                <a:gd name="connsiteX9" fmla="*/ 4065 w 10000"/>
                <a:gd name="connsiteY9" fmla="*/ 176 h 10000"/>
                <a:gd name="connsiteX10" fmla="*/ 5706 w 10000"/>
                <a:gd name="connsiteY10" fmla="*/ 702 h 10000"/>
                <a:gd name="connsiteX11" fmla="*/ 6454 w 10000"/>
                <a:gd name="connsiteY11" fmla="*/ 351 h 10000"/>
                <a:gd name="connsiteX12" fmla="*/ 9141 w 10000"/>
                <a:gd name="connsiteY12" fmla="*/ 176 h 10000"/>
                <a:gd name="connsiteX13" fmla="*/ 9888 w 10000"/>
                <a:gd name="connsiteY13" fmla="*/ 526 h 10000"/>
                <a:gd name="connsiteX14" fmla="*/ 9888 w 10000"/>
                <a:gd name="connsiteY14" fmla="*/ 1405 h 10000"/>
                <a:gd name="connsiteX15" fmla="*/ 9441 w 10000"/>
                <a:gd name="connsiteY15" fmla="*/ 2281 h 10000"/>
                <a:gd name="connsiteX16" fmla="*/ 9292 w 10000"/>
                <a:gd name="connsiteY16" fmla="*/ 4038 h 10000"/>
                <a:gd name="connsiteX17" fmla="*/ 8993 w 10000"/>
                <a:gd name="connsiteY17" fmla="*/ 4914 h 10000"/>
                <a:gd name="connsiteX18" fmla="*/ 6454 w 10000"/>
                <a:gd name="connsiteY18" fmla="*/ 8074 h 10000"/>
                <a:gd name="connsiteX19" fmla="*/ 5407 w 10000"/>
                <a:gd name="connsiteY19" fmla="*/ 9127 h 10000"/>
                <a:gd name="connsiteX20" fmla="*/ 5110 w 10000"/>
                <a:gd name="connsiteY20" fmla="*/ 9654 h 10000"/>
                <a:gd name="connsiteX21" fmla="*/ 4929 w 10000"/>
                <a:gd name="connsiteY21" fmla="*/ 9950 h 10000"/>
                <a:gd name="connsiteX22" fmla="*/ 4160 w 10000"/>
                <a:gd name="connsiteY22" fmla="*/ 9679 h 10000"/>
                <a:gd name="connsiteX23" fmla="*/ 2158 w 10000"/>
                <a:gd name="connsiteY23" fmla="*/ 8856 h 10000"/>
                <a:gd name="connsiteX24" fmla="*/ 1483 w 10000"/>
                <a:gd name="connsiteY24" fmla="*/ 8012 h 10000"/>
                <a:gd name="connsiteX25" fmla="*/ 1207 w 10000"/>
                <a:gd name="connsiteY25"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5706 w 10000"/>
                <a:gd name="connsiteY9" fmla="*/ 702 h 10000"/>
                <a:gd name="connsiteX10" fmla="*/ 6454 w 10000"/>
                <a:gd name="connsiteY10" fmla="*/ 351 h 10000"/>
                <a:gd name="connsiteX11" fmla="*/ 9141 w 10000"/>
                <a:gd name="connsiteY11" fmla="*/ 176 h 10000"/>
                <a:gd name="connsiteX12" fmla="*/ 9888 w 10000"/>
                <a:gd name="connsiteY12" fmla="*/ 526 h 10000"/>
                <a:gd name="connsiteX13" fmla="*/ 9888 w 10000"/>
                <a:gd name="connsiteY13" fmla="*/ 1405 h 10000"/>
                <a:gd name="connsiteX14" fmla="*/ 9441 w 10000"/>
                <a:gd name="connsiteY14" fmla="*/ 2281 h 10000"/>
                <a:gd name="connsiteX15" fmla="*/ 9292 w 10000"/>
                <a:gd name="connsiteY15" fmla="*/ 4038 h 10000"/>
                <a:gd name="connsiteX16" fmla="*/ 8993 w 10000"/>
                <a:gd name="connsiteY16" fmla="*/ 4914 h 10000"/>
                <a:gd name="connsiteX17" fmla="*/ 6454 w 10000"/>
                <a:gd name="connsiteY17" fmla="*/ 8074 h 10000"/>
                <a:gd name="connsiteX18" fmla="*/ 5407 w 10000"/>
                <a:gd name="connsiteY18" fmla="*/ 9127 h 10000"/>
                <a:gd name="connsiteX19" fmla="*/ 5110 w 10000"/>
                <a:gd name="connsiteY19" fmla="*/ 9654 h 10000"/>
                <a:gd name="connsiteX20" fmla="*/ 4929 w 10000"/>
                <a:gd name="connsiteY20" fmla="*/ 9950 h 10000"/>
                <a:gd name="connsiteX21" fmla="*/ 4160 w 10000"/>
                <a:gd name="connsiteY21" fmla="*/ 9679 h 10000"/>
                <a:gd name="connsiteX22" fmla="*/ 2158 w 10000"/>
                <a:gd name="connsiteY22" fmla="*/ 8856 h 10000"/>
                <a:gd name="connsiteX23" fmla="*/ 1483 w 10000"/>
                <a:gd name="connsiteY23" fmla="*/ 8012 h 10000"/>
                <a:gd name="connsiteX24" fmla="*/ 1207 w 10000"/>
                <a:gd name="connsiteY24"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6454 w 10000"/>
                <a:gd name="connsiteY9" fmla="*/ 351 h 10000"/>
                <a:gd name="connsiteX10" fmla="*/ 9141 w 10000"/>
                <a:gd name="connsiteY10" fmla="*/ 176 h 10000"/>
                <a:gd name="connsiteX11" fmla="*/ 9888 w 10000"/>
                <a:gd name="connsiteY11" fmla="*/ 526 h 10000"/>
                <a:gd name="connsiteX12" fmla="*/ 9888 w 10000"/>
                <a:gd name="connsiteY12" fmla="*/ 1405 h 10000"/>
                <a:gd name="connsiteX13" fmla="*/ 9441 w 10000"/>
                <a:gd name="connsiteY13" fmla="*/ 2281 h 10000"/>
                <a:gd name="connsiteX14" fmla="*/ 9292 w 10000"/>
                <a:gd name="connsiteY14" fmla="*/ 4038 h 10000"/>
                <a:gd name="connsiteX15" fmla="*/ 8993 w 10000"/>
                <a:gd name="connsiteY15" fmla="*/ 4914 h 10000"/>
                <a:gd name="connsiteX16" fmla="*/ 6454 w 10000"/>
                <a:gd name="connsiteY16" fmla="*/ 8074 h 10000"/>
                <a:gd name="connsiteX17" fmla="*/ 5407 w 10000"/>
                <a:gd name="connsiteY17" fmla="*/ 9127 h 10000"/>
                <a:gd name="connsiteX18" fmla="*/ 5110 w 10000"/>
                <a:gd name="connsiteY18" fmla="*/ 9654 h 10000"/>
                <a:gd name="connsiteX19" fmla="*/ 4929 w 10000"/>
                <a:gd name="connsiteY19" fmla="*/ 9950 h 10000"/>
                <a:gd name="connsiteX20" fmla="*/ 4160 w 10000"/>
                <a:gd name="connsiteY20" fmla="*/ 9679 h 10000"/>
                <a:gd name="connsiteX21" fmla="*/ 2158 w 10000"/>
                <a:gd name="connsiteY21" fmla="*/ 8856 h 10000"/>
                <a:gd name="connsiteX22" fmla="*/ 1483 w 10000"/>
                <a:gd name="connsiteY22" fmla="*/ 8012 h 10000"/>
                <a:gd name="connsiteX23" fmla="*/ 1207 w 10000"/>
                <a:gd name="connsiteY23" fmla="*/ 7790 h 10000"/>
                <a:gd name="connsiteX0" fmla="*/ 1207 w 9892"/>
                <a:gd name="connsiteY0" fmla="*/ 7790 h 10000"/>
                <a:gd name="connsiteX1" fmla="*/ 2209 w 9892"/>
                <a:gd name="connsiteY1" fmla="*/ 7169 h 10000"/>
                <a:gd name="connsiteX2" fmla="*/ 2073 w 9892"/>
                <a:gd name="connsiteY2" fmla="*/ 6007 h 10000"/>
                <a:gd name="connsiteX3" fmla="*/ 1258 w 9892"/>
                <a:gd name="connsiteY3" fmla="*/ 4927 h 10000"/>
                <a:gd name="connsiteX4" fmla="*/ 780 w 9892"/>
                <a:gd name="connsiteY4" fmla="*/ 4213 h 10000"/>
                <a:gd name="connsiteX5" fmla="*/ 66 w 9892"/>
                <a:gd name="connsiteY5" fmla="*/ 3606 h 10000"/>
                <a:gd name="connsiteX6" fmla="*/ 289 w 9892"/>
                <a:gd name="connsiteY6" fmla="*/ 3809 h 10000"/>
                <a:gd name="connsiteX7" fmla="*/ 3467 w 9892"/>
                <a:gd name="connsiteY7" fmla="*/ 702 h 10000"/>
                <a:gd name="connsiteX8" fmla="*/ 4065 w 9892"/>
                <a:gd name="connsiteY8" fmla="*/ 176 h 10000"/>
                <a:gd name="connsiteX9" fmla="*/ 6454 w 9892"/>
                <a:gd name="connsiteY9" fmla="*/ 351 h 10000"/>
                <a:gd name="connsiteX10" fmla="*/ 9141 w 9892"/>
                <a:gd name="connsiteY10" fmla="*/ 176 h 10000"/>
                <a:gd name="connsiteX11" fmla="*/ 9888 w 9892"/>
                <a:gd name="connsiteY11" fmla="*/ 526 h 10000"/>
                <a:gd name="connsiteX12" fmla="*/ 9441 w 9892"/>
                <a:gd name="connsiteY12" fmla="*/ 2281 h 10000"/>
                <a:gd name="connsiteX13" fmla="*/ 9292 w 9892"/>
                <a:gd name="connsiteY13" fmla="*/ 4038 h 10000"/>
                <a:gd name="connsiteX14" fmla="*/ 8993 w 9892"/>
                <a:gd name="connsiteY14" fmla="*/ 4914 h 10000"/>
                <a:gd name="connsiteX15" fmla="*/ 6454 w 9892"/>
                <a:gd name="connsiteY15" fmla="*/ 8074 h 10000"/>
                <a:gd name="connsiteX16" fmla="*/ 5407 w 9892"/>
                <a:gd name="connsiteY16" fmla="*/ 9127 h 10000"/>
                <a:gd name="connsiteX17" fmla="*/ 5110 w 9892"/>
                <a:gd name="connsiteY17" fmla="*/ 9654 h 10000"/>
                <a:gd name="connsiteX18" fmla="*/ 4929 w 9892"/>
                <a:gd name="connsiteY18" fmla="*/ 9950 h 10000"/>
                <a:gd name="connsiteX19" fmla="*/ 4160 w 9892"/>
                <a:gd name="connsiteY19" fmla="*/ 9679 h 10000"/>
                <a:gd name="connsiteX20" fmla="*/ 2158 w 9892"/>
                <a:gd name="connsiteY20" fmla="*/ 8856 h 10000"/>
                <a:gd name="connsiteX21" fmla="*/ 1483 w 9892"/>
                <a:gd name="connsiteY21" fmla="*/ 8012 h 10000"/>
                <a:gd name="connsiteX22" fmla="*/ 1207 w 9892"/>
                <a:gd name="connsiteY22"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9393 w 10000"/>
                <a:gd name="connsiteY13" fmla="*/ 4038 h 10000"/>
                <a:gd name="connsiteX14" fmla="*/ 6524 w 10000"/>
                <a:gd name="connsiteY14" fmla="*/ 8074 h 10000"/>
                <a:gd name="connsiteX15" fmla="*/ 5466 w 10000"/>
                <a:gd name="connsiteY15" fmla="*/ 9127 h 10000"/>
                <a:gd name="connsiteX16" fmla="*/ 5166 w 10000"/>
                <a:gd name="connsiteY16" fmla="*/ 9654 h 10000"/>
                <a:gd name="connsiteX17" fmla="*/ 4983 w 10000"/>
                <a:gd name="connsiteY17" fmla="*/ 9950 h 10000"/>
                <a:gd name="connsiteX18" fmla="*/ 4205 w 10000"/>
                <a:gd name="connsiteY18" fmla="*/ 9679 h 10000"/>
                <a:gd name="connsiteX19" fmla="*/ 2182 w 10000"/>
                <a:gd name="connsiteY19" fmla="*/ 8856 h 10000"/>
                <a:gd name="connsiteX20" fmla="*/ 1499 w 10000"/>
                <a:gd name="connsiteY20" fmla="*/ 8012 h 10000"/>
                <a:gd name="connsiteX21" fmla="*/ 1220 w 10000"/>
                <a:gd name="connsiteY21"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6524 w 10000"/>
                <a:gd name="connsiteY13" fmla="*/ 8074 h 10000"/>
                <a:gd name="connsiteX14" fmla="*/ 5466 w 10000"/>
                <a:gd name="connsiteY14" fmla="*/ 9127 h 10000"/>
                <a:gd name="connsiteX15" fmla="*/ 5166 w 10000"/>
                <a:gd name="connsiteY15" fmla="*/ 9654 h 10000"/>
                <a:gd name="connsiteX16" fmla="*/ 4983 w 10000"/>
                <a:gd name="connsiteY16" fmla="*/ 9950 h 10000"/>
                <a:gd name="connsiteX17" fmla="*/ 4205 w 10000"/>
                <a:gd name="connsiteY17" fmla="*/ 9679 h 10000"/>
                <a:gd name="connsiteX18" fmla="*/ 2182 w 10000"/>
                <a:gd name="connsiteY18" fmla="*/ 8856 h 10000"/>
                <a:gd name="connsiteX19" fmla="*/ 1499 w 10000"/>
                <a:gd name="connsiteY19" fmla="*/ 8012 h 10000"/>
                <a:gd name="connsiteX20" fmla="*/ 1220 w 10000"/>
                <a:gd name="connsiteY20" fmla="*/ 7790 h 10000"/>
                <a:gd name="connsiteX0" fmla="*/ 1220 w 9996"/>
                <a:gd name="connsiteY0" fmla="*/ 7790 h 10000"/>
                <a:gd name="connsiteX1" fmla="*/ 2233 w 9996"/>
                <a:gd name="connsiteY1" fmla="*/ 7169 h 10000"/>
                <a:gd name="connsiteX2" fmla="*/ 2096 w 9996"/>
                <a:gd name="connsiteY2" fmla="*/ 6007 h 10000"/>
                <a:gd name="connsiteX3" fmla="*/ 1272 w 9996"/>
                <a:gd name="connsiteY3" fmla="*/ 4927 h 10000"/>
                <a:gd name="connsiteX4" fmla="*/ 789 w 9996"/>
                <a:gd name="connsiteY4" fmla="*/ 4213 h 10000"/>
                <a:gd name="connsiteX5" fmla="*/ 67 w 9996"/>
                <a:gd name="connsiteY5" fmla="*/ 3606 h 10000"/>
                <a:gd name="connsiteX6" fmla="*/ 292 w 9996"/>
                <a:gd name="connsiteY6" fmla="*/ 3809 h 10000"/>
                <a:gd name="connsiteX7" fmla="*/ 3505 w 9996"/>
                <a:gd name="connsiteY7" fmla="*/ 702 h 10000"/>
                <a:gd name="connsiteX8" fmla="*/ 4109 w 9996"/>
                <a:gd name="connsiteY8" fmla="*/ 176 h 10000"/>
                <a:gd name="connsiteX9" fmla="*/ 6524 w 9996"/>
                <a:gd name="connsiteY9" fmla="*/ 351 h 10000"/>
                <a:gd name="connsiteX10" fmla="*/ 9241 w 9996"/>
                <a:gd name="connsiteY10" fmla="*/ 176 h 10000"/>
                <a:gd name="connsiteX11" fmla="*/ 9996 w 9996"/>
                <a:gd name="connsiteY11" fmla="*/ 526 h 10000"/>
                <a:gd name="connsiteX12" fmla="*/ 6524 w 9996"/>
                <a:gd name="connsiteY12" fmla="*/ 8074 h 10000"/>
                <a:gd name="connsiteX13" fmla="*/ 5466 w 9996"/>
                <a:gd name="connsiteY13" fmla="*/ 9127 h 10000"/>
                <a:gd name="connsiteX14" fmla="*/ 5166 w 9996"/>
                <a:gd name="connsiteY14" fmla="*/ 9654 h 10000"/>
                <a:gd name="connsiteX15" fmla="*/ 4983 w 9996"/>
                <a:gd name="connsiteY15" fmla="*/ 9950 h 10000"/>
                <a:gd name="connsiteX16" fmla="*/ 4205 w 9996"/>
                <a:gd name="connsiteY16" fmla="*/ 9679 h 10000"/>
                <a:gd name="connsiteX17" fmla="*/ 2182 w 9996"/>
                <a:gd name="connsiteY17" fmla="*/ 8856 h 10000"/>
                <a:gd name="connsiteX18" fmla="*/ 1499 w 9996"/>
                <a:gd name="connsiteY18" fmla="*/ 8012 h 10000"/>
                <a:gd name="connsiteX19" fmla="*/ 1220 w 9996"/>
                <a:gd name="connsiteY19" fmla="*/ 7790 h 10000"/>
                <a:gd name="connsiteX0" fmla="*/ 1220 w 9245"/>
                <a:gd name="connsiteY0" fmla="*/ 7790 h 10000"/>
                <a:gd name="connsiteX1" fmla="*/ 2234 w 9245"/>
                <a:gd name="connsiteY1" fmla="*/ 7169 h 10000"/>
                <a:gd name="connsiteX2" fmla="*/ 2097 w 9245"/>
                <a:gd name="connsiteY2" fmla="*/ 6007 h 10000"/>
                <a:gd name="connsiteX3" fmla="*/ 1273 w 9245"/>
                <a:gd name="connsiteY3" fmla="*/ 4927 h 10000"/>
                <a:gd name="connsiteX4" fmla="*/ 789 w 9245"/>
                <a:gd name="connsiteY4" fmla="*/ 4213 h 10000"/>
                <a:gd name="connsiteX5" fmla="*/ 67 w 9245"/>
                <a:gd name="connsiteY5" fmla="*/ 3606 h 10000"/>
                <a:gd name="connsiteX6" fmla="*/ 292 w 9245"/>
                <a:gd name="connsiteY6" fmla="*/ 3809 h 10000"/>
                <a:gd name="connsiteX7" fmla="*/ 3506 w 9245"/>
                <a:gd name="connsiteY7" fmla="*/ 702 h 10000"/>
                <a:gd name="connsiteX8" fmla="*/ 4111 w 9245"/>
                <a:gd name="connsiteY8" fmla="*/ 176 h 10000"/>
                <a:gd name="connsiteX9" fmla="*/ 6527 w 9245"/>
                <a:gd name="connsiteY9" fmla="*/ 351 h 10000"/>
                <a:gd name="connsiteX10" fmla="*/ 9245 w 9245"/>
                <a:gd name="connsiteY10" fmla="*/ 176 h 10000"/>
                <a:gd name="connsiteX11" fmla="*/ 6527 w 9245"/>
                <a:gd name="connsiteY11" fmla="*/ 8074 h 10000"/>
                <a:gd name="connsiteX12" fmla="*/ 5468 w 9245"/>
                <a:gd name="connsiteY12" fmla="*/ 9127 h 10000"/>
                <a:gd name="connsiteX13" fmla="*/ 5168 w 9245"/>
                <a:gd name="connsiteY13" fmla="*/ 9654 h 10000"/>
                <a:gd name="connsiteX14" fmla="*/ 4985 w 9245"/>
                <a:gd name="connsiteY14" fmla="*/ 9950 h 10000"/>
                <a:gd name="connsiteX15" fmla="*/ 4207 w 9245"/>
                <a:gd name="connsiteY15" fmla="*/ 9679 h 10000"/>
                <a:gd name="connsiteX16" fmla="*/ 2183 w 9245"/>
                <a:gd name="connsiteY16" fmla="*/ 8856 h 10000"/>
                <a:gd name="connsiteX17" fmla="*/ 1500 w 9245"/>
                <a:gd name="connsiteY17" fmla="*/ 8012 h 10000"/>
                <a:gd name="connsiteX18" fmla="*/ 1220 w 9245"/>
                <a:gd name="connsiteY18" fmla="*/ 7790 h 10000"/>
                <a:gd name="connsiteX0" fmla="*/ 1320 w 10000"/>
                <a:gd name="connsiteY0" fmla="*/ 8218 h 10428"/>
                <a:gd name="connsiteX1" fmla="*/ 2416 w 10000"/>
                <a:gd name="connsiteY1" fmla="*/ 7597 h 10428"/>
                <a:gd name="connsiteX2" fmla="*/ 2268 w 10000"/>
                <a:gd name="connsiteY2" fmla="*/ 6435 h 10428"/>
                <a:gd name="connsiteX3" fmla="*/ 1377 w 10000"/>
                <a:gd name="connsiteY3" fmla="*/ 5355 h 10428"/>
                <a:gd name="connsiteX4" fmla="*/ 853 w 10000"/>
                <a:gd name="connsiteY4" fmla="*/ 4641 h 10428"/>
                <a:gd name="connsiteX5" fmla="*/ 72 w 10000"/>
                <a:gd name="connsiteY5" fmla="*/ 4034 h 10428"/>
                <a:gd name="connsiteX6" fmla="*/ 316 w 10000"/>
                <a:gd name="connsiteY6" fmla="*/ 4237 h 10428"/>
                <a:gd name="connsiteX7" fmla="*/ 3792 w 10000"/>
                <a:gd name="connsiteY7" fmla="*/ 1130 h 10428"/>
                <a:gd name="connsiteX8" fmla="*/ 4447 w 10000"/>
                <a:gd name="connsiteY8" fmla="*/ 604 h 10428"/>
                <a:gd name="connsiteX9" fmla="*/ 10000 w 10000"/>
                <a:gd name="connsiteY9" fmla="*/ 604 h 10428"/>
                <a:gd name="connsiteX10" fmla="*/ 7060 w 10000"/>
                <a:gd name="connsiteY10" fmla="*/ 8502 h 10428"/>
                <a:gd name="connsiteX11" fmla="*/ 5915 w 10000"/>
                <a:gd name="connsiteY11" fmla="*/ 9555 h 10428"/>
                <a:gd name="connsiteX12" fmla="*/ 5590 w 10000"/>
                <a:gd name="connsiteY12" fmla="*/ 10082 h 10428"/>
                <a:gd name="connsiteX13" fmla="*/ 5392 w 10000"/>
                <a:gd name="connsiteY13" fmla="*/ 10378 h 10428"/>
                <a:gd name="connsiteX14" fmla="*/ 4551 w 10000"/>
                <a:gd name="connsiteY14" fmla="*/ 10107 h 10428"/>
                <a:gd name="connsiteX15" fmla="*/ 2361 w 10000"/>
                <a:gd name="connsiteY15" fmla="*/ 9284 h 10428"/>
                <a:gd name="connsiteX16" fmla="*/ 1622 w 10000"/>
                <a:gd name="connsiteY16" fmla="*/ 8440 h 10428"/>
                <a:gd name="connsiteX17" fmla="*/ 1320 w 10000"/>
                <a:gd name="connsiteY17" fmla="*/ 8218 h 10428"/>
                <a:gd name="connsiteX0" fmla="*/ 1320 w 7060"/>
                <a:gd name="connsiteY0" fmla="*/ 7614 h 9824"/>
                <a:gd name="connsiteX1" fmla="*/ 2416 w 7060"/>
                <a:gd name="connsiteY1" fmla="*/ 6993 h 9824"/>
                <a:gd name="connsiteX2" fmla="*/ 2268 w 7060"/>
                <a:gd name="connsiteY2" fmla="*/ 5831 h 9824"/>
                <a:gd name="connsiteX3" fmla="*/ 1377 w 7060"/>
                <a:gd name="connsiteY3" fmla="*/ 4751 h 9824"/>
                <a:gd name="connsiteX4" fmla="*/ 853 w 7060"/>
                <a:gd name="connsiteY4" fmla="*/ 4037 h 9824"/>
                <a:gd name="connsiteX5" fmla="*/ 72 w 7060"/>
                <a:gd name="connsiteY5" fmla="*/ 3430 h 9824"/>
                <a:gd name="connsiteX6" fmla="*/ 316 w 7060"/>
                <a:gd name="connsiteY6" fmla="*/ 3633 h 9824"/>
                <a:gd name="connsiteX7" fmla="*/ 3792 w 7060"/>
                <a:gd name="connsiteY7" fmla="*/ 526 h 9824"/>
                <a:gd name="connsiteX8" fmla="*/ 4447 w 7060"/>
                <a:gd name="connsiteY8" fmla="*/ 0 h 9824"/>
                <a:gd name="connsiteX9" fmla="*/ 7060 w 7060"/>
                <a:gd name="connsiteY9" fmla="*/ 7898 h 9824"/>
                <a:gd name="connsiteX10" fmla="*/ 5915 w 7060"/>
                <a:gd name="connsiteY10" fmla="*/ 8951 h 9824"/>
                <a:gd name="connsiteX11" fmla="*/ 5590 w 7060"/>
                <a:gd name="connsiteY11" fmla="*/ 9478 h 9824"/>
                <a:gd name="connsiteX12" fmla="*/ 5392 w 7060"/>
                <a:gd name="connsiteY12" fmla="*/ 9774 h 9824"/>
                <a:gd name="connsiteX13" fmla="*/ 4551 w 7060"/>
                <a:gd name="connsiteY13" fmla="*/ 9503 h 9824"/>
                <a:gd name="connsiteX14" fmla="*/ 2361 w 7060"/>
                <a:gd name="connsiteY14" fmla="*/ 8680 h 9824"/>
                <a:gd name="connsiteX15" fmla="*/ 1622 w 7060"/>
                <a:gd name="connsiteY15" fmla="*/ 7836 h 9824"/>
                <a:gd name="connsiteX16" fmla="*/ 1320 w 7060"/>
                <a:gd name="connsiteY16" fmla="*/ 7614 h 9824"/>
                <a:gd name="connsiteX0" fmla="*/ 1869 w 9999"/>
                <a:gd name="connsiteY0" fmla="*/ 7215 h 9464"/>
                <a:gd name="connsiteX1" fmla="*/ 3421 w 9999"/>
                <a:gd name="connsiteY1" fmla="*/ 6583 h 9464"/>
                <a:gd name="connsiteX2" fmla="*/ 3211 w 9999"/>
                <a:gd name="connsiteY2" fmla="*/ 5400 h 9464"/>
                <a:gd name="connsiteX3" fmla="*/ 1949 w 9999"/>
                <a:gd name="connsiteY3" fmla="*/ 4301 h 9464"/>
                <a:gd name="connsiteX4" fmla="*/ 1207 w 9999"/>
                <a:gd name="connsiteY4" fmla="*/ 3574 h 9464"/>
                <a:gd name="connsiteX5" fmla="*/ 101 w 9999"/>
                <a:gd name="connsiteY5" fmla="*/ 2956 h 9464"/>
                <a:gd name="connsiteX6" fmla="*/ 447 w 9999"/>
                <a:gd name="connsiteY6" fmla="*/ 3163 h 9464"/>
                <a:gd name="connsiteX7" fmla="*/ 5370 w 9999"/>
                <a:gd name="connsiteY7" fmla="*/ 0 h 9464"/>
                <a:gd name="connsiteX8" fmla="*/ 9999 w 9999"/>
                <a:gd name="connsiteY8" fmla="*/ 7504 h 9464"/>
                <a:gd name="connsiteX9" fmla="*/ 8377 w 9999"/>
                <a:gd name="connsiteY9" fmla="*/ 8576 h 9464"/>
                <a:gd name="connsiteX10" fmla="*/ 7917 w 9999"/>
                <a:gd name="connsiteY10" fmla="*/ 9113 h 9464"/>
                <a:gd name="connsiteX11" fmla="*/ 7636 w 9999"/>
                <a:gd name="connsiteY11" fmla="*/ 9414 h 9464"/>
                <a:gd name="connsiteX12" fmla="*/ 6445 w 9999"/>
                <a:gd name="connsiteY12" fmla="*/ 9138 h 9464"/>
                <a:gd name="connsiteX13" fmla="*/ 3343 w 9999"/>
                <a:gd name="connsiteY13" fmla="*/ 8301 h 9464"/>
                <a:gd name="connsiteX14" fmla="*/ 2296 w 9999"/>
                <a:gd name="connsiteY14" fmla="*/ 7441 h 9464"/>
                <a:gd name="connsiteX15" fmla="*/ 1869 w 9999"/>
                <a:gd name="connsiteY15" fmla="*/ 7215 h 9464"/>
                <a:gd name="connsiteX0" fmla="*/ 1869 w 10000"/>
                <a:gd name="connsiteY0" fmla="*/ 4551 h 6927"/>
                <a:gd name="connsiteX1" fmla="*/ 3421 w 10000"/>
                <a:gd name="connsiteY1" fmla="*/ 3883 h 6927"/>
                <a:gd name="connsiteX2" fmla="*/ 3211 w 10000"/>
                <a:gd name="connsiteY2" fmla="*/ 2633 h 6927"/>
                <a:gd name="connsiteX3" fmla="*/ 1949 w 10000"/>
                <a:gd name="connsiteY3" fmla="*/ 1472 h 6927"/>
                <a:gd name="connsiteX4" fmla="*/ 1207 w 10000"/>
                <a:gd name="connsiteY4" fmla="*/ 703 h 6927"/>
                <a:gd name="connsiteX5" fmla="*/ 101 w 10000"/>
                <a:gd name="connsiteY5" fmla="*/ 50 h 6927"/>
                <a:gd name="connsiteX6" fmla="*/ 447 w 10000"/>
                <a:gd name="connsiteY6" fmla="*/ 269 h 6927"/>
                <a:gd name="connsiteX7" fmla="*/ 10000 w 10000"/>
                <a:gd name="connsiteY7" fmla="*/ 4856 h 6927"/>
                <a:gd name="connsiteX8" fmla="*/ 8378 w 10000"/>
                <a:gd name="connsiteY8" fmla="*/ 5989 h 6927"/>
                <a:gd name="connsiteX9" fmla="*/ 7918 w 10000"/>
                <a:gd name="connsiteY9" fmla="*/ 6556 h 6927"/>
                <a:gd name="connsiteX10" fmla="*/ 7637 w 10000"/>
                <a:gd name="connsiteY10" fmla="*/ 6874 h 6927"/>
                <a:gd name="connsiteX11" fmla="*/ 6446 w 10000"/>
                <a:gd name="connsiteY11" fmla="*/ 6583 h 6927"/>
                <a:gd name="connsiteX12" fmla="*/ 3343 w 10000"/>
                <a:gd name="connsiteY12" fmla="*/ 5698 h 6927"/>
                <a:gd name="connsiteX13" fmla="*/ 2296 w 10000"/>
                <a:gd name="connsiteY13" fmla="*/ 4789 h 6927"/>
                <a:gd name="connsiteX14" fmla="*/ 1869 w 10000"/>
                <a:gd name="connsiteY14" fmla="*/ 4551 h 6927"/>
                <a:gd name="connsiteX0" fmla="*/ 1869 w 8378"/>
                <a:gd name="connsiteY0" fmla="*/ 6570 h 10000"/>
                <a:gd name="connsiteX1" fmla="*/ 3421 w 8378"/>
                <a:gd name="connsiteY1" fmla="*/ 5606 h 10000"/>
                <a:gd name="connsiteX2" fmla="*/ 3211 w 8378"/>
                <a:gd name="connsiteY2" fmla="*/ 3801 h 10000"/>
                <a:gd name="connsiteX3" fmla="*/ 1949 w 8378"/>
                <a:gd name="connsiteY3" fmla="*/ 2125 h 10000"/>
                <a:gd name="connsiteX4" fmla="*/ 1207 w 8378"/>
                <a:gd name="connsiteY4" fmla="*/ 1015 h 10000"/>
                <a:gd name="connsiteX5" fmla="*/ 101 w 8378"/>
                <a:gd name="connsiteY5" fmla="*/ 72 h 10000"/>
                <a:gd name="connsiteX6" fmla="*/ 447 w 8378"/>
                <a:gd name="connsiteY6" fmla="*/ 388 h 10000"/>
                <a:gd name="connsiteX7" fmla="*/ 8378 w 8378"/>
                <a:gd name="connsiteY7" fmla="*/ 8646 h 10000"/>
                <a:gd name="connsiteX8" fmla="*/ 7918 w 8378"/>
                <a:gd name="connsiteY8" fmla="*/ 9464 h 10000"/>
                <a:gd name="connsiteX9" fmla="*/ 7637 w 8378"/>
                <a:gd name="connsiteY9" fmla="*/ 9923 h 10000"/>
                <a:gd name="connsiteX10" fmla="*/ 6446 w 8378"/>
                <a:gd name="connsiteY10" fmla="*/ 9503 h 10000"/>
                <a:gd name="connsiteX11" fmla="*/ 3343 w 8378"/>
                <a:gd name="connsiteY11" fmla="*/ 8226 h 10000"/>
                <a:gd name="connsiteX12" fmla="*/ 2296 w 8378"/>
                <a:gd name="connsiteY12" fmla="*/ 6914 h 10000"/>
                <a:gd name="connsiteX13" fmla="*/ 1869 w 8378"/>
                <a:gd name="connsiteY13" fmla="*/ 6570 h 10000"/>
                <a:gd name="connsiteX0" fmla="*/ 10000 w 15827"/>
                <a:gd name="connsiteY0" fmla="*/ 8646 h 14289"/>
                <a:gd name="connsiteX1" fmla="*/ 9451 w 15827"/>
                <a:gd name="connsiteY1" fmla="*/ 9464 h 14289"/>
                <a:gd name="connsiteX2" fmla="*/ 9116 w 15827"/>
                <a:gd name="connsiteY2" fmla="*/ 9923 h 14289"/>
                <a:gd name="connsiteX3" fmla="*/ 7694 w 15827"/>
                <a:gd name="connsiteY3" fmla="*/ 9503 h 14289"/>
                <a:gd name="connsiteX4" fmla="*/ 3990 w 15827"/>
                <a:gd name="connsiteY4" fmla="*/ 8226 h 14289"/>
                <a:gd name="connsiteX5" fmla="*/ 2741 w 15827"/>
                <a:gd name="connsiteY5" fmla="*/ 6914 h 14289"/>
                <a:gd name="connsiteX6" fmla="*/ 2231 w 15827"/>
                <a:gd name="connsiteY6" fmla="*/ 6570 h 14289"/>
                <a:gd name="connsiteX7" fmla="*/ 4083 w 15827"/>
                <a:gd name="connsiteY7" fmla="*/ 5606 h 14289"/>
                <a:gd name="connsiteX8" fmla="*/ 3833 w 15827"/>
                <a:gd name="connsiteY8" fmla="*/ 3801 h 14289"/>
                <a:gd name="connsiteX9" fmla="*/ 2326 w 15827"/>
                <a:gd name="connsiteY9" fmla="*/ 2125 h 14289"/>
                <a:gd name="connsiteX10" fmla="*/ 1441 w 15827"/>
                <a:gd name="connsiteY10" fmla="*/ 1015 h 14289"/>
                <a:gd name="connsiteX11" fmla="*/ 121 w 15827"/>
                <a:gd name="connsiteY11" fmla="*/ 72 h 14289"/>
                <a:gd name="connsiteX12" fmla="*/ 534 w 15827"/>
                <a:gd name="connsiteY12" fmla="*/ 388 h 14289"/>
                <a:gd name="connsiteX13" fmla="*/ 15827 w 15827"/>
                <a:gd name="connsiteY13" fmla="*/ 14289 h 14289"/>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2231 w 10000"/>
                <a:gd name="connsiteY6" fmla="*/ 6570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3901 w 10000"/>
                <a:gd name="connsiteY6" fmla="*/ 3778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10000" y="8646"/>
                  </a:moveTo>
                  <a:cubicBezTo>
                    <a:pt x="10000" y="8920"/>
                    <a:pt x="9723" y="9193"/>
                    <a:pt x="9451" y="9464"/>
                  </a:cubicBezTo>
                  <a:cubicBezTo>
                    <a:pt x="8899" y="10280"/>
                    <a:pt x="10220" y="9923"/>
                    <a:pt x="9116" y="9923"/>
                  </a:cubicBezTo>
                  <a:cubicBezTo>
                    <a:pt x="8287" y="9923"/>
                    <a:pt x="8519" y="9776"/>
                    <a:pt x="7694" y="9503"/>
                  </a:cubicBezTo>
                  <a:cubicBezTo>
                    <a:pt x="6862" y="9503"/>
                    <a:pt x="4638" y="8804"/>
                    <a:pt x="3990" y="8226"/>
                  </a:cubicBezTo>
                  <a:cubicBezTo>
                    <a:pt x="3342" y="7648"/>
                    <a:pt x="4459" y="5827"/>
                    <a:pt x="3803" y="6032"/>
                  </a:cubicBezTo>
                  <a:cubicBezTo>
                    <a:pt x="3836" y="5281"/>
                    <a:pt x="3868" y="4529"/>
                    <a:pt x="3901" y="3778"/>
                  </a:cubicBezTo>
                  <a:cubicBezTo>
                    <a:pt x="3625" y="3507"/>
                    <a:pt x="4359" y="5877"/>
                    <a:pt x="4083" y="5606"/>
                  </a:cubicBezTo>
                  <a:cubicBezTo>
                    <a:pt x="4083" y="5060"/>
                    <a:pt x="4108" y="4348"/>
                    <a:pt x="3833" y="3801"/>
                  </a:cubicBezTo>
                  <a:cubicBezTo>
                    <a:pt x="3282" y="2983"/>
                    <a:pt x="2604" y="3216"/>
                    <a:pt x="2326" y="2125"/>
                  </a:cubicBezTo>
                  <a:cubicBezTo>
                    <a:pt x="2046" y="1855"/>
                    <a:pt x="1806" y="1356"/>
                    <a:pt x="1441" y="1015"/>
                  </a:cubicBezTo>
                  <a:cubicBezTo>
                    <a:pt x="1074" y="673"/>
                    <a:pt x="-432" y="72"/>
                    <a:pt x="121" y="72"/>
                  </a:cubicBezTo>
                  <a:cubicBezTo>
                    <a:pt x="673" y="-201"/>
                    <a:pt x="-14" y="388"/>
                    <a:pt x="534" y="388"/>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61" name="Freeform 5">
              <a:extLst>
                <a:ext uri="{FF2B5EF4-FFF2-40B4-BE49-F238E27FC236}">
                  <a16:creationId xmlns:a16="http://schemas.microsoft.com/office/drawing/2014/main" id="{284F8B7A-38BC-4510-9D25-8F49F86098B2}"/>
                </a:ext>
              </a:extLst>
            </p:cNvPr>
            <p:cNvSpPr>
              <a:spLocks/>
            </p:cNvSpPr>
            <p:nvPr/>
          </p:nvSpPr>
          <p:spPr bwMode="auto">
            <a:xfrm>
              <a:off x="556161" y="4133642"/>
              <a:ext cx="406680" cy="894570"/>
            </a:xfrm>
            <a:custGeom>
              <a:avLst/>
              <a:gdLst>
                <a:gd name="T0" fmla="*/ 0 w 94"/>
                <a:gd name="T1" fmla="*/ 202 h 202"/>
                <a:gd name="T2" fmla="*/ 25 w 94"/>
                <a:gd name="T3" fmla="*/ 167 h 202"/>
                <a:gd name="T4" fmla="*/ 89 w 94"/>
                <a:gd name="T5" fmla="*/ 16 h 202"/>
                <a:gd name="T6" fmla="*/ 90 w 94"/>
                <a:gd name="T7" fmla="*/ 0 h 202"/>
              </a:gdLst>
              <a:ahLst/>
              <a:cxnLst>
                <a:cxn ang="0">
                  <a:pos x="T0" y="T1"/>
                </a:cxn>
                <a:cxn ang="0">
                  <a:pos x="T2" y="T3"/>
                </a:cxn>
                <a:cxn ang="0">
                  <a:pos x="T4" y="T5"/>
                </a:cxn>
                <a:cxn ang="0">
                  <a:pos x="T6" y="T7"/>
                </a:cxn>
              </a:cxnLst>
              <a:rect l="0" t="0" r="r" b="b"/>
              <a:pathLst>
                <a:path w="94" h="202">
                  <a:moveTo>
                    <a:pt x="0" y="202"/>
                  </a:moveTo>
                  <a:cubicBezTo>
                    <a:pt x="14" y="191"/>
                    <a:pt x="17" y="182"/>
                    <a:pt x="25" y="167"/>
                  </a:cubicBezTo>
                  <a:cubicBezTo>
                    <a:pt x="50" y="121"/>
                    <a:pt x="66" y="68"/>
                    <a:pt x="89" y="16"/>
                  </a:cubicBezTo>
                  <a:cubicBezTo>
                    <a:pt x="91" y="11"/>
                    <a:pt x="94" y="2"/>
                    <a:pt x="90"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62" name="Freeform 6">
              <a:extLst>
                <a:ext uri="{FF2B5EF4-FFF2-40B4-BE49-F238E27FC236}">
                  <a16:creationId xmlns:a16="http://schemas.microsoft.com/office/drawing/2014/main" id="{BBCD4CC9-A06A-46B9-866E-C7B14CC88176}"/>
                </a:ext>
              </a:extLst>
            </p:cNvPr>
            <p:cNvSpPr>
              <a:spLocks/>
            </p:cNvSpPr>
            <p:nvPr/>
          </p:nvSpPr>
          <p:spPr bwMode="auto">
            <a:xfrm>
              <a:off x="487680" y="4110334"/>
              <a:ext cx="381864" cy="707257"/>
            </a:xfrm>
            <a:custGeom>
              <a:avLst/>
              <a:gdLst>
                <a:gd name="T0" fmla="*/ 0 w 76"/>
                <a:gd name="T1" fmla="*/ 3 h 157"/>
                <a:gd name="T2" fmla="*/ 72 w 76"/>
                <a:gd name="T3" fmla="*/ 3 h 157"/>
                <a:gd name="T4" fmla="*/ 0 w 76"/>
                <a:gd name="T5" fmla="*/ 157 h 157"/>
                <a:gd name="connsiteX0" fmla="*/ 0 w 11593"/>
                <a:gd name="connsiteY0" fmla="*/ 356 h 10165"/>
                <a:gd name="connsiteX1" fmla="*/ 11570 w 11593"/>
                <a:gd name="connsiteY1" fmla="*/ 48 h 10165"/>
                <a:gd name="connsiteX2" fmla="*/ 0 w 11593"/>
                <a:gd name="connsiteY2" fmla="*/ 10165 h 10165"/>
              </a:gdLst>
              <a:ahLst/>
              <a:cxnLst>
                <a:cxn ang="0">
                  <a:pos x="connsiteX0" y="connsiteY0"/>
                </a:cxn>
                <a:cxn ang="0">
                  <a:pos x="connsiteX1" y="connsiteY1"/>
                </a:cxn>
                <a:cxn ang="0">
                  <a:pos x="connsiteX2" y="connsiteY2"/>
                </a:cxn>
              </a:cxnLst>
              <a:rect l="l" t="t" r="r" b="b"/>
              <a:pathLst>
                <a:path w="11593" h="10165">
                  <a:moveTo>
                    <a:pt x="0" y="356"/>
                  </a:moveTo>
                  <a:cubicBezTo>
                    <a:pt x="3158" y="292"/>
                    <a:pt x="8412" y="-143"/>
                    <a:pt x="11570" y="48"/>
                  </a:cubicBezTo>
                  <a:cubicBezTo>
                    <a:pt x="12096" y="1067"/>
                    <a:pt x="3684" y="7108"/>
                    <a:pt x="0" y="10165"/>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63" name="Freeform 7">
              <a:extLst>
                <a:ext uri="{FF2B5EF4-FFF2-40B4-BE49-F238E27FC236}">
                  <a16:creationId xmlns:a16="http://schemas.microsoft.com/office/drawing/2014/main" id="{FE56EB10-7969-44F2-8772-1308E7067F68}"/>
                </a:ext>
              </a:extLst>
            </p:cNvPr>
            <p:cNvSpPr>
              <a:spLocks/>
            </p:cNvSpPr>
            <p:nvPr/>
          </p:nvSpPr>
          <p:spPr bwMode="auto">
            <a:xfrm>
              <a:off x="864917" y="3637166"/>
              <a:ext cx="1276001" cy="458589"/>
            </a:xfrm>
            <a:custGeom>
              <a:avLst/>
              <a:gdLst>
                <a:gd name="T0" fmla="*/ 0 w 301"/>
                <a:gd name="T1" fmla="*/ 108 h 108"/>
                <a:gd name="T2" fmla="*/ 301 w 301"/>
                <a:gd name="T3" fmla="*/ 0 h 108"/>
                <a:gd name="connsiteX0" fmla="*/ 0 w 10288"/>
                <a:gd name="connsiteY0" fmla="*/ 10490 h 10490"/>
                <a:gd name="connsiteX1" fmla="*/ 10288 w 10288"/>
                <a:gd name="connsiteY1" fmla="*/ 0 h 10490"/>
                <a:gd name="connsiteX0" fmla="*/ 0 w 10288"/>
                <a:gd name="connsiteY0" fmla="*/ 10490 h 10490"/>
                <a:gd name="connsiteX1" fmla="*/ 10288 w 10288"/>
                <a:gd name="connsiteY1" fmla="*/ 0 h 10490"/>
              </a:gdLst>
              <a:ahLst/>
              <a:cxnLst>
                <a:cxn ang="0">
                  <a:pos x="connsiteX0" y="connsiteY0"/>
                </a:cxn>
                <a:cxn ang="0">
                  <a:pos x="connsiteX1" y="connsiteY1"/>
                </a:cxn>
              </a:cxnLst>
              <a:rect l="l" t="t" r="r" b="b"/>
              <a:pathLst>
                <a:path w="10288" h="10490">
                  <a:moveTo>
                    <a:pt x="0" y="10490"/>
                  </a:moveTo>
                  <a:cubicBezTo>
                    <a:pt x="3256" y="6971"/>
                    <a:pt x="7014" y="4189"/>
                    <a:pt x="10288"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64" name="Freeform 8">
              <a:extLst>
                <a:ext uri="{FF2B5EF4-FFF2-40B4-BE49-F238E27FC236}">
                  <a16:creationId xmlns:a16="http://schemas.microsoft.com/office/drawing/2014/main" id="{482FA221-3E85-48C7-8788-6639381E8B7A}"/>
                </a:ext>
              </a:extLst>
            </p:cNvPr>
            <p:cNvSpPr>
              <a:spLocks/>
            </p:cNvSpPr>
            <p:nvPr/>
          </p:nvSpPr>
          <p:spPr bwMode="auto">
            <a:xfrm>
              <a:off x="1990524" y="3379808"/>
              <a:ext cx="290240" cy="251613"/>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883" h="10000">
                  <a:moveTo>
                    <a:pt x="1193" y="7790"/>
                  </a:moveTo>
                  <a:cubicBezTo>
                    <a:pt x="1046" y="7615"/>
                    <a:pt x="2329" y="7344"/>
                    <a:pt x="2183" y="7169"/>
                  </a:cubicBezTo>
                  <a:cubicBezTo>
                    <a:pt x="2183" y="6817"/>
                    <a:pt x="2196" y="6359"/>
                    <a:pt x="2049" y="6007"/>
                  </a:cubicBezTo>
                  <a:cubicBezTo>
                    <a:pt x="1754" y="5480"/>
                    <a:pt x="1393" y="5630"/>
                    <a:pt x="1243" y="4927"/>
                  </a:cubicBezTo>
                  <a:cubicBezTo>
                    <a:pt x="1095" y="4753"/>
                    <a:pt x="966" y="4432"/>
                    <a:pt x="771" y="4213"/>
                  </a:cubicBezTo>
                  <a:cubicBezTo>
                    <a:pt x="575" y="3992"/>
                    <a:pt x="-230" y="3606"/>
                    <a:pt x="65" y="3606"/>
                  </a:cubicBezTo>
                  <a:cubicBezTo>
                    <a:pt x="361" y="3430"/>
                    <a:pt x="-7" y="3809"/>
                    <a:pt x="286" y="3809"/>
                  </a:cubicBezTo>
                  <a:cubicBezTo>
                    <a:pt x="1468" y="3985"/>
                    <a:pt x="770" y="3161"/>
                    <a:pt x="1802" y="2634"/>
                  </a:cubicBezTo>
                  <a:cubicBezTo>
                    <a:pt x="2246" y="2281"/>
                    <a:pt x="2688" y="2107"/>
                    <a:pt x="2984" y="1580"/>
                  </a:cubicBezTo>
                  <a:cubicBezTo>
                    <a:pt x="3132" y="1405"/>
                    <a:pt x="3277" y="1054"/>
                    <a:pt x="3426" y="702"/>
                  </a:cubicBezTo>
                  <a:cubicBezTo>
                    <a:pt x="3574" y="526"/>
                    <a:pt x="3722" y="176"/>
                    <a:pt x="4017" y="176"/>
                  </a:cubicBezTo>
                  <a:cubicBezTo>
                    <a:pt x="4606" y="0"/>
                    <a:pt x="5050" y="702"/>
                    <a:pt x="5639" y="702"/>
                  </a:cubicBezTo>
                  <a:cubicBezTo>
                    <a:pt x="5935" y="702"/>
                    <a:pt x="6082" y="526"/>
                    <a:pt x="6378" y="351"/>
                  </a:cubicBezTo>
                  <a:cubicBezTo>
                    <a:pt x="7115" y="-175"/>
                    <a:pt x="8148" y="0"/>
                    <a:pt x="9034" y="176"/>
                  </a:cubicBezTo>
                  <a:cubicBezTo>
                    <a:pt x="9331" y="176"/>
                    <a:pt x="9625" y="176"/>
                    <a:pt x="9772" y="526"/>
                  </a:cubicBezTo>
                  <a:cubicBezTo>
                    <a:pt x="9921" y="879"/>
                    <a:pt x="9921" y="1228"/>
                    <a:pt x="9772" y="1405"/>
                  </a:cubicBezTo>
                  <a:cubicBezTo>
                    <a:pt x="9625" y="1755"/>
                    <a:pt x="9478" y="1931"/>
                    <a:pt x="9331" y="2281"/>
                  </a:cubicBezTo>
                  <a:cubicBezTo>
                    <a:pt x="9183" y="2808"/>
                    <a:pt x="9331" y="3511"/>
                    <a:pt x="9183" y="4038"/>
                  </a:cubicBezTo>
                  <a:cubicBezTo>
                    <a:pt x="9183" y="4389"/>
                    <a:pt x="9034" y="4565"/>
                    <a:pt x="8888" y="4914"/>
                  </a:cubicBezTo>
                  <a:cubicBezTo>
                    <a:pt x="8148" y="6142"/>
                    <a:pt x="7411" y="7195"/>
                    <a:pt x="6378" y="8074"/>
                  </a:cubicBezTo>
                  <a:cubicBezTo>
                    <a:pt x="6082" y="8425"/>
                    <a:pt x="5639" y="8601"/>
                    <a:pt x="5344" y="9127"/>
                  </a:cubicBezTo>
                  <a:cubicBezTo>
                    <a:pt x="5344" y="9303"/>
                    <a:pt x="5196" y="9479"/>
                    <a:pt x="5050" y="9654"/>
                  </a:cubicBezTo>
                  <a:cubicBezTo>
                    <a:pt x="4756" y="10180"/>
                    <a:pt x="5462" y="9950"/>
                    <a:pt x="4871" y="9950"/>
                  </a:cubicBezTo>
                  <a:cubicBezTo>
                    <a:pt x="4429" y="9950"/>
                    <a:pt x="4553" y="9855"/>
                    <a:pt x="4111" y="9679"/>
                  </a:cubicBezTo>
                  <a:cubicBezTo>
                    <a:pt x="3667" y="9679"/>
                    <a:pt x="2574" y="9134"/>
                    <a:pt x="2133" y="8856"/>
                  </a:cubicBezTo>
                  <a:cubicBezTo>
                    <a:pt x="1692" y="8578"/>
                    <a:pt x="1816" y="7879"/>
                    <a:pt x="1466" y="8012"/>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65" name="Freeform 9">
              <a:extLst>
                <a:ext uri="{FF2B5EF4-FFF2-40B4-BE49-F238E27FC236}">
                  <a16:creationId xmlns:a16="http://schemas.microsoft.com/office/drawing/2014/main" id="{25CDA495-6894-4BA1-A975-26BDD108588C}"/>
                </a:ext>
              </a:extLst>
            </p:cNvPr>
            <p:cNvSpPr>
              <a:spLocks/>
            </p:cNvSpPr>
            <p:nvPr/>
          </p:nvSpPr>
          <p:spPr bwMode="auto">
            <a:xfrm>
              <a:off x="1930274" y="3070018"/>
              <a:ext cx="1364441" cy="898014"/>
            </a:xfrm>
            <a:custGeom>
              <a:avLst/>
              <a:gdLst>
                <a:gd name="T0" fmla="*/ 51 w 317"/>
                <a:gd name="T1" fmla="*/ 138 h 204"/>
                <a:gd name="T2" fmla="*/ 84 w 317"/>
                <a:gd name="T3" fmla="*/ 142 h 204"/>
                <a:gd name="T4" fmla="*/ 90 w 317"/>
                <a:gd name="T5" fmla="*/ 150 h 204"/>
                <a:gd name="T6" fmla="*/ 103 w 317"/>
                <a:gd name="T7" fmla="*/ 151 h 204"/>
                <a:gd name="T8" fmla="*/ 152 w 317"/>
                <a:gd name="T9" fmla="*/ 169 h 204"/>
                <a:gd name="T10" fmla="*/ 167 w 317"/>
                <a:gd name="T11" fmla="*/ 176 h 204"/>
                <a:gd name="T12" fmla="*/ 230 w 317"/>
                <a:gd name="T13" fmla="*/ 169 h 204"/>
                <a:gd name="T14" fmla="*/ 298 w 317"/>
                <a:gd name="T15" fmla="*/ 169 h 204"/>
                <a:gd name="T16" fmla="*/ 306 w 317"/>
                <a:gd name="T17" fmla="*/ 182 h 204"/>
                <a:gd name="T18" fmla="*/ 312 w 317"/>
                <a:gd name="T19" fmla="*/ 204 h 204"/>
                <a:gd name="T20" fmla="*/ 299 w 317"/>
                <a:gd name="T21" fmla="*/ 148 h 204"/>
                <a:gd name="T22" fmla="*/ 278 w 317"/>
                <a:gd name="T23" fmla="*/ 124 h 204"/>
                <a:gd name="T24" fmla="*/ 261 w 317"/>
                <a:gd name="T25" fmla="*/ 125 h 204"/>
                <a:gd name="T26" fmla="*/ 228 w 317"/>
                <a:gd name="T27" fmla="*/ 128 h 204"/>
                <a:gd name="T28" fmla="*/ 201 w 317"/>
                <a:gd name="T29" fmla="*/ 129 h 204"/>
                <a:gd name="T30" fmla="*/ 220 w 317"/>
                <a:gd name="T31" fmla="*/ 69 h 204"/>
                <a:gd name="T32" fmla="*/ 207 w 317"/>
                <a:gd name="T33" fmla="*/ 66 h 204"/>
                <a:gd name="T34" fmla="*/ 183 w 317"/>
                <a:gd name="T35" fmla="*/ 75 h 204"/>
                <a:gd name="T36" fmla="*/ 147 w 317"/>
                <a:gd name="T37" fmla="*/ 78 h 204"/>
                <a:gd name="T38" fmla="*/ 141 w 317"/>
                <a:gd name="T39" fmla="*/ 80 h 204"/>
                <a:gd name="T40" fmla="*/ 136 w 317"/>
                <a:gd name="T41" fmla="*/ 69 h 204"/>
                <a:gd name="T42" fmla="*/ 127 w 317"/>
                <a:gd name="T43" fmla="*/ 64 h 204"/>
                <a:gd name="T44" fmla="*/ 104 w 317"/>
                <a:gd name="T45" fmla="*/ 66 h 204"/>
                <a:gd name="T46" fmla="*/ 82 w 317"/>
                <a:gd name="T47" fmla="*/ 73 h 204"/>
                <a:gd name="T48" fmla="*/ 84 w 317"/>
                <a:gd name="T49" fmla="*/ 62 h 204"/>
                <a:gd name="T50" fmla="*/ 75 w 317"/>
                <a:gd name="T51" fmla="*/ 57 h 204"/>
                <a:gd name="T52" fmla="*/ 60 w 317"/>
                <a:gd name="T53" fmla="*/ 49 h 204"/>
                <a:gd name="T54" fmla="*/ 51 w 317"/>
                <a:gd name="T55" fmla="*/ 42 h 204"/>
                <a:gd name="T56" fmla="*/ 36 w 317"/>
                <a:gd name="T57" fmla="*/ 23 h 204"/>
                <a:gd name="T58" fmla="*/ 22 w 317"/>
                <a:gd name="T59" fmla="*/ 13 h 204"/>
                <a:gd name="T60" fmla="*/ 8 w 317"/>
                <a:gd name="T61" fmla="*/ 2 h 204"/>
                <a:gd name="T62" fmla="*/ 3 w 317"/>
                <a:gd name="T63" fmla="*/ 10 h 204"/>
                <a:gd name="T64" fmla="*/ 4 w 317"/>
                <a:gd name="T65" fmla="*/ 29 h 204"/>
                <a:gd name="T66" fmla="*/ 2 w 317"/>
                <a:gd name="T67" fmla="*/ 41 h 204"/>
                <a:gd name="T68" fmla="*/ 12 w 317"/>
                <a:gd name="T69" fmla="*/ 50 h 204"/>
                <a:gd name="T70" fmla="*/ 13 w 317"/>
                <a:gd name="T71" fmla="*/ 62 h 204"/>
                <a:gd name="T72" fmla="*/ 15 w 317"/>
                <a:gd name="T73" fmla="*/ 78 h 204"/>
                <a:gd name="T74" fmla="*/ 30 w 317"/>
                <a:gd name="T75" fmla="*/ 83 h 204"/>
                <a:gd name="connsiteX0" fmla="*/ 1507 w 9926"/>
                <a:gd name="connsiteY0" fmla="*/ 6241 h 9955"/>
                <a:gd name="connsiteX1" fmla="*/ 1583 w 9926"/>
                <a:gd name="connsiteY1" fmla="*/ 6720 h 9955"/>
                <a:gd name="connsiteX2" fmla="*/ 2403 w 9926"/>
                <a:gd name="connsiteY2" fmla="*/ 7014 h 9955"/>
                <a:gd name="connsiteX3" fmla="*/ 2624 w 9926"/>
                <a:gd name="connsiteY3" fmla="*/ 6916 h 9955"/>
                <a:gd name="connsiteX4" fmla="*/ 2813 w 9926"/>
                <a:gd name="connsiteY4" fmla="*/ 7014 h 9955"/>
                <a:gd name="connsiteX5" fmla="*/ 2813 w 9926"/>
                <a:gd name="connsiteY5" fmla="*/ 7308 h 9955"/>
                <a:gd name="connsiteX6" fmla="*/ 3002 w 9926"/>
                <a:gd name="connsiteY6" fmla="*/ 7455 h 9955"/>
                <a:gd name="connsiteX7" fmla="*/ 3223 w 9926"/>
                <a:gd name="connsiteY7" fmla="*/ 7357 h 9955"/>
                <a:gd name="connsiteX8" fmla="*/ 4012 w 9926"/>
                <a:gd name="connsiteY8" fmla="*/ 7651 h 9955"/>
                <a:gd name="connsiteX9" fmla="*/ 4769 w 9926"/>
                <a:gd name="connsiteY9" fmla="*/ 8239 h 9955"/>
                <a:gd name="connsiteX10" fmla="*/ 5021 w 9926"/>
                <a:gd name="connsiteY10" fmla="*/ 8337 h 9955"/>
                <a:gd name="connsiteX11" fmla="*/ 5242 w 9926"/>
                <a:gd name="connsiteY11" fmla="*/ 8582 h 9955"/>
                <a:gd name="connsiteX12" fmla="*/ 6409 w 9926"/>
                <a:gd name="connsiteY12" fmla="*/ 8533 h 9955"/>
                <a:gd name="connsiteX13" fmla="*/ 7230 w 9926"/>
                <a:gd name="connsiteY13" fmla="*/ 8239 h 9955"/>
                <a:gd name="connsiteX14" fmla="*/ 7987 w 9926"/>
                <a:gd name="connsiteY14" fmla="*/ 8043 h 9955"/>
                <a:gd name="connsiteX15" fmla="*/ 9375 w 9926"/>
                <a:gd name="connsiteY15" fmla="*/ 8239 h 9955"/>
                <a:gd name="connsiteX16" fmla="*/ 9501 w 9926"/>
                <a:gd name="connsiteY16" fmla="*/ 8828 h 9955"/>
                <a:gd name="connsiteX17" fmla="*/ 9627 w 9926"/>
                <a:gd name="connsiteY17" fmla="*/ 8877 h 9955"/>
                <a:gd name="connsiteX18" fmla="*/ 9722 w 9926"/>
                <a:gd name="connsiteY18" fmla="*/ 9171 h 9955"/>
                <a:gd name="connsiteX19" fmla="*/ 9816 w 9926"/>
                <a:gd name="connsiteY19" fmla="*/ 9955 h 9955"/>
                <a:gd name="connsiteX20" fmla="*/ 9848 w 9926"/>
                <a:gd name="connsiteY20" fmla="*/ 8533 h 9955"/>
                <a:gd name="connsiteX21" fmla="*/ 9406 w 9926"/>
                <a:gd name="connsiteY21" fmla="*/ 7210 h 9955"/>
                <a:gd name="connsiteX22" fmla="*/ 8901 w 9926"/>
                <a:gd name="connsiteY22" fmla="*/ 6769 h 9955"/>
                <a:gd name="connsiteX23" fmla="*/ 8744 w 9926"/>
                <a:gd name="connsiteY23" fmla="*/ 6033 h 9955"/>
                <a:gd name="connsiteX24" fmla="*/ 8334 w 9926"/>
                <a:gd name="connsiteY24" fmla="*/ 5886 h 9955"/>
                <a:gd name="connsiteX25" fmla="*/ 8207 w 9926"/>
                <a:gd name="connsiteY25" fmla="*/ 6082 h 9955"/>
                <a:gd name="connsiteX26" fmla="*/ 7955 w 9926"/>
                <a:gd name="connsiteY26" fmla="*/ 6180 h 9955"/>
                <a:gd name="connsiteX27" fmla="*/ 7166 w 9926"/>
                <a:gd name="connsiteY27" fmla="*/ 6230 h 9955"/>
                <a:gd name="connsiteX28" fmla="*/ 6094 w 9926"/>
                <a:gd name="connsiteY28" fmla="*/ 7308 h 9955"/>
                <a:gd name="connsiteX29" fmla="*/ 6315 w 9926"/>
                <a:gd name="connsiteY29" fmla="*/ 6279 h 9955"/>
                <a:gd name="connsiteX30" fmla="*/ 6599 w 9926"/>
                <a:gd name="connsiteY30" fmla="*/ 4906 h 9955"/>
                <a:gd name="connsiteX31" fmla="*/ 6914 w 9926"/>
                <a:gd name="connsiteY31" fmla="*/ 3337 h 9955"/>
                <a:gd name="connsiteX32" fmla="*/ 6914 w 9926"/>
                <a:gd name="connsiteY32" fmla="*/ 3239 h 9955"/>
                <a:gd name="connsiteX33" fmla="*/ 6504 w 9926"/>
                <a:gd name="connsiteY33" fmla="*/ 3190 h 9955"/>
                <a:gd name="connsiteX34" fmla="*/ 6125 w 9926"/>
                <a:gd name="connsiteY34" fmla="*/ 3631 h 9955"/>
                <a:gd name="connsiteX35" fmla="*/ 5747 w 9926"/>
                <a:gd name="connsiteY35" fmla="*/ 3631 h 9955"/>
                <a:gd name="connsiteX36" fmla="*/ 5021 w 9926"/>
                <a:gd name="connsiteY36" fmla="*/ 3877 h 9955"/>
                <a:gd name="connsiteX37" fmla="*/ 4611 w 9926"/>
                <a:gd name="connsiteY37" fmla="*/ 3779 h 9955"/>
                <a:gd name="connsiteX38" fmla="*/ 4359 w 9926"/>
                <a:gd name="connsiteY38" fmla="*/ 3926 h 9955"/>
                <a:gd name="connsiteX39" fmla="*/ 4422 w 9926"/>
                <a:gd name="connsiteY39" fmla="*/ 3877 h 9955"/>
                <a:gd name="connsiteX40" fmla="*/ 4390 w 9926"/>
                <a:gd name="connsiteY40" fmla="*/ 3779 h 9955"/>
                <a:gd name="connsiteX41" fmla="*/ 4264 w 9926"/>
                <a:gd name="connsiteY41" fmla="*/ 3337 h 9955"/>
                <a:gd name="connsiteX42" fmla="*/ 4075 w 9926"/>
                <a:gd name="connsiteY42" fmla="*/ 3092 h 9955"/>
                <a:gd name="connsiteX43" fmla="*/ 3980 w 9926"/>
                <a:gd name="connsiteY43" fmla="*/ 3092 h 9955"/>
                <a:gd name="connsiteX44" fmla="*/ 3476 w 9926"/>
                <a:gd name="connsiteY44" fmla="*/ 3092 h 9955"/>
                <a:gd name="connsiteX45" fmla="*/ 3255 w 9926"/>
                <a:gd name="connsiteY45" fmla="*/ 3190 h 9955"/>
                <a:gd name="connsiteX46" fmla="*/ 3097 w 9926"/>
                <a:gd name="connsiteY46" fmla="*/ 3190 h 9955"/>
                <a:gd name="connsiteX47" fmla="*/ 2561 w 9926"/>
                <a:gd name="connsiteY47" fmla="*/ 3533 h 9955"/>
                <a:gd name="connsiteX48" fmla="*/ 2687 w 9926"/>
                <a:gd name="connsiteY48" fmla="*/ 3239 h 9955"/>
                <a:gd name="connsiteX49" fmla="*/ 2624 w 9926"/>
                <a:gd name="connsiteY49" fmla="*/ 2994 h 9955"/>
                <a:gd name="connsiteX50" fmla="*/ 2371 w 9926"/>
                <a:gd name="connsiteY50" fmla="*/ 2896 h 9955"/>
                <a:gd name="connsiteX51" fmla="*/ 2340 w 9926"/>
                <a:gd name="connsiteY51" fmla="*/ 2749 h 9955"/>
                <a:gd name="connsiteX52" fmla="*/ 2151 w 9926"/>
                <a:gd name="connsiteY52" fmla="*/ 2455 h 9955"/>
                <a:gd name="connsiteX53" fmla="*/ 1867 w 9926"/>
                <a:gd name="connsiteY53" fmla="*/ 2357 h 9955"/>
                <a:gd name="connsiteX54" fmla="*/ 1741 w 9926"/>
                <a:gd name="connsiteY54" fmla="*/ 2308 h 9955"/>
                <a:gd name="connsiteX55" fmla="*/ 1583 w 9926"/>
                <a:gd name="connsiteY55" fmla="*/ 2014 h 9955"/>
                <a:gd name="connsiteX56" fmla="*/ 1236 w 9926"/>
                <a:gd name="connsiteY56" fmla="*/ 1524 h 9955"/>
                <a:gd name="connsiteX57" fmla="*/ 1110 w 9926"/>
                <a:gd name="connsiteY57" fmla="*/ 1082 h 9955"/>
                <a:gd name="connsiteX58" fmla="*/ 983 w 9926"/>
                <a:gd name="connsiteY58" fmla="*/ 935 h 9955"/>
                <a:gd name="connsiteX59" fmla="*/ 668 w 9926"/>
                <a:gd name="connsiteY59" fmla="*/ 592 h 9955"/>
                <a:gd name="connsiteX60" fmla="*/ 258 w 9926"/>
                <a:gd name="connsiteY60" fmla="*/ 4 h 9955"/>
                <a:gd name="connsiteX61" fmla="*/ 226 w 9926"/>
                <a:gd name="connsiteY61" fmla="*/ 53 h 9955"/>
                <a:gd name="connsiteX62" fmla="*/ 195 w 9926"/>
                <a:gd name="connsiteY62" fmla="*/ 102 h 9955"/>
                <a:gd name="connsiteX63" fmla="*/ 69 w 9926"/>
                <a:gd name="connsiteY63" fmla="*/ 445 h 9955"/>
                <a:gd name="connsiteX64" fmla="*/ 100 w 9926"/>
                <a:gd name="connsiteY64" fmla="*/ 837 h 9955"/>
                <a:gd name="connsiteX65" fmla="*/ 100 w 9926"/>
                <a:gd name="connsiteY65" fmla="*/ 1377 h 9955"/>
                <a:gd name="connsiteX66" fmla="*/ 6 w 9926"/>
                <a:gd name="connsiteY66" fmla="*/ 1867 h 9955"/>
                <a:gd name="connsiteX67" fmla="*/ 37 w 9926"/>
                <a:gd name="connsiteY67" fmla="*/ 1965 h 9955"/>
                <a:gd name="connsiteX68" fmla="*/ 289 w 9926"/>
                <a:gd name="connsiteY68" fmla="*/ 2161 h 9955"/>
                <a:gd name="connsiteX69" fmla="*/ 353 w 9926"/>
                <a:gd name="connsiteY69" fmla="*/ 2406 h 9955"/>
                <a:gd name="connsiteX70" fmla="*/ 384 w 9926"/>
                <a:gd name="connsiteY70" fmla="*/ 2700 h 9955"/>
                <a:gd name="connsiteX71" fmla="*/ 384 w 9926"/>
                <a:gd name="connsiteY71" fmla="*/ 2994 h 9955"/>
                <a:gd name="connsiteX72" fmla="*/ 416 w 9926"/>
                <a:gd name="connsiteY72" fmla="*/ 3092 h 9955"/>
                <a:gd name="connsiteX73" fmla="*/ 447 w 9926"/>
                <a:gd name="connsiteY73" fmla="*/ 3779 h 9955"/>
                <a:gd name="connsiteX74" fmla="*/ 479 w 9926"/>
                <a:gd name="connsiteY74" fmla="*/ 3877 h 9955"/>
                <a:gd name="connsiteX75" fmla="*/ 920 w 9926"/>
                <a:gd name="connsiteY75" fmla="*/ 4024 h 9955"/>
                <a:gd name="connsiteX0" fmla="*/ 1518 w 10000"/>
                <a:gd name="connsiteY0" fmla="*/ 6269 h 10000"/>
                <a:gd name="connsiteX1" fmla="*/ 1804 w 10000"/>
                <a:gd name="connsiteY1" fmla="*/ 6670 h 10000"/>
                <a:gd name="connsiteX2" fmla="*/ 2421 w 10000"/>
                <a:gd name="connsiteY2" fmla="*/ 7046 h 10000"/>
                <a:gd name="connsiteX3" fmla="*/ 2644 w 10000"/>
                <a:gd name="connsiteY3" fmla="*/ 6947 h 10000"/>
                <a:gd name="connsiteX4" fmla="*/ 2834 w 10000"/>
                <a:gd name="connsiteY4" fmla="*/ 7046 h 10000"/>
                <a:gd name="connsiteX5" fmla="*/ 2834 w 10000"/>
                <a:gd name="connsiteY5" fmla="*/ 7341 h 10000"/>
                <a:gd name="connsiteX6" fmla="*/ 3024 w 10000"/>
                <a:gd name="connsiteY6" fmla="*/ 7489 h 10000"/>
                <a:gd name="connsiteX7" fmla="*/ 3247 w 10000"/>
                <a:gd name="connsiteY7" fmla="*/ 7390 h 10000"/>
                <a:gd name="connsiteX8" fmla="*/ 4042 w 10000"/>
                <a:gd name="connsiteY8" fmla="*/ 7686 h 10000"/>
                <a:gd name="connsiteX9" fmla="*/ 4805 w 10000"/>
                <a:gd name="connsiteY9" fmla="*/ 8276 h 10000"/>
                <a:gd name="connsiteX10" fmla="*/ 5058 w 10000"/>
                <a:gd name="connsiteY10" fmla="*/ 8375 h 10000"/>
                <a:gd name="connsiteX11" fmla="*/ 5281 w 10000"/>
                <a:gd name="connsiteY11" fmla="*/ 8621 h 10000"/>
                <a:gd name="connsiteX12" fmla="*/ 6457 w 10000"/>
                <a:gd name="connsiteY12" fmla="*/ 8572 h 10000"/>
                <a:gd name="connsiteX13" fmla="*/ 7284 w 10000"/>
                <a:gd name="connsiteY13" fmla="*/ 8276 h 10000"/>
                <a:gd name="connsiteX14" fmla="*/ 8047 w 10000"/>
                <a:gd name="connsiteY14" fmla="*/ 8079 h 10000"/>
                <a:gd name="connsiteX15" fmla="*/ 9445 w 10000"/>
                <a:gd name="connsiteY15" fmla="*/ 8276 h 10000"/>
                <a:gd name="connsiteX16" fmla="*/ 9572 w 10000"/>
                <a:gd name="connsiteY16" fmla="*/ 8868 h 10000"/>
                <a:gd name="connsiteX17" fmla="*/ 9699 w 10000"/>
                <a:gd name="connsiteY17" fmla="*/ 8917 h 10000"/>
                <a:gd name="connsiteX18" fmla="*/ 9794 w 10000"/>
                <a:gd name="connsiteY18" fmla="*/ 9212 h 10000"/>
                <a:gd name="connsiteX19" fmla="*/ 9889 w 10000"/>
                <a:gd name="connsiteY19" fmla="*/ 10000 h 10000"/>
                <a:gd name="connsiteX20" fmla="*/ 9921 w 10000"/>
                <a:gd name="connsiteY20" fmla="*/ 8572 h 10000"/>
                <a:gd name="connsiteX21" fmla="*/ 9476 w 10000"/>
                <a:gd name="connsiteY21" fmla="*/ 7243 h 10000"/>
                <a:gd name="connsiteX22" fmla="*/ 8967 w 10000"/>
                <a:gd name="connsiteY22" fmla="*/ 6800 h 10000"/>
                <a:gd name="connsiteX23" fmla="*/ 8809 w 10000"/>
                <a:gd name="connsiteY23" fmla="*/ 6060 h 10000"/>
                <a:gd name="connsiteX24" fmla="*/ 8396 w 10000"/>
                <a:gd name="connsiteY24" fmla="*/ 5913 h 10000"/>
                <a:gd name="connsiteX25" fmla="*/ 8268 w 10000"/>
                <a:gd name="connsiteY25" fmla="*/ 6109 h 10000"/>
                <a:gd name="connsiteX26" fmla="*/ 8014 w 10000"/>
                <a:gd name="connsiteY26" fmla="*/ 6208 h 10000"/>
                <a:gd name="connsiteX27" fmla="*/ 7219 w 10000"/>
                <a:gd name="connsiteY27" fmla="*/ 6258 h 10000"/>
                <a:gd name="connsiteX28" fmla="*/ 6139 w 10000"/>
                <a:gd name="connsiteY28" fmla="*/ 7341 h 10000"/>
                <a:gd name="connsiteX29" fmla="*/ 6362 w 10000"/>
                <a:gd name="connsiteY29" fmla="*/ 6307 h 10000"/>
                <a:gd name="connsiteX30" fmla="*/ 6648 w 10000"/>
                <a:gd name="connsiteY30" fmla="*/ 4928 h 10000"/>
                <a:gd name="connsiteX31" fmla="*/ 6966 w 10000"/>
                <a:gd name="connsiteY31" fmla="*/ 3352 h 10000"/>
                <a:gd name="connsiteX32" fmla="*/ 6966 w 10000"/>
                <a:gd name="connsiteY32" fmla="*/ 3254 h 10000"/>
                <a:gd name="connsiteX33" fmla="*/ 6552 w 10000"/>
                <a:gd name="connsiteY33" fmla="*/ 3204 h 10000"/>
                <a:gd name="connsiteX34" fmla="*/ 6171 w 10000"/>
                <a:gd name="connsiteY34" fmla="*/ 3647 h 10000"/>
                <a:gd name="connsiteX35" fmla="*/ 5790 w 10000"/>
                <a:gd name="connsiteY35" fmla="*/ 3647 h 10000"/>
                <a:gd name="connsiteX36" fmla="*/ 5058 w 10000"/>
                <a:gd name="connsiteY36" fmla="*/ 3895 h 10000"/>
                <a:gd name="connsiteX37" fmla="*/ 4645 w 10000"/>
                <a:gd name="connsiteY37" fmla="*/ 3796 h 10000"/>
                <a:gd name="connsiteX38" fmla="*/ 4391 w 10000"/>
                <a:gd name="connsiteY38" fmla="*/ 3944 h 10000"/>
                <a:gd name="connsiteX39" fmla="*/ 4455 w 10000"/>
                <a:gd name="connsiteY39" fmla="*/ 3895 h 10000"/>
                <a:gd name="connsiteX40" fmla="*/ 4423 w 10000"/>
                <a:gd name="connsiteY40" fmla="*/ 3796 h 10000"/>
                <a:gd name="connsiteX41" fmla="*/ 4296 w 10000"/>
                <a:gd name="connsiteY41" fmla="*/ 3352 h 10000"/>
                <a:gd name="connsiteX42" fmla="*/ 4105 w 10000"/>
                <a:gd name="connsiteY42" fmla="*/ 3106 h 10000"/>
                <a:gd name="connsiteX43" fmla="*/ 4010 w 10000"/>
                <a:gd name="connsiteY43" fmla="*/ 3106 h 10000"/>
                <a:gd name="connsiteX44" fmla="*/ 3502 w 10000"/>
                <a:gd name="connsiteY44" fmla="*/ 3106 h 10000"/>
                <a:gd name="connsiteX45" fmla="*/ 3279 w 10000"/>
                <a:gd name="connsiteY45" fmla="*/ 3204 h 10000"/>
                <a:gd name="connsiteX46" fmla="*/ 3120 w 10000"/>
                <a:gd name="connsiteY46" fmla="*/ 3204 h 10000"/>
                <a:gd name="connsiteX47" fmla="*/ 2580 w 10000"/>
                <a:gd name="connsiteY47" fmla="*/ 3549 h 10000"/>
                <a:gd name="connsiteX48" fmla="*/ 2707 w 10000"/>
                <a:gd name="connsiteY48" fmla="*/ 3254 h 10000"/>
                <a:gd name="connsiteX49" fmla="*/ 2644 w 10000"/>
                <a:gd name="connsiteY49" fmla="*/ 3008 h 10000"/>
                <a:gd name="connsiteX50" fmla="*/ 2389 w 10000"/>
                <a:gd name="connsiteY50" fmla="*/ 2909 h 10000"/>
                <a:gd name="connsiteX51" fmla="*/ 2357 w 10000"/>
                <a:gd name="connsiteY51" fmla="*/ 2761 h 10000"/>
                <a:gd name="connsiteX52" fmla="*/ 2167 w 10000"/>
                <a:gd name="connsiteY52" fmla="*/ 2466 h 10000"/>
                <a:gd name="connsiteX53" fmla="*/ 1881 w 10000"/>
                <a:gd name="connsiteY53" fmla="*/ 2368 h 10000"/>
                <a:gd name="connsiteX54" fmla="*/ 1754 w 10000"/>
                <a:gd name="connsiteY54" fmla="*/ 2318 h 10000"/>
                <a:gd name="connsiteX55" fmla="*/ 1595 w 10000"/>
                <a:gd name="connsiteY55" fmla="*/ 2023 h 10000"/>
                <a:gd name="connsiteX56" fmla="*/ 1245 w 10000"/>
                <a:gd name="connsiteY56" fmla="*/ 1531 h 10000"/>
                <a:gd name="connsiteX57" fmla="*/ 1118 w 10000"/>
                <a:gd name="connsiteY57" fmla="*/ 1087 h 10000"/>
                <a:gd name="connsiteX58" fmla="*/ 990 w 10000"/>
                <a:gd name="connsiteY58" fmla="*/ 939 h 10000"/>
                <a:gd name="connsiteX59" fmla="*/ 673 w 10000"/>
                <a:gd name="connsiteY59" fmla="*/ 595 h 10000"/>
                <a:gd name="connsiteX60" fmla="*/ 260 w 10000"/>
                <a:gd name="connsiteY60" fmla="*/ 4 h 10000"/>
                <a:gd name="connsiteX61" fmla="*/ 228 w 10000"/>
                <a:gd name="connsiteY61" fmla="*/ 53 h 10000"/>
                <a:gd name="connsiteX62" fmla="*/ 196 w 10000"/>
                <a:gd name="connsiteY62" fmla="*/ 102 h 10000"/>
                <a:gd name="connsiteX63" fmla="*/ 70 w 10000"/>
                <a:gd name="connsiteY63" fmla="*/ 447 h 10000"/>
                <a:gd name="connsiteX64" fmla="*/ 101 w 10000"/>
                <a:gd name="connsiteY64" fmla="*/ 841 h 10000"/>
                <a:gd name="connsiteX65" fmla="*/ 101 w 10000"/>
                <a:gd name="connsiteY65" fmla="*/ 1383 h 10000"/>
                <a:gd name="connsiteX66" fmla="*/ 6 w 10000"/>
                <a:gd name="connsiteY66" fmla="*/ 1875 h 10000"/>
                <a:gd name="connsiteX67" fmla="*/ 37 w 10000"/>
                <a:gd name="connsiteY67" fmla="*/ 1974 h 10000"/>
                <a:gd name="connsiteX68" fmla="*/ 291 w 10000"/>
                <a:gd name="connsiteY68" fmla="*/ 2171 h 10000"/>
                <a:gd name="connsiteX69" fmla="*/ 356 w 10000"/>
                <a:gd name="connsiteY69" fmla="*/ 2417 h 10000"/>
                <a:gd name="connsiteX70" fmla="*/ 387 w 10000"/>
                <a:gd name="connsiteY70" fmla="*/ 2712 h 10000"/>
                <a:gd name="connsiteX71" fmla="*/ 387 w 10000"/>
                <a:gd name="connsiteY71" fmla="*/ 3008 h 10000"/>
                <a:gd name="connsiteX72" fmla="*/ 419 w 10000"/>
                <a:gd name="connsiteY72" fmla="*/ 3106 h 10000"/>
                <a:gd name="connsiteX73" fmla="*/ 450 w 10000"/>
                <a:gd name="connsiteY73" fmla="*/ 3796 h 10000"/>
                <a:gd name="connsiteX74" fmla="*/ 483 w 10000"/>
                <a:gd name="connsiteY74" fmla="*/ 3895 h 10000"/>
                <a:gd name="connsiteX75" fmla="*/ 927 w 10000"/>
                <a:gd name="connsiteY75" fmla="*/ 40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0000" h="10000">
                  <a:moveTo>
                    <a:pt x="1518" y="6269"/>
                  </a:moveTo>
                  <a:cubicBezTo>
                    <a:pt x="1614" y="6368"/>
                    <a:pt x="1708" y="6572"/>
                    <a:pt x="1804" y="6670"/>
                  </a:cubicBezTo>
                  <a:cubicBezTo>
                    <a:pt x="2058" y="6916"/>
                    <a:pt x="2167" y="7243"/>
                    <a:pt x="2421" y="7046"/>
                  </a:cubicBezTo>
                  <a:cubicBezTo>
                    <a:pt x="2517" y="7046"/>
                    <a:pt x="2580" y="6947"/>
                    <a:pt x="2644" y="6947"/>
                  </a:cubicBezTo>
                  <a:cubicBezTo>
                    <a:pt x="2707" y="6898"/>
                    <a:pt x="2803" y="6947"/>
                    <a:pt x="2834" y="7046"/>
                  </a:cubicBezTo>
                  <a:cubicBezTo>
                    <a:pt x="2866" y="7144"/>
                    <a:pt x="2834" y="7243"/>
                    <a:pt x="2834" y="7341"/>
                  </a:cubicBezTo>
                  <a:cubicBezTo>
                    <a:pt x="2866" y="7489"/>
                    <a:pt x="2961" y="7489"/>
                    <a:pt x="3024" y="7489"/>
                  </a:cubicBezTo>
                  <a:cubicBezTo>
                    <a:pt x="3088" y="7489"/>
                    <a:pt x="3152" y="7439"/>
                    <a:pt x="3247" y="7390"/>
                  </a:cubicBezTo>
                  <a:cubicBezTo>
                    <a:pt x="3502" y="7243"/>
                    <a:pt x="3819" y="7439"/>
                    <a:pt x="4042" y="7686"/>
                  </a:cubicBezTo>
                  <a:cubicBezTo>
                    <a:pt x="4296" y="7932"/>
                    <a:pt x="4518" y="8227"/>
                    <a:pt x="4805" y="8276"/>
                  </a:cubicBezTo>
                  <a:cubicBezTo>
                    <a:pt x="4900" y="8325"/>
                    <a:pt x="4995" y="8325"/>
                    <a:pt x="5058" y="8375"/>
                  </a:cubicBezTo>
                  <a:cubicBezTo>
                    <a:pt x="5154" y="8424"/>
                    <a:pt x="5218" y="8522"/>
                    <a:pt x="5281" y="8621"/>
                  </a:cubicBezTo>
                  <a:cubicBezTo>
                    <a:pt x="5663" y="8868"/>
                    <a:pt x="6139" y="8227"/>
                    <a:pt x="6457" y="8572"/>
                  </a:cubicBezTo>
                  <a:cubicBezTo>
                    <a:pt x="6648" y="8276"/>
                    <a:pt x="6998" y="8325"/>
                    <a:pt x="7284" y="8276"/>
                  </a:cubicBezTo>
                  <a:cubicBezTo>
                    <a:pt x="7538" y="8276"/>
                    <a:pt x="7792" y="8129"/>
                    <a:pt x="8047" y="8079"/>
                  </a:cubicBezTo>
                  <a:cubicBezTo>
                    <a:pt x="8523" y="7932"/>
                    <a:pt x="9000" y="8030"/>
                    <a:pt x="9445" y="8276"/>
                  </a:cubicBezTo>
                  <a:cubicBezTo>
                    <a:pt x="9445" y="8522"/>
                    <a:pt x="9445" y="8769"/>
                    <a:pt x="9572" y="8868"/>
                  </a:cubicBezTo>
                  <a:cubicBezTo>
                    <a:pt x="9603" y="8917"/>
                    <a:pt x="9667" y="8917"/>
                    <a:pt x="9699" y="8917"/>
                  </a:cubicBezTo>
                  <a:cubicBezTo>
                    <a:pt x="9762" y="9016"/>
                    <a:pt x="9762" y="9114"/>
                    <a:pt x="9794" y="9212"/>
                  </a:cubicBezTo>
                  <a:cubicBezTo>
                    <a:pt x="9826" y="9459"/>
                    <a:pt x="9858" y="9754"/>
                    <a:pt x="9889" y="10000"/>
                  </a:cubicBezTo>
                  <a:cubicBezTo>
                    <a:pt x="10048" y="9557"/>
                    <a:pt x="10016" y="9016"/>
                    <a:pt x="9921" y="8572"/>
                  </a:cubicBezTo>
                  <a:cubicBezTo>
                    <a:pt x="9826" y="8079"/>
                    <a:pt x="9667" y="7636"/>
                    <a:pt x="9476" y="7243"/>
                  </a:cubicBezTo>
                  <a:cubicBezTo>
                    <a:pt x="9349" y="6996"/>
                    <a:pt x="9159" y="6701"/>
                    <a:pt x="8967" y="6800"/>
                  </a:cubicBezTo>
                  <a:cubicBezTo>
                    <a:pt x="8936" y="6504"/>
                    <a:pt x="8936" y="6258"/>
                    <a:pt x="8809" y="6060"/>
                  </a:cubicBezTo>
                  <a:cubicBezTo>
                    <a:pt x="8713" y="5863"/>
                    <a:pt x="8523" y="5765"/>
                    <a:pt x="8396" y="5913"/>
                  </a:cubicBezTo>
                  <a:cubicBezTo>
                    <a:pt x="8333" y="5962"/>
                    <a:pt x="8300" y="6060"/>
                    <a:pt x="8268" y="6109"/>
                  </a:cubicBezTo>
                  <a:cubicBezTo>
                    <a:pt x="8205" y="6208"/>
                    <a:pt x="8110" y="6208"/>
                    <a:pt x="8014" y="6208"/>
                  </a:cubicBezTo>
                  <a:cubicBezTo>
                    <a:pt x="7760" y="6208"/>
                    <a:pt x="7474" y="6109"/>
                    <a:pt x="7219" y="6258"/>
                  </a:cubicBezTo>
                  <a:cubicBezTo>
                    <a:pt x="6806" y="6455"/>
                    <a:pt x="6585" y="7292"/>
                    <a:pt x="6139" y="7341"/>
                  </a:cubicBezTo>
                  <a:cubicBezTo>
                    <a:pt x="6203" y="6996"/>
                    <a:pt x="6299" y="6652"/>
                    <a:pt x="6362" y="6307"/>
                  </a:cubicBezTo>
                  <a:cubicBezTo>
                    <a:pt x="6457" y="5863"/>
                    <a:pt x="6552" y="5371"/>
                    <a:pt x="6648" y="4928"/>
                  </a:cubicBezTo>
                  <a:cubicBezTo>
                    <a:pt x="6775" y="4387"/>
                    <a:pt x="6902" y="3895"/>
                    <a:pt x="6966" y="3352"/>
                  </a:cubicBezTo>
                  <a:lnTo>
                    <a:pt x="6966" y="3254"/>
                  </a:lnTo>
                  <a:cubicBezTo>
                    <a:pt x="6934" y="3106"/>
                    <a:pt x="6648" y="3155"/>
                    <a:pt x="6552" y="3204"/>
                  </a:cubicBezTo>
                  <a:cubicBezTo>
                    <a:pt x="6362" y="3352"/>
                    <a:pt x="6330" y="3549"/>
                    <a:pt x="6171" y="3647"/>
                  </a:cubicBezTo>
                  <a:cubicBezTo>
                    <a:pt x="6044" y="3697"/>
                    <a:pt x="5917" y="3598"/>
                    <a:pt x="5790" y="3647"/>
                  </a:cubicBezTo>
                  <a:cubicBezTo>
                    <a:pt x="5567" y="3747"/>
                    <a:pt x="5281" y="3895"/>
                    <a:pt x="5058" y="3895"/>
                  </a:cubicBezTo>
                  <a:cubicBezTo>
                    <a:pt x="4964" y="3944"/>
                    <a:pt x="4741" y="3796"/>
                    <a:pt x="4645" y="3796"/>
                  </a:cubicBezTo>
                  <a:cubicBezTo>
                    <a:pt x="4518" y="3796"/>
                    <a:pt x="4518" y="3944"/>
                    <a:pt x="4391" y="3944"/>
                  </a:cubicBezTo>
                  <a:cubicBezTo>
                    <a:pt x="4391" y="3944"/>
                    <a:pt x="4423" y="3944"/>
                    <a:pt x="4455" y="3895"/>
                  </a:cubicBezTo>
                  <a:cubicBezTo>
                    <a:pt x="4455" y="3845"/>
                    <a:pt x="4423" y="3796"/>
                    <a:pt x="4423" y="3796"/>
                  </a:cubicBezTo>
                  <a:cubicBezTo>
                    <a:pt x="4391" y="3647"/>
                    <a:pt x="4328" y="3500"/>
                    <a:pt x="4296" y="3352"/>
                  </a:cubicBezTo>
                  <a:cubicBezTo>
                    <a:pt x="4265" y="3204"/>
                    <a:pt x="4201" y="3057"/>
                    <a:pt x="4105" y="3106"/>
                  </a:cubicBezTo>
                  <a:lnTo>
                    <a:pt x="4010" y="3106"/>
                  </a:lnTo>
                  <a:cubicBezTo>
                    <a:pt x="3852" y="3204"/>
                    <a:pt x="3660" y="3008"/>
                    <a:pt x="3502" y="3106"/>
                  </a:cubicBezTo>
                  <a:cubicBezTo>
                    <a:pt x="3406" y="3106"/>
                    <a:pt x="3343" y="3204"/>
                    <a:pt x="3279" y="3204"/>
                  </a:cubicBezTo>
                  <a:lnTo>
                    <a:pt x="3120" y="3204"/>
                  </a:lnTo>
                  <a:cubicBezTo>
                    <a:pt x="2930" y="3204"/>
                    <a:pt x="2771" y="3549"/>
                    <a:pt x="2580" y="3549"/>
                  </a:cubicBezTo>
                  <a:cubicBezTo>
                    <a:pt x="2611" y="3500"/>
                    <a:pt x="2675" y="3352"/>
                    <a:pt x="2707" y="3254"/>
                  </a:cubicBezTo>
                  <a:cubicBezTo>
                    <a:pt x="2707" y="3155"/>
                    <a:pt x="2707" y="3057"/>
                    <a:pt x="2644" y="3008"/>
                  </a:cubicBezTo>
                  <a:cubicBezTo>
                    <a:pt x="2580" y="2909"/>
                    <a:pt x="2453" y="3008"/>
                    <a:pt x="2389" y="2909"/>
                  </a:cubicBezTo>
                  <a:cubicBezTo>
                    <a:pt x="2357" y="2860"/>
                    <a:pt x="2357" y="2811"/>
                    <a:pt x="2357" y="2761"/>
                  </a:cubicBezTo>
                  <a:cubicBezTo>
                    <a:pt x="2325" y="2614"/>
                    <a:pt x="2231" y="2515"/>
                    <a:pt x="2167" y="2466"/>
                  </a:cubicBezTo>
                  <a:cubicBezTo>
                    <a:pt x="2071" y="2368"/>
                    <a:pt x="1976" y="2368"/>
                    <a:pt x="1881" y="2368"/>
                  </a:cubicBezTo>
                  <a:cubicBezTo>
                    <a:pt x="1849" y="2318"/>
                    <a:pt x="1785" y="2318"/>
                    <a:pt x="1754" y="2318"/>
                  </a:cubicBezTo>
                  <a:cubicBezTo>
                    <a:pt x="1690" y="2269"/>
                    <a:pt x="1626" y="2122"/>
                    <a:pt x="1595" y="2023"/>
                  </a:cubicBezTo>
                  <a:cubicBezTo>
                    <a:pt x="1499" y="1826"/>
                    <a:pt x="1340" y="1728"/>
                    <a:pt x="1245" y="1531"/>
                  </a:cubicBezTo>
                  <a:cubicBezTo>
                    <a:pt x="1213" y="1383"/>
                    <a:pt x="1182" y="1185"/>
                    <a:pt x="1118" y="1087"/>
                  </a:cubicBezTo>
                  <a:cubicBezTo>
                    <a:pt x="1086" y="988"/>
                    <a:pt x="1023" y="988"/>
                    <a:pt x="990" y="939"/>
                  </a:cubicBezTo>
                  <a:cubicBezTo>
                    <a:pt x="896" y="792"/>
                    <a:pt x="736" y="742"/>
                    <a:pt x="673" y="595"/>
                  </a:cubicBezTo>
                  <a:cubicBezTo>
                    <a:pt x="577" y="447"/>
                    <a:pt x="387" y="-45"/>
                    <a:pt x="260" y="4"/>
                  </a:cubicBezTo>
                  <a:cubicBezTo>
                    <a:pt x="260" y="4"/>
                    <a:pt x="228" y="4"/>
                    <a:pt x="228" y="53"/>
                  </a:cubicBezTo>
                  <a:cubicBezTo>
                    <a:pt x="217" y="69"/>
                    <a:pt x="207" y="86"/>
                    <a:pt x="196" y="102"/>
                  </a:cubicBezTo>
                  <a:cubicBezTo>
                    <a:pt x="164" y="250"/>
                    <a:pt x="101" y="250"/>
                    <a:pt x="70" y="447"/>
                  </a:cubicBezTo>
                  <a:cubicBezTo>
                    <a:pt x="37" y="496"/>
                    <a:pt x="101" y="742"/>
                    <a:pt x="101" y="841"/>
                  </a:cubicBezTo>
                  <a:cubicBezTo>
                    <a:pt x="101" y="988"/>
                    <a:pt x="133" y="1236"/>
                    <a:pt x="101" y="1383"/>
                  </a:cubicBezTo>
                  <a:cubicBezTo>
                    <a:pt x="101" y="1531"/>
                    <a:pt x="-26" y="1728"/>
                    <a:pt x="6" y="1875"/>
                  </a:cubicBezTo>
                  <a:cubicBezTo>
                    <a:pt x="6" y="1925"/>
                    <a:pt x="6" y="1925"/>
                    <a:pt x="37" y="1974"/>
                  </a:cubicBezTo>
                  <a:cubicBezTo>
                    <a:pt x="37" y="1974"/>
                    <a:pt x="260" y="2122"/>
                    <a:pt x="291" y="2171"/>
                  </a:cubicBezTo>
                  <a:cubicBezTo>
                    <a:pt x="356" y="2220"/>
                    <a:pt x="356" y="2318"/>
                    <a:pt x="356" y="2417"/>
                  </a:cubicBezTo>
                  <a:cubicBezTo>
                    <a:pt x="356" y="2565"/>
                    <a:pt x="356" y="2663"/>
                    <a:pt x="387" y="2712"/>
                  </a:cubicBezTo>
                  <a:cubicBezTo>
                    <a:pt x="387" y="2811"/>
                    <a:pt x="356" y="2909"/>
                    <a:pt x="387" y="3008"/>
                  </a:cubicBezTo>
                  <a:cubicBezTo>
                    <a:pt x="387" y="3106"/>
                    <a:pt x="387" y="3008"/>
                    <a:pt x="419" y="3106"/>
                  </a:cubicBezTo>
                  <a:cubicBezTo>
                    <a:pt x="483" y="3303"/>
                    <a:pt x="450" y="3549"/>
                    <a:pt x="450" y="3796"/>
                  </a:cubicBezTo>
                  <a:cubicBezTo>
                    <a:pt x="450" y="3845"/>
                    <a:pt x="483" y="3845"/>
                    <a:pt x="483" y="3895"/>
                  </a:cubicBezTo>
                  <a:cubicBezTo>
                    <a:pt x="514" y="3993"/>
                    <a:pt x="736" y="4190"/>
                    <a:pt x="927" y="4042"/>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66" name="Freeform 10">
              <a:extLst>
                <a:ext uri="{FF2B5EF4-FFF2-40B4-BE49-F238E27FC236}">
                  <a16:creationId xmlns:a16="http://schemas.microsoft.com/office/drawing/2014/main" id="{86C2E1DB-87A2-44DB-9044-5B33D6697438}"/>
                </a:ext>
              </a:extLst>
            </p:cNvPr>
            <p:cNvSpPr>
              <a:spLocks/>
            </p:cNvSpPr>
            <p:nvPr/>
          </p:nvSpPr>
          <p:spPr bwMode="auto">
            <a:xfrm>
              <a:off x="2524757" y="3424161"/>
              <a:ext cx="242903" cy="305692"/>
            </a:xfrm>
            <a:custGeom>
              <a:avLst/>
              <a:gdLst>
                <a:gd name="T0" fmla="*/ 0 w 56"/>
                <a:gd name="T1" fmla="*/ 0 h 69"/>
                <a:gd name="T2" fmla="*/ 4 w 56"/>
                <a:gd name="T3" fmla="*/ 15 h 69"/>
                <a:gd name="T4" fmla="*/ 12 w 56"/>
                <a:gd name="T5" fmla="*/ 20 h 69"/>
                <a:gd name="T6" fmla="*/ 15 w 56"/>
                <a:gd name="T7" fmla="*/ 26 h 69"/>
                <a:gd name="T8" fmla="*/ 20 w 56"/>
                <a:gd name="T9" fmla="*/ 37 h 69"/>
                <a:gd name="T10" fmla="*/ 21 w 56"/>
                <a:gd name="T11" fmla="*/ 40 h 69"/>
                <a:gd name="T12" fmla="*/ 23 w 56"/>
                <a:gd name="T13" fmla="*/ 42 h 69"/>
                <a:gd name="T14" fmla="*/ 41 w 56"/>
                <a:gd name="T15" fmla="*/ 51 h 69"/>
                <a:gd name="T16" fmla="*/ 56 w 56"/>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9">
                  <a:moveTo>
                    <a:pt x="0" y="0"/>
                  </a:moveTo>
                  <a:cubicBezTo>
                    <a:pt x="0" y="4"/>
                    <a:pt x="1" y="12"/>
                    <a:pt x="4" y="15"/>
                  </a:cubicBezTo>
                  <a:cubicBezTo>
                    <a:pt x="7" y="17"/>
                    <a:pt x="10" y="18"/>
                    <a:pt x="12" y="20"/>
                  </a:cubicBezTo>
                  <a:cubicBezTo>
                    <a:pt x="13" y="22"/>
                    <a:pt x="14" y="24"/>
                    <a:pt x="15" y="26"/>
                  </a:cubicBezTo>
                  <a:cubicBezTo>
                    <a:pt x="16" y="30"/>
                    <a:pt x="18" y="33"/>
                    <a:pt x="20" y="37"/>
                  </a:cubicBezTo>
                  <a:cubicBezTo>
                    <a:pt x="20" y="38"/>
                    <a:pt x="20" y="39"/>
                    <a:pt x="21" y="40"/>
                  </a:cubicBezTo>
                  <a:cubicBezTo>
                    <a:pt x="22" y="41"/>
                    <a:pt x="22" y="41"/>
                    <a:pt x="23" y="42"/>
                  </a:cubicBezTo>
                  <a:cubicBezTo>
                    <a:pt x="29" y="45"/>
                    <a:pt x="35" y="47"/>
                    <a:pt x="41" y="51"/>
                  </a:cubicBezTo>
                  <a:cubicBezTo>
                    <a:pt x="46" y="55"/>
                    <a:pt x="54" y="63"/>
                    <a:pt x="56" y="69"/>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67" name="Freeform 11">
              <a:extLst>
                <a:ext uri="{FF2B5EF4-FFF2-40B4-BE49-F238E27FC236}">
                  <a16:creationId xmlns:a16="http://schemas.microsoft.com/office/drawing/2014/main" id="{624B48F1-CFE0-44C5-85AC-7F72F5DA7953}"/>
                </a:ext>
              </a:extLst>
            </p:cNvPr>
            <p:cNvSpPr>
              <a:spLocks/>
            </p:cNvSpPr>
            <p:nvPr/>
          </p:nvSpPr>
          <p:spPr bwMode="auto">
            <a:xfrm>
              <a:off x="2725337" y="3583571"/>
              <a:ext cx="450844" cy="283186"/>
            </a:xfrm>
            <a:custGeom>
              <a:avLst/>
              <a:gdLst>
                <a:gd name="T0" fmla="*/ 10 w 104"/>
                <a:gd name="T1" fmla="*/ 44 h 64"/>
                <a:gd name="T2" fmla="*/ 9 w 104"/>
                <a:gd name="T3" fmla="*/ 46 h 64"/>
                <a:gd name="T4" fmla="*/ 8 w 104"/>
                <a:gd name="T5" fmla="*/ 49 h 64"/>
                <a:gd name="T6" fmla="*/ 0 w 104"/>
                <a:gd name="T7" fmla="*/ 58 h 64"/>
                <a:gd name="T8" fmla="*/ 3 w 104"/>
                <a:gd name="T9" fmla="*/ 63 h 64"/>
                <a:gd name="T10" fmla="*/ 9 w 104"/>
                <a:gd name="T11" fmla="*/ 64 h 64"/>
                <a:gd name="T12" fmla="*/ 18 w 104"/>
                <a:gd name="T13" fmla="*/ 62 h 64"/>
                <a:gd name="T14" fmla="*/ 25 w 104"/>
                <a:gd name="T15" fmla="*/ 55 h 64"/>
                <a:gd name="T16" fmla="*/ 33 w 104"/>
                <a:gd name="T17" fmla="*/ 53 h 64"/>
                <a:gd name="T18" fmla="*/ 76 w 104"/>
                <a:gd name="T19" fmla="*/ 37 h 64"/>
                <a:gd name="T20" fmla="*/ 82 w 104"/>
                <a:gd name="T21" fmla="*/ 32 h 64"/>
                <a:gd name="T22" fmla="*/ 100 w 104"/>
                <a:gd name="T23" fmla="*/ 25 h 64"/>
                <a:gd name="T24" fmla="*/ 104 w 104"/>
                <a:gd name="T25" fmla="*/ 21 h 64"/>
                <a:gd name="T26" fmla="*/ 99 w 104"/>
                <a:gd name="T27" fmla="*/ 18 h 64"/>
                <a:gd name="T28" fmla="*/ 99 w 104"/>
                <a:gd name="T29" fmla="*/ 13 h 64"/>
                <a:gd name="T30" fmla="*/ 90 w 104"/>
                <a:gd name="T31" fmla="*/ 3 h 64"/>
                <a:gd name="T32" fmla="*/ 89 w 104"/>
                <a:gd name="T33" fmla="*/ 1 h 64"/>
                <a:gd name="T34" fmla="*/ 85 w 104"/>
                <a:gd name="T35" fmla="*/ 3 h 64"/>
                <a:gd name="T36" fmla="*/ 70 w 104"/>
                <a:gd name="T37" fmla="*/ 10 h 64"/>
                <a:gd name="T38" fmla="*/ 67 w 104"/>
                <a:gd name="T39" fmla="*/ 10 h 64"/>
                <a:gd name="T40" fmla="*/ 64 w 104"/>
                <a:gd name="T41" fmla="*/ 8 h 64"/>
                <a:gd name="T42" fmla="*/ 55 w 104"/>
                <a:gd name="T43" fmla="*/ 9 h 64"/>
                <a:gd name="T44" fmla="*/ 45 w 104"/>
                <a:gd name="T45" fmla="*/ 13 h 64"/>
                <a:gd name="T46" fmla="*/ 42 w 104"/>
                <a:gd name="T47" fmla="*/ 14 h 64"/>
                <a:gd name="T48" fmla="*/ 39 w 104"/>
                <a:gd name="T49" fmla="*/ 17 h 64"/>
                <a:gd name="T50" fmla="*/ 23 w 104"/>
                <a:gd name="T51" fmla="*/ 25 h 64"/>
                <a:gd name="T52" fmla="*/ 17 w 104"/>
                <a:gd name="T53" fmla="*/ 30 h 64"/>
                <a:gd name="T54" fmla="*/ 10 w 104"/>
                <a:gd name="T55" fmla="*/ 34 h 64"/>
                <a:gd name="T56" fmla="*/ 11 w 104"/>
                <a:gd name="T57" fmla="*/ 38 h 64"/>
                <a:gd name="T58" fmla="*/ 10 w 104"/>
                <a:gd name="T59" fmla="*/ 4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4" h="64">
                  <a:moveTo>
                    <a:pt x="10" y="44"/>
                  </a:moveTo>
                  <a:cubicBezTo>
                    <a:pt x="9" y="45"/>
                    <a:pt x="9" y="45"/>
                    <a:pt x="9" y="46"/>
                  </a:cubicBezTo>
                  <a:cubicBezTo>
                    <a:pt x="8" y="47"/>
                    <a:pt x="8" y="48"/>
                    <a:pt x="8" y="49"/>
                  </a:cubicBezTo>
                  <a:cubicBezTo>
                    <a:pt x="7" y="53"/>
                    <a:pt x="1" y="54"/>
                    <a:pt x="0" y="58"/>
                  </a:cubicBezTo>
                  <a:cubicBezTo>
                    <a:pt x="0" y="60"/>
                    <a:pt x="1" y="62"/>
                    <a:pt x="3" y="63"/>
                  </a:cubicBezTo>
                  <a:cubicBezTo>
                    <a:pt x="5" y="63"/>
                    <a:pt x="7" y="64"/>
                    <a:pt x="9" y="64"/>
                  </a:cubicBezTo>
                  <a:cubicBezTo>
                    <a:pt x="12" y="63"/>
                    <a:pt x="15" y="63"/>
                    <a:pt x="18" y="62"/>
                  </a:cubicBezTo>
                  <a:cubicBezTo>
                    <a:pt x="20" y="60"/>
                    <a:pt x="22" y="57"/>
                    <a:pt x="25" y="55"/>
                  </a:cubicBezTo>
                  <a:cubicBezTo>
                    <a:pt x="27" y="54"/>
                    <a:pt x="30" y="53"/>
                    <a:pt x="33" y="53"/>
                  </a:cubicBezTo>
                  <a:cubicBezTo>
                    <a:pt x="48" y="51"/>
                    <a:pt x="63" y="46"/>
                    <a:pt x="76" y="37"/>
                  </a:cubicBezTo>
                  <a:cubicBezTo>
                    <a:pt x="78" y="35"/>
                    <a:pt x="80" y="33"/>
                    <a:pt x="82" y="32"/>
                  </a:cubicBezTo>
                  <a:cubicBezTo>
                    <a:pt x="88" y="28"/>
                    <a:pt x="94" y="26"/>
                    <a:pt x="100" y="25"/>
                  </a:cubicBezTo>
                  <a:cubicBezTo>
                    <a:pt x="102" y="24"/>
                    <a:pt x="104" y="23"/>
                    <a:pt x="104" y="21"/>
                  </a:cubicBezTo>
                  <a:cubicBezTo>
                    <a:pt x="102" y="22"/>
                    <a:pt x="99" y="20"/>
                    <a:pt x="99" y="18"/>
                  </a:cubicBezTo>
                  <a:cubicBezTo>
                    <a:pt x="98" y="16"/>
                    <a:pt x="99" y="15"/>
                    <a:pt x="99" y="13"/>
                  </a:cubicBezTo>
                  <a:cubicBezTo>
                    <a:pt x="98" y="9"/>
                    <a:pt x="91" y="8"/>
                    <a:pt x="90" y="3"/>
                  </a:cubicBezTo>
                  <a:cubicBezTo>
                    <a:pt x="89" y="3"/>
                    <a:pt x="90" y="1"/>
                    <a:pt x="89" y="1"/>
                  </a:cubicBezTo>
                  <a:cubicBezTo>
                    <a:pt x="87" y="0"/>
                    <a:pt x="86" y="2"/>
                    <a:pt x="85" y="3"/>
                  </a:cubicBezTo>
                  <a:cubicBezTo>
                    <a:pt x="82" y="8"/>
                    <a:pt x="76" y="10"/>
                    <a:pt x="70" y="10"/>
                  </a:cubicBezTo>
                  <a:cubicBezTo>
                    <a:pt x="69" y="10"/>
                    <a:pt x="68" y="10"/>
                    <a:pt x="67" y="10"/>
                  </a:cubicBezTo>
                  <a:cubicBezTo>
                    <a:pt x="66" y="9"/>
                    <a:pt x="65" y="9"/>
                    <a:pt x="64" y="8"/>
                  </a:cubicBezTo>
                  <a:cubicBezTo>
                    <a:pt x="61" y="7"/>
                    <a:pt x="58" y="8"/>
                    <a:pt x="55" y="9"/>
                  </a:cubicBezTo>
                  <a:cubicBezTo>
                    <a:pt x="51" y="10"/>
                    <a:pt x="48" y="12"/>
                    <a:pt x="45" y="13"/>
                  </a:cubicBezTo>
                  <a:cubicBezTo>
                    <a:pt x="44" y="13"/>
                    <a:pt x="43" y="13"/>
                    <a:pt x="42" y="14"/>
                  </a:cubicBezTo>
                  <a:cubicBezTo>
                    <a:pt x="41" y="15"/>
                    <a:pt x="40" y="16"/>
                    <a:pt x="39" y="17"/>
                  </a:cubicBezTo>
                  <a:cubicBezTo>
                    <a:pt x="35" y="21"/>
                    <a:pt x="28" y="21"/>
                    <a:pt x="23" y="25"/>
                  </a:cubicBezTo>
                  <a:cubicBezTo>
                    <a:pt x="21" y="26"/>
                    <a:pt x="19" y="28"/>
                    <a:pt x="17" y="30"/>
                  </a:cubicBezTo>
                  <a:cubicBezTo>
                    <a:pt x="15" y="32"/>
                    <a:pt x="11" y="32"/>
                    <a:pt x="10" y="34"/>
                  </a:cubicBezTo>
                  <a:cubicBezTo>
                    <a:pt x="10" y="35"/>
                    <a:pt x="11" y="37"/>
                    <a:pt x="11" y="38"/>
                  </a:cubicBezTo>
                  <a:cubicBezTo>
                    <a:pt x="11" y="40"/>
                    <a:pt x="10" y="42"/>
                    <a:pt x="10" y="44"/>
                  </a:cubicBezTo>
                  <a:close/>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68" name="Freeform 12">
              <a:extLst>
                <a:ext uri="{FF2B5EF4-FFF2-40B4-BE49-F238E27FC236}">
                  <a16:creationId xmlns:a16="http://schemas.microsoft.com/office/drawing/2014/main" id="{C53B2359-B145-44E9-8D2F-21DCBDF8716E}"/>
                </a:ext>
              </a:extLst>
            </p:cNvPr>
            <p:cNvSpPr>
              <a:spLocks/>
            </p:cNvSpPr>
            <p:nvPr/>
          </p:nvSpPr>
          <p:spPr bwMode="auto">
            <a:xfrm>
              <a:off x="2881752" y="3206614"/>
              <a:ext cx="290748" cy="380709"/>
            </a:xfrm>
            <a:custGeom>
              <a:avLst/>
              <a:gdLst>
                <a:gd name="T0" fmla="*/ 0 w 67"/>
                <a:gd name="T1" fmla="*/ 34 h 86"/>
                <a:gd name="T2" fmla="*/ 0 w 67"/>
                <a:gd name="T3" fmla="*/ 26 h 86"/>
                <a:gd name="T4" fmla="*/ 0 w 67"/>
                <a:gd name="T5" fmla="*/ 21 h 86"/>
                <a:gd name="T6" fmla="*/ 1 w 67"/>
                <a:gd name="T7" fmla="*/ 17 h 86"/>
                <a:gd name="T8" fmla="*/ 2 w 67"/>
                <a:gd name="T9" fmla="*/ 11 h 86"/>
                <a:gd name="T10" fmla="*/ 2 w 67"/>
                <a:gd name="T11" fmla="*/ 9 h 86"/>
                <a:gd name="T12" fmla="*/ 3 w 67"/>
                <a:gd name="T13" fmla="*/ 6 h 86"/>
                <a:gd name="T14" fmla="*/ 9 w 67"/>
                <a:gd name="T15" fmla="*/ 1 h 86"/>
                <a:gd name="T16" fmla="*/ 18 w 67"/>
                <a:gd name="T17" fmla="*/ 0 h 86"/>
                <a:gd name="T18" fmla="*/ 20 w 67"/>
                <a:gd name="T19" fmla="*/ 1 h 86"/>
                <a:gd name="T20" fmla="*/ 23 w 67"/>
                <a:gd name="T21" fmla="*/ 4 h 86"/>
                <a:gd name="T22" fmla="*/ 33 w 67"/>
                <a:gd name="T23" fmla="*/ 9 h 86"/>
                <a:gd name="T24" fmla="*/ 39 w 67"/>
                <a:gd name="T25" fmla="*/ 24 h 86"/>
                <a:gd name="T26" fmla="*/ 40 w 67"/>
                <a:gd name="T27" fmla="*/ 26 h 86"/>
                <a:gd name="T28" fmla="*/ 43 w 67"/>
                <a:gd name="T29" fmla="*/ 29 h 86"/>
                <a:gd name="T30" fmla="*/ 47 w 67"/>
                <a:gd name="T31" fmla="*/ 38 h 86"/>
                <a:gd name="T32" fmla="*/ 55 w 67"/>
                <a:gd name="T33" fmla="*/ 46 h 86"/>
                <a:gd name="T34" fmla="*/ 61 w 67"/>
                <a:gd name="T35" fmla="*/ 49 h 86"/>
                <a:gd name="T36" fmla="*/ 64 w 67"/>
                <a:gd name="T37" fmla="*/ 53 h 86"/>
                <a:gd name="T38" fmla="*/ 67 w 67"/>
                <a:gd name="T39" fmla="*/ 56 h 86"/>
                <a:gd name="T40" fmla="*/ 66 w 67"/>
                <a:gd name="T41" fmla="*/ 59 h 86"/>
                <a:gd name="T42" fmla="*/ 55 w 67"/>
                <a:gd name="T43" fmla="*/ 70 h 86"/>
                <a:gd name="T44" fmla="*/ 51 w 67"/>
                <a:gd name="T4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86">
                  <a:moveTo>
                    <a:pt x="0" y="34"/>
                  </a:moveTo>
                  <a:cubicBezTo>
                    <a:pt x="1" y="32"/>
                    <a:pt x="1" y="29"/>
                    <a:pt x="0" y="26"/>
                  </a:cubicBezTo>
                  <a:cubicBezTo>
                    <a:pt x="0" y="24"/>
                    <a:pt x="0" y="23"/>
                    <a:pt x="0" y="21"/>
                  </a:cubicBezTo>
                  <a:cubicBezTo>
                    <a:pt x="0" y="20"/>
                    <a:pt x="1" y="18"/>
                    <a:pt x="1" y="17"/>
                  </a:cubicBezTo>
                  <a:cubicBezTo>
                    <a:pt x="2" y="15"/>
                    <a:pt x="2" y="13"/>
                    <a:pt x="2" y="11"/>
                  </a:cubicBezTo>
                  <a:cubicBezTo>
                    <a:pt x="2" y="10"/>
                    <a:pt x="2" y="10"/>
                    <a:pt x="2" y="9"/>
                  </a:cubicBezTo>
                  <a:cubicBezTo>
                    <a:pt x="2" y="8"/>
                    <a:pt x="3" y="7"/>
                    <a:pt x="3" y="6"/>
                  </a:cubicBezTo>
                  <a:cubicBezTo>
                    <a:pt x="5" y="4"/>
                    <a:pt x="7" y="2"/>
                    <a:pt x="9" y="1"/>
                  </a:cubicBezTo>
                  <a:cubicBezTo>
                    <a:pt x="12" y="0"/>
                    <a:pt x="15" y="0"/>
                    <a:pt x="18" y="0"/>
                  </a:cubicBezTo>
                  <a:cubicBezTo>
                    <a:pt x="19" y="0"/>
                    <a:pt x="20" y="0"/>
                    <a:pt x="20" y="1"/>
                  </a:cubicBezTo>
                  <a:cubicBezTo>
                    <a:pt x="21" y="2"/>
                    <a:pt x="22" y="3"/>
                    <a:pt x="23" y="4"/>
                  </a:cubicBezTo>
                  <a:cubicBezTo>
                    <a:pt x="25" y="7"/>
                    <a:pt x="30" y="7"/>
                    <a:pt x="33" y="9"/>
                  </a:cubicBezTo>
                  <a:cubicBezTo>
                    <a:pt x="38" y="12"/>
                    <a:pt x="38" y="18"/>
                    <a:pt x="39" y="24"/>
                  </a:cubicBezTo>
                  <a:cubicBezTo>
                    <a:pt x="39" y="25"/>
                    <a:pt x="39" y="26"/>
                    <a:pt x="40" y="26"/>
                  </a:cubicBezTo>
                  <a:cubicBezTo>
                    <a:pt x="41" y="28"/>
                    <a:pt x="42" y="28"/>
                    <a:pt x="43" y="29"/>
                  </a:cubicBezTo>
                  <a:cubicBezTo>
                    <a:pt x="45" y="32"/>
                    <a:pt x="46" y="35"/>
                    <a:pt x="47" y="38"/>
                  </a:cubicBezTo>
                  <a:cubicBezTo>
                    <a:pt x="49" y="42"/>
                    <a:pt x="52" y="44"/>
                    <a:pt x="55" y="46"/>
                  </a:cubicBezTo>
                  <a:cubicBezTo>
                    <a:pt x="57" y="47"/>
                    <a:pt x="60" y="48"/>
                    <a:pt x="61" y="49"/>
                  </a:cubicBezTo>
                  <a:cubicBezTo>
                    <a:pt x="62" y="50"/>
                    <a:pt x="63" y="52"/>
                    <a:pt x="64" y="53"/>
                  </a:cubicBezTo>
                  <a:cubicBezTo>
                    <a:pt x="65" y="54"/>
                    <a:pt x="67" y="54"/>
                    <a:pt x="67" y="56"/>
                  </a:cubicBezTo>
                  <a:cubicBezTo>
                    <a:pt x="67" y="57"/>
                    <a:pt x="67" y="58"/>
                    <a:pt x="66" y="59"/>
                  </a:cubicBezTo>
                  <a:cubicBezTo>
                    <a:pt x="63" y="63"/>
                    <a:pt x="57" y="65"/>
                    <a:pt x="55" y="70"/>
                  </a:cubicBezTo>
                  <a:cubicBezTo>
                    <a:pt x="53" y="73"/>
                    <a:pt x="52" y="82"/>
                    <a:pt x="51" y="8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69" name="Freeform 13">
              <a:extLst>
                <a:ext uri="{FF2B5EF4-FFF2-40B4-BE49-F238E27FC236}">
                  <a16:creationId xmlns:a16="http://schemas.microsoft.com/office/drawing/2014/main" id="{B2708744-E827-4BE8-82AC-EEDCA3DF9F54}"/>
                </a:ext>
              </a:extLst>
            </p:cNvPr>
            <p:cNvSpPr>
              <a:spLocks/>
            </p:cNvSpPr>
            <p:nvPr/>
          </p:nvSpPr>
          <p:spPr bwMode="auto">
            <a:xfrm>
              <a:off x="3076812" y="3343518"/>
              <a:ext cx="195059" cy="110649"/>
            </a:xfrm>
            <a:custGeom>
              <a:avLst/>
              <a:gdLst>
                <a:gd name="T0" fmla="*/ 0 w 45"/>
                <a:gd name="T1" fmla="*/ 1 h 25"/>
                <a:gd name="T2" fmla="*/ 21 w 45"/>
                <a:gd name="T3" fmla="*/ 0 h 25"/>
                <a:gd name="T4" fmla="*/ 31 w 45"/>
                <a:gd name="T5" fmla="*/ 3 h 25"/>
                <a:gd name="T6" fmla="*/ 44 w 45"/>
                <a:gd name="T7" fmla="*/ 3 h 25"/>
                <a:gd name="T8" fmla="*/ 45 w 45"/>
                <a:gd name="T9" fmla="*/ 9 h 25"/>
                <a:gd name="T10" fmla="*/ 43 w 45"/>
                <a:gd name="T11" fmla="*/ 16 h 25"/>
                <a:gd name="T12" fmla="*/ 31 w 45"/>
                <a:gd name="T13" fmla="*/ 17 h 25"/>
                <a:gd name="T14" fmla="*/ 22 w 45"/>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5">
                  <a:moveTo>
                    <a:pt x="0" y="1"/>
                  </a:moveTo>
                  <a:cubicBezTo>
                    <a:pt x="6" y="2"/>
                    <a:pt x="14" y="0"/>
                    <a:pt x="21" y="0"/>
                  </a:cubicBezTo>
                  <a:cubicBezTo>
                    <a:pt x="24" y="1"/>
                    <a:pt x="27" y="2"/>
                    <a:pt x="31" y="3"/>
                  </a:cubicBezTo>
                  <a:cubicBezTo>
                    <a:pt x="35" y="4"/>
                    <a:pt x="40" y="4"/>
                    <a:pt x="44" y="3"/>
                  </a:cubicBezTo>
                  <a:cubicBezTo>
                    <a:pt x="45" y="5"/>
                    <a:pt x="45" y="7"/>
                    <a:pt x="45" y="9"/>
                  </a:cubicBezTo>
                  <a:cubicBezTo>
                    <a:pt x="45" y="12"/>
                    <a:pt x="45" y="14"/>
                    <a:pt x="43" y="16"/>
                  </a:cubicBezTo>
                  <a:cubicBezTo>
                    <a:pt x="40" y="18"/>
                    <a:pt x="35" y="16"/>
                    <a:pt x="31" y="17"/>
                  </a:cubicBezTo>
                  <a:cubicBezTo>
                    <a:pt x="27" y="18"/>
                    <a:pt x="24" y="22"/>
                    <a:pt x="22"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0" name="Freeform 14">
              <a:extLst>
                <a:ext uri="{FF2B5EF4-FFF2-40B4-BE49-F238E27FC236}">
                  <a16:creationId xmlns:a16="http://schemas.microsoft.com/office/drawing/2014/main" id="{E2AC888E-6B8A-4043-A1A6-4F995B556B26}"/>
                </a:ext>
              </a:extLst>
            </p:cNvPr>
            <p:cNvSpPr>
              <a:spLocks/>
            </p:cNvSpPr>
            <p:nvPr/>
          </p:nvSpPr>
          <p:spPr bwMode="auto">
            <a:xfrm>
              <a:off x="3176181" y="3446665"/>
              <a:ext cx="239222" cy="228801"/>
            </a:xfrm>
            <a:custGeom>
              <a:avLst/>
              <a:gdLst>
                <a:gd name="T0" fmla="*/ 0 w 55"/>
                <a:gd name="T1" fmla="*/ 52 h 52"/>
                <a:gd name="T2" fmla="*/ 11 w 55"/>
                <a:gd name="T3" fmla="*/ 49 h 52"/>
                <a:gd name="T4" fmla="*/ 15 w 55"/>
                <a:gd name="T5" fmla="*/ 48 h 52"/>
                <a:gd name="T6" fmla="*/ 18 w 55"/>
                <a:gd name="T7" fmla="*/ 45 h 52"/>
                <a:gd name="T8" fmla="*/ 24 w 55"/>
                <a:gd name="T9" fmla="*/ 40 h 52"/>
                <a:gd name="T10" fmla="*/ 27 w 55"/>
                <a:gd name="T11" fmla="*/ 39 h 52"/>
                <a:gd name="T12" fmla="*/ 30 w 55"/>
                <a:gd name="T13" fmla="*/ 34 h 52"/>
                <a:gd name="T14" fmla="*/ 45 w 55"/>
                <a:gd name="T15" fmla="*/ 19 h 52"/>
                <a:gd name="T16" fmla="*/ 53 w 55"/>
                <a:gd name="T17" fmla="*/ 5 h 52"/>
                <a:gd name="T18" fmla="*/ 55 w 55"/>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2">
                  <a:moveTo>
                    <a:pt x="0" y="52"/>
                  </a:moveTo>
                  <a:cubicBezTo>
                    <a:pt x="3" y="51"/>
                    <a:pt x="7" y="50"/>
                    <a:pt x="11" y="49"/>
                  </a:cubicBezTo>
                  <a:cubicBezTo>
                    <a:pt x="12" y="49"/>
                    <a:pt x="13" y="48"/>
                    <a:pt x="15" y="48"/>
                  </a:cubicBezTo>
                  <a:cubicBezTo>
                    <a:pt x="16" y="47"/>
                    <a:pt x="17" y="46"/>
                    <a:pt x="18" y="45"/>
                  </a:cubicBezTo>
                  <a:cubicBezTo>
                    <a:pt x="20" y="43"/>
                    <a:pt x="22" y="42"/>
                    <a:pt x="24" y="40"/>
                  </a:cubicBezTo>
                  <a:cubicBezTo>
                    <a:pt x="25" y="40"/>
                    <a:pt x="26" y="40"/>
                    <a:pt x="27" y="39"/>
                  </a:cubicBezTo>
                  <a:cubicBezTo>
                    <a:pt x="28" y="38"/>
                    <a:pt x="29" y="36"/>
                    <a:pt x="30" y="34"/>
                  </a:cubicBezTo>
                  <a:cubicBezTo>
                    <a:pt x="33" y="28"/>
                    <a:pt x="40" y="25"/>
                    <a:pt x="45" y="19"/>
                  </a:cubicBezTo>
                  <a:cubicBezTo>
                    <a:pt x="49" y="16"/>
                    <a:pt x="52" y="10"/>
                    <a:pt x="53" y="5"/>
                  </a:cubicBezTo>
                  <a:cubicBezTo>
                    <a:pt x="54" y="3"/>
                    <a:pt x="54" y="2"/>
                    <a:pt x="55"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1" name="Freeform 15">
              <a:extLst>
                <a:ext uri="{FF2B5EF4-FFF2-40B4-BE49-F238E27FC236}">
                  <a16:creationId xmlns:a16="http://schemas.microsoft.com/office/drawing/2014/main" id="{FA0C817F-6AA8-4588-8B59-C4C068D0CDF5}"/>
                </a:ext>
              </a:extLst>
            </p:cNvPr>
            <p:cNvSpPr>
              <a:spLocks/>
            </p:cNvSpPr>
            <p:nvPr/>
          </p:nvSpPr>
          <p:spPr bwMode="auto">
            <a:xfrm>
              <a:off x="3901211" y="3086587"/>
              <a:ext cx="1122509" cy="328196"/>
            </a:xfrm>
            <a:custGeom>
              <a:avLst/>
              <a:gdLst>
                <a:gd name="T0" fmla="*/ 0 w 259"/>
                <a:gd name="T1" fmla="*/ 60 h 74"/>
                <a:gd name="T2" fmla="*/ 16 w 259"/>
                <a:gd name="T3" fmla="*/ 60 h 74"/>
                <a:gd name="T4" fmla="*/ 23 w 259"/>
                <a:gd name="T5" fmla="*/ 70 h 74"/>
                <a:gd name="T6" fmla="*/ 26 w 259"/>
                <a:gd name="T7" fmla="*/ 71 h 74"/>
                <a:gd name="T8" fmla="*/ 87 w 259"/>
                <a:gd name="T9" fmla="*/ 67 h 74"/>
                <a:gd name="T10" fmla="*/ 107 w 259"/>
                <a:gd name="T11" fmla="*/ 63 h 74"/>
                <a:gd name="T12" fmla="*/ 122 w 259"/>
                <a:gd name="T13" fmla="*/ 54 h 74"/>
                <a:gd name="T14" fmla="*/ 163 w 259"/>
                <a:gd name="T15" fmla="*/ 36 h 74"/>
                <a:gd name="T16" fmla="*/ 173 w 259"/>
                <a:gd name="T17" fmla="*/ 32 h 74"/>
                <a:gd name="T18" fmla="*/ 183 w 259"/>
                <a:gd name="T19" fmla="*/ 24 h 74"/>
                <a:gd name="T20" fmla="*/ 191 w 259"/>
                <a:gd name="T21" fmla="*/ 21 h 74"/>
                <a:gd name="T22" fmla="*/ 239 w 259"/>
                <a:gd name="T23" fmla="*/ 5 h 74"/>
                <a:gd name="T24" fmla="*/ 259 w 259"/>
                <a:gd name="T25" fmla="*/ 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74">
                  <a:moveTo>
                    <a:pt x="0" y="60"/>
                  </a:moveTo>
                  <a:cubicBezTo>
                    <a:pt x="6" y="58"/>
                    <a:pt x="12" y="57"/>
                    <a:pt x="16" y="60"/>
                  </a:cubicBezTo>
                  <a:cubicBezTo>
                    <a:pt x="19" y="63"/>
                    <a:pt x="19" y="68"/>
                    <a:pt x="23" y="70"/>
                  </a:cubicBezTo>
                  <a:cubicBezTo>
                    <a:pt x="24" y="71"/>
                    <a:pt x="25" y="71"/>
                    <a:pt x="26" y="71"/>
                  </a:cubicBezTo>
                  <a:cubicBezTo>
                    <a:pt x="47" y="74"/>
                    <a:pt x="67" y="71"/>
                    <a:pt x="87" y="67"/>
                  </a:cubicBezTo>
                  <a:cubicBezTo>
                    <a:pt x="94" y="66"/>
                    <a:pt x="101" y="65"/>
                    <a:pt x="107" y="63"/>
                  </a:cubicBezTo>
                  <a:cubicBezTo>
                    <a:pt x="112" y="60"/>
                    <a:pt x="117" y="57"/>
                    <a:pt x="122" y="54"/>
                  </a:cubicBezTo>
                  <a:cubicBezTo>
                    <a:pt x="135" y="46"/>
                    <a:pt x="148" y="40"/>
                    <a:pt x="163" y="36"/>
                  </a:cubicBezTo>
                  <a:cubicBezTo>
                    <a:pt x="166" y="35"/>
                    <a:pt x="170" y="34"/>
                    <a:pt x="173" y="32"/>
                  </a:cubicBezTo>
                  <a:cubicBezTo>
                    <a:pt x="177" y="30"/>
                    <a:pt x="179" y="27"/>
                    <a:pt x="183" y="24"/>
                  </a:cubicBezTo>
                  <a:cubicBezTo>
                    <a:pt x="185" y="23"/>
                    <a:pt x="188" y="22"/>
                    <a:pt x="191" y="21"/>
                  </a:cubicBezTo>
                  <a:cubicBezTo>
                    <a:pt x="207" y="15"/>
                    <a:pt x="223" y="10"/>
                    <a:pt x="239" y="5"/>
                  </a:cubicBezTo>
                  <a:cubicBezTo>
                    <a:pt x="246" y="3"/>
                    <a:pt x="252" y="0"/>
                    <a:pt x="259" y="1"/>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2" name="Freeform 16">
              <a:extLst>
                <a:ext uri="{FF2B5EF4-FFF2-40B4-BE49-F238E27FC236}">
                  <a16:creationId xmlns:a16="http://schemas.microsoft.com/office/drawing/2014/main" id="{DC042C88-131D-4148-970D-49E98FB0B56C}"/>
                </a:ext>
              </a:extLst>
            </p:cNvPr>
            <p:cNvSpPr>
              <a:spLocks/>
            </p:cNvSpPr>
            <p:nvPr/>
          </p:nvSpPr>
          <p:spPr bwMode="auto">
            <a:xfrm>
              <a:off x="3840486" y="2891525"/>
              <a:ext cx="1096746" cy="456532"/>
            </a:xfrm>
            <a:custGeom>
              <a:avLst/>
              <a:gdLst>
                <a:gd name="T0" fmla="*/ 0 w 253"/>
                <a:gd name="T1" fmla="*/ 77 h 99"/>
                <a:gd name="T2" fmla="*/ 58 w 253"/>
                <a:gd name="T3" fmla="*/ 62 h 99"/>
                <a:gd name="T4" fmla="*/ 88 w 253"/>
                <a:gd name="T5" fmla="*/ 51 h 99"/>
                <a:gd name="T6" fmla="*/ 115 w 253"/>
                <a:gd name="T7" fmla="*/ 41 h 99"/>
                <a:gd name="T8" fmla="*/ 130 w 253"/>
                <a:gd name="T9" fmla="*/ 35 h 99"/>
                <a:gd name="T10" fmla="*/ 142 w 253"/>
                <a:gd name="T11" fmla="*/ 28 h 99"/>
                <a:gd name="T12" fmla="*/ 162 w 253"/>
                <a:gd name="T13" fmla="*/ 22 h 99"/>
                <a:gd name="T14" fmla="*/ 210 w 253"/>
                <a:gd name="T15" fmla="*/ 8 h 99"/>
                <a:gd name="T16" fmla="*/ 253 w 253"/>
                <a:gd name="T17" fmla="*/ 1 h 99"/>
                <a:gd name="T18" fmla="*/ 147 w 253"/>
                <a:gd name="T19" fmla="*/ 69 h 99"/>
                <a:gd name="T20" fmla="*/ 126 w 253"/>
                <a:gd name="T21" fmla="*/ 87 h 99"/>
                <a:gd name="T22" fmla="*/ 115 w 253"/>
                <a:gd name="T23" fmla="*/ 94 h 99"/>
                <a:gd name="T24" fmla="*/ 97 w 253"/>
                <a:gd name="T25" fmla="*/ 97 h 99"/>
                <a:gd name="T26" fmla="*/ 20 w 253"/>
                <a:gd name="T27" fmla="*/ 99 h 99"/>
                <a:gd name="connsiteX0" fmla="*/ 0 w 10000"/>
                <a:gd name="connsiteY0" fmla="*/ 7693 h 10403"/>
                <a:gd name="connsiteX1" fmla="*/ 2292 w 10000"/>
                <a:gd name="connsiteY1" fmla="*/ 6178 h 10403"/>
                <a:gd name="connsiteX2" fmla="*/ 3478 w 10000"/>
                <a:gd name="connsiteY2" fmla="*/ 5067 h 10403"/>
                <a:gd name="connsiteX3" fmla="*/ 4545 w 10000"/>
                <a:gd name="connsiteY3" fmla="*/ 4056 h 10403"/>
                <a:gd name="connsiteX4" fmla="*/ 5138 w 10000"/>
                <a:gd name="connsiteY4" fmla="*/ 3450 h 10403"/>
                <a:gd name="connsiteX5" fmla="*/ 5613 w 10000"/>
                <a:gd name="connsiteY5" fmla="*/ 2743 h 10403"/>
                <a:gd name="connsiteX6" fmla="*/ 6403 w 10000"/>
                <a:gd name="connsiteY6" fmla="*/ 2137 h 10403"/>
                <a:gd name="connsiteX7" fmla="*/ 8300 w 10000"/>
                <a:gd name="connsiteY7" fmla="*/ 723 h 10403"/>
                <a:gd name="connsiteX8" fmla="*/ 10000 w 10000"/>
                <a:gd name="connsiteY8" fmla="*/ 16 h 10403"/>
                <a:gd name="connsiteX9" fmla="*/ 5810 w 10000"/>
                <a:gd name="connsiteY9" fmla="*/ 6885 h 10403"/>
                <a:gd name="connsiteX10" fmla="*/ 4980 w 10000"/>
                <a:gd name="connsiteY10" fmla="*/ 8703 h 10403"/>
                <a:gd name="connsiteX11" fmla="*/ 4545 w 10000"/>
                <a:gd name="connsiteY11" fmla="*/ 9410 h 10403"/>
                <a:gd name="connsiteX12" fmla="*/ 3834 w 10000"/>
                <a:gd name="connsiteY12" fmla="*/ 9713 h 10403"/>
                <a:gd name="connsiteX13" fmla="*/ 726 w 10000"/>
                <a:gd name="connsiteY13" fmla="*/ 10403 h 1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0" h="10403">
                  <a:moveTo>
                    <a:pt x="0" y="7693"/>
                  </a:moveTo>
                  <a:cubicBezTo>
                    <a:pt x="791" y="7289"/>
                    <a:pt x="1542" y="6784"/>
                    <a:pt x="2292" y="6178"/>
                  </a:cubicBezTo>
                  <a:cubicBezTo>
                    <a:pt x="2688" y="5774"/>
                    <a:pt x="3083" y="5471"/>
                    <a:pt x="3478" y="5067"/>
                  </a:cubicBezTo>
                  <a:cubicBezTo>
                    <a:pt x="3834" y="4763"/>
                    <a:pt x="4190" y="4359"/>
                    <a:pt x="4545" y="4056"/>
                  </a:cubicBezTo>
                  <a:cubicBezTo>
                    <a:pt x="4783" y="3854"/>
                    <a:pt x="4980" y="3652"/>
                    <a:pt x="5138" y="3450"/>
                  </a:cubicBezTo>
                  <a:cubicBezTo>
                    <a:pt x="5296" y="3248"/>
                    <a:pt x="5455" y="2945"/>
                    <a:pt x="5613" y="2743"/>
                  </a:cubicBezTo>
                  <a:cubicBezTo>
                    <a:pt x="5889" y="2440"/>
                    <a:pt x="6126" y="2339"/>
                    <a:pt x="6403" y="2137"/>
                  </a:cubicBezTo>
                  <a:cubicBezTo>
                    <a:pt x="7036" y="1632"/>
                    <a:pt x="7668" y="1228"/>
                    <a:pt x="8300" y="723"/>
                  </a:cubicBezTo>
                  <a:cubicBezTo>
                    <a:pt x="8854" y="319"/>
                    <a:pt x="9447" y="-85"/>
                    <a:pt x="10000" y="16"/>
                  </a:cubicBezTo>
                  <a:cubicBezTo>
                    <a:pt x="8458" y="1632"/>
                    <a:pt x="7036" y="3955"/>
                    <a:pt x="5810" y="6885"/>
                  </a:cubicBezTo>
                  <a:cubicBezTo>
                    <a:pt x="5534" y="7491"/>
                    <a:pt x="5257" y="8198"/>
                    <a:pt x="4980" y="8703"/>
                  </a:cubicBezTo>
                  <a:cubicBezTo>
                    <a:pt x="4862" y="9006"/>
                    <a:pt x="4704" y="9309"/>
                    <a:pt x="4545" y="9410"/>
                  </a:cubicBezTo>
                  <a:cubicBezTo>
                    <a:pt x="4308" y="9612"/>
                    <a:pt x="4071" y="9612"/>
                    <a:pt x="3834" y="9713"/>
                  </a:cubicBezTo>
                  <a:cubicBezTo>
                    <a:pt x="2806" y="9814"/>
                    <a:pt x="1753" y="10302"/>
                    <a:pt x="726" y="1040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3" name="Freeform 17">
              <a:extLst>
                <a:ext uri="{FF2B5EF4-FFF2-40B4-BE49-F238E27FC236}">
                  <a16:creationId xmlns:a16="http://schemas.microsoft.com/office/drawing/2014/main" id="{B355B64C-41A1-4E7A-9AC7-FCFE1FB013D0}"/>
                </a:ext>
              </a:extLst>
            </p:cNvPr>
            <p:cNvSpPr>
              <a:spLocks/>
            </p:cNvSpPr>
            <p:nvPr/>
          </p:nvSpPr>
          <p:spPr bwMode="auto">
            <a:xfrm>
              <a:off x="4928031" y="2707755"/>
              <a:ext cx="728710" cy="185665"/>
            </a:xfrm>
            <a:custGeom>
              <a:avLst/>
              <a:gdLst>
                <a:gd name="T0" fmla="*/ 0 w 168"/>
                <a:gd name="T1" fmla="*/ 42 h 42"/>
                <a:gd name="T2" fmla="*/ 58 w 168"/>
                <a:gd name="T3" fmla="*/ 23 h 42"/>
                <a:gd name="T4" fmla="*/ 70 w 168"/>
                <a:gd name="T5" fmla="*/ 17 h 42"/>
                <a:gd name="T6" fmla="*/ 135 w 168"/>
                <a:gd name="T7" fmla="*/ 0 h 42"/>
                <a:gd name="T8" fmla="*/ 140 w 168"/>
                <a:gd name="T9" fmla="*/ 0 h 42"/>
                <a:gd name="T10" fmla="*/ 144 w 168"/>
                <a:gd name="T11" fmla="*/ 1 h 42"/>
                <a:gd name="T12" fmla="*/ 151 w 168"/>
                <a:gd name="T13" fmla="*/ 0 h 42"/>
                <a:gd name="T14" fmla="*/ 161 w 168"/>
                <a:gd name="T15" fmla="*/ 6 h 42"/>
                <a:gd name="T16" fmla="*/ 168 w 168"/>
                <a:gd name="T17" fmla="*/ 13 h 42"/>
                <a:gd name="T18" fmla="*/ 159 w 168"/>
                <a:gd name="T19" fmla="*/ 18 h 42"/>
                <a:gd name="T20" fmla="*/ 153 w 168"/>
                <a:gd name="T21" fmla="*/ 10 h 42"/>
                <a:gd name="T22" fmla="*/ 157 w 168"/>
                <a:gd name="T23"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42">
                  <a:moveTo>
                    <a:pt x="0" y="42"/>
                  </a:moveTo>
                  <a:cubicBezTo>
                    <a:pt x="17" y="38"/>
                    <a:pt x="42" y="30"/>
                    <a:pt x="58" y="23"/>
                  </a:cubicBezTo>
                  <a:cubicBezTo>
                    <a:pt x="62" y="21"/>
                    <a:pt x="66" y="19"/>
                    <a:pt x="70" y="17"/>
                  </a:cubicBezTo>
                  <a:cubicBezTo>
                    <a:pt x="90" y="8"/>
                    <a:pt x="113" y="4"/>
                    <a:pt x="135" y="0"/>
                  </a:cubicBezTo>
                  <a:cubicBezTo>
                    <a:pt x="137" y="0"/>
                    <a:pt x="139" y="0"/>
                    <a:pt x="140" y="0"/>
                  </a:cubicBezTo>
                  <a:cubicBezTo>
                    <a:pt x="142" y="0"/>
                    <a:pt x="143" y="1"/>
                    <a:pt x="144" y="1"/>
                  </a:cubicBezTo>
                  <a:cubicBezTo>
                    <a:pt x="146" y="1"/>
                    <a:pt x="149" y="0"/>
                    <a:pt x="151" y="0"/>
                  </a:cubicBezTo>
                  <a:cubicBezTo>
                    <a:pt x="155" y="0"/>
                    <a:pt x="158" y="3"/>
                    <a:pt x="161" y="6"/>
                  </a:cubicBezTo>
                  <a:cubicBezTo>
                    <a:pt x="163" y="8"/>
                    <a:pt x="166" y="10"/>
                    <a:pt x="168" y="13"/>
                  </a:cubicBezTo>
                  <a:cubicBezTo>
                    <a:pt x="166" y="14"/>
                    <a:pt x="161" y="17"/>
                    <a:pt x="159" y="18"/>
                  </a:cubicBezTo>
                  <a:cubicBezTo>
                    <a:pt x="157" y="19"/>
                    <a:pt x="154" y="11"/>
                    <a:pt x="153" y="10"/>
                  </a:cubicBezTo>
                  <a:cubicBezTo>
                    <a:pt x="151" y="7"/>
                    <a:pt x="156" y="6"/>
                    <a:pt x="157" y="4"/>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4" name="Freeform 18">
              <a:extLst>
                <a:ext uri="{FF2B5EF4-FFF2-40B4-BE49-F238E27FC236}">
                  <a16:creationId xmlns:a16="http://schemas.microsoft.com/office/drawing/2014/main" id="{CD00AF21-D627-4AED-902A-962DFDA7BE05}"/>
                </a:ext>
              </a:extLst>
            </p:cNvPr>
            <p:cNvSpPr>
              <a:spLocks/>
            </p:cNvSpPr>
            <p:nvPr/>
          </p:nvSpPr>
          <p:spPr bwMode="auto">
            <a:xfrm>
              <a:off x="4944592" y="2769643"/>
              <a:ext cx="872244" cy="331948"/>
            </a:xfrm>
            <a:custGeom>
              <a:avLst/>
              <a:gdLst>
                <a:gd name="T0" fmla="*/ 0 w 201"/>
                <a:gd name="T1" fmla="*/ 28 h 75"/>
                <a:gd name="T2" fmla="*/ 51 w 201"/>
                <a:gd name="T3" fmla="*/ 24 h 75"/>
                <a:gd name="T4" fmla="*/ 69 w 201"/>
                <a:gd name="T5" fmla="*/ 22 h 75"/>
                <a:gd name="T6" fmla="*/ 87 w 201"/>
                <a:gd name="T7" fmla="*/ 23 h 75"/>
                <a:gd name="T8" fmla="*/ 121 w 201"/>
                <a:gd name="T9" fmla="*/ 22 h 75"/>
                <a:gd name="T10" fmla="*/ 158 w 201"/>
                <a:gd name="T11" fmla="*/ 25 h 75"/>
                <a:gd name="T12" fmla="*/ 156 w 201"/>
                <a:gd name="T13" fmla="*/ 19 h 75"/>
                <a:gd name="T14" fmla="*/ 155 w 201"/>
                <a:gd name="T15" fmla="*/ 17 h 75"/>
                <a:gd name="T16" fmla="*/ 156 w 201"/>
                <a:gd name="T17" fmla="*/ 14 h 75"/>
                <a:gd name="T18" fmla="*/ 164 w 201"/>
                <a:gd name="T19" fmla="*/ 9 h 75"/>
                <a:gd name="T20" fmla="*/ 169 w 201"/>
                <a:gd name="T21" fmla="*/ 0 h 75"/>
                <a:gd name="T22" fmla="*/ 197 w 201"/>
                <a:gd name="T23" fmla="*/ 2 h 75"/>
                <a:gd name="T24" fmla="*/ 201 w 201"/>
                <a:gd name="T25" fmla="*/ 4 h 75"/>
                <a:gd name="T26" fmla="*/ 201 w 201"/>
                <a:gd name="T27" fmla="*/ 8 h 75"/>
                <a:gd name="T28" fmla="*/ 199 w 201"/>
                <a:gd name="T29" fmla="*/ 26 h 75"/>
                <a:gd name="T30" fmla="*/ 176 w 201"/>
                <a:gd name="T31" fmla="*/ 28 h 75"/>
                <a:gd name="T32" fmla="*/ 158 w 201"/>
                <a:gd name="T33" fmla="*/ 27 h 75"/>
                <a:gd name="T34" fmla="*/ 144 w 201"/>
                <a:gd name="T35" fmla="*/ 30 h 75"/>
                <a:gd name="T36" fmla="*/ 124 w 201"/>
                <a:gd name="T37" fmla="*/ 36 h 75"/>
                <a:gd name="T38" fmla="*/ 106 w 201"/>
                <a:gd name="T39" fmla="*/ 45 h 75"/>
                <a:gd name="T40" fmla="*/ 91 w 201"/>
                <a:gd name="T41" fmla="*/ 49 h 75"/>
                <a:gd name="T42" fmla="*/ 41 w 201"/>
                <a:gd name="T43" fmla="*/ 63 h 75"/>
                <a:gd name="T44" fmla="*/ 28 w 201"/>
                <a:gd name="T45" fmla="*/ 69 h 75"/>
                <a:gd name="T46" fmla="*/ 16 w 201"/>
                <a:gd name="T47"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75">
                  <a:moveTo>
                    <a:pt x="0" y="28"/>
                  </a:moveTo>
                  <a:cubicBezTo>
                    <a:pt x="17" y="28"/>
                    <a:pt x="35" y="27"/>
                    <a:pt x="51" y="24"/>
                  </a:cubicBezTo>
                  <a:cubicBezTo>
                    <a:pt x="57" y="23"/>
                    <a:pt x="63" y="22"/>
                    <a:pt x="69" y="22"/>
                  </a:cubicBezTo>
                  <a:cubicBezTo>
                    <a:pt x="75" y="22"/>
                    <a:pt x="81" y="23"/>
                    <a:pt x="87" y="23"/>
                  </a:cubicBezTo>
                  <a:cubicBezTo>
                    <a:pt x="98" y="23"/>
                    <a:pt x="110" y="20"/>
                    <a:pt x="121" y="22"/>
                  </a:cubicBezTo>
                  <a:cubicBezTo>
                    <a:pt x="134" y="23"/>
                    <a:pt x="146" y="28"/>
                    <a:pt x="158" y="25"/>
                  </a:cubicBezTo>
                  <a:cubicBezTo>
                    <a:pt x="159" y="23"/>
                    <a:pt x="158" y="20"/>
                    <a:pt x="156" y="19"/>
                  </a:cubicBezTo>
                  <a:cubicBezTo>
                    <a:pt x="155" y="18"/>
                    <a:pt x="155" y="18"/>
                    <a:pt x="155" y="17"/>
                  </a:cubicBezTo>
                  <a:cubicBezTo>
                    <a:pt x="154" y="16"/>
                    <a:pt x="155" y="15"/>
                    <a:pt x="156" y="14"/>
                  </a:cubicBezTo>
                  <a:cubicBezTo>
                    <a:pt x="159" y="12"/>
                    <a:pt x="162" y="11"/>
                    <a:pt x="164" y="9"/>
                  </a:cubicBezTo>
                  <a:cubicBezTo>
                    <a:pt x="167" y="6"/>
                    <a:pt x="169" y="3"/>
                    <a:pt x="169" y="0"/>
                  </a:cubicBezTo>
                  <a:cubicBezTo>
                    <a:pt x="178" y="0"/>
                    <a:pt x="188" y="1"/>
                    <a:pt x="197" y="2"/>
                  </a:cubicBezTo>
                  <a:cubicBezTo>
                    <a:pt x="198" y="3"/>
                    <a:pt x="200" y="3"/>
                    <a:pt x="201" y="4"/>
                  </a:cubicBezTo>
                  <a:cubicBezTo>
                    <a:pt x="201" y="5"/>
                    <a:pt x="201" y="7"/>
                    <a:pt x="201" y="8"/>
                  </a:cubicBezTo>
                  <a:cubicBezTo>
                    <a:pt x="200" y="14"/>
                    <a:pt x="199" y="20"/>
                    <a:pt x="199" y="26"/>
                  </a:cubicBezTo>
                  <a:cubicBezTo>
                    <a:pt x="191" y="28"/>
                    <a:pt x="184" y="29"/>
                    <a:pt x="176" y="28"/>
                  </a:cubicBezTo>
                  <a:cubicBezTo>
                    <a:pt x="170" y="28"/>
                    <a:pt x="164" y="27"/>
                    <a:pt x="158" y="27"/>
                  </a:cubicBezTo>
                  <a:cubicBezTo>
                    <a:pt x="154" y="27"/>
                    <a:pt x="149" y="29"/>
                    <a:pt x="144" y="30"/>
                  </a:cubicBezTo>
                  <a:cubicBezTo>
                    <a:pt x="137" y="31"/>
                    <a:pt x="130" y="33"/>
                    <a:pt x="124" y="36"/>
                  </a:cubicBezTo>
                  <a:cubicBezTo>
                    <a:pt x="118" y="38"/>
                    <a:pt x="112" y="43"/>
                    <a:pt x="106" y="45"/>
                  </a:cubicBezTo>
                  <a:cubicBezTo>
                    <a:pt x="101" y="47"/>
                    <a:pt x="96" y="48"/>
                    <a:pt x="91" y="49"/>
                  </a:cubicBezTo>
                  <a:cubicBezTo>
                    <a:pt x="74" y="53"/>
                    <a:pt x="57" y="57"/>
                    <a:pt x="41" y="63"/>
                  </a:cubicBezTo>
                  <a:cubicBezTo>
                    <a:pt x="36" y="64"/>
                    <a:pt x="32" y="66"/>
                    <a:pt x="28" y="69"/>
                  </a:cubicBezTo>
                  <a:cubicBezTo>
                    <a:pt x="24" y="71"/>
                    <a:pt x="20" y="75"/>
                    <a:pt x="16" y="7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5" name="Freeform 19">
              <a:extLst>
                <a:ext uri="{FF2B5EF4-FFF2-40B4-BE49-F238E27FC236}">
                  <a16:creationId xmlns:a16="http://schemas.microsoft.com/office/drawing/2014/main" id="{78E3BCA0-D72B-4C94-B3B4-9D5B1C394558}"/>
                </a:ext>
              </a:extLst>
            </p:cNvPr>
            <p:cNvSpPr>
              <a:spLocks/>
            </p:cNvSpPr>
            <p:nvPr/>
          </p:nvSpPr>
          <p:spPr bwMode="auto">
            <a:xfrm>
              <a:off x="5678823" y="2769643"/>
              <a:ext cx="38644" cy="114400"/>
            </a:xfrm>
            <a:custGeom>
              <a:avLst/>
              <a:gdLst>
                <a:gd name="T0" fmla="*/ 8 w 9"/>
                <a:gd name="T1" fmla="*/ 0 h 26"/>
                <a:gd name="T2" fmla="*/ 7 w 9"/>
                <a:gd name="T3" fmla="*/ 17 h 26"/>
                <a:gd name="T4" fmla="*/ 0 w 9"/>
                <a:gd name="T5" fmla="*/ 26 h 26"/>
              </a:gdLst>
              <a:ahLst/>
              <a:cxnLst>
                <a:cxn ang="0">
                  <a:pos x="T0" y="T1"/>
                </a:cxn>
                <a:cxn ang="0">
                  <a:pos x="T2" y="T3"/>
                </a:cxn>
                <a:cxn ang="0">
                  <a:pos x="T4" y="T5"/>
                </a:cxn>
              </a:cxnLst>
              <a:rect l="0" t="0" r="r" b="b"/>
              <a:pathLst>
                <a:path w="9" h="26">
                  <a:moveTo>
                    <a:pt x="8" y="0"/>
                  </a:moveTo>
                  <a:cubicBezTo>
                    <a:pt x="8" y="4"/>
                    <a:pt x="9" y="13"/>
                    <a:pt x="7" y="17"/>
                  </a:cubicBezTo>
                  <a:cubicBezTo>
                    <a:pt x="5" y="19"/>
                    <a:pt x="1" y="24"/>
                    <a:pt x="0" y="2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6" name="Freeform 20">
              <a:extLst>
                <a:ext uri="{FF2B5EF4-FFF2-40B4-BE49-F238E27FC236}">
                  <a16:creationId xmlns:a16="http://schemas.microsoft.com/office/drawing/2014/main" id="{BAB90B8A-FB07-4EAF-94A5-32EDAE6BAA20}"/>
                </a:ext>
              </a:extLst>
            </p:cNvPr>
            <p:cNvSpPr>
              <a:spLocks/>
            </p:cNvSpPr>
            <p:nvPr/>
          </p:nvSpPr>
          <p:spPr bwMode="auto">
            <a:xfrm>
              <a:off x="5813157" y="2362679"/>
              <a:ext cx="892486" cy="525115"/>
            </a:xfrm>
            <a:custGeom>
              <a:avLst/>
              <a:gdLst>
                <a:gd name="T0" fmla="*/ 0 w 206"/>
                <a:gd name="T1" fmla="*/ 116 h 119"/>
                <a:gd name="T2" fmla="*/ 16 w 206"/>
                <a:gd name="T3" fmla="*/ 115 h 119"/>
                <a:gd name="T4" fmla="*/ 31 w 206"/>
                <a:gd name="T5" fmla="*/ 107 h 119"/>
                <a:gd name="T6" fmla="*/ 44 w 206"/>
                <a:gd name="T7" fmla="*/ 107 h 119"/>
                <a:gd name="T8" fmla="*/ 52 w 206"/>
                <a:gd name="T9" fmla="*/ 107 h 119"/>
                <a:gd name="T10" fmla="*/ 54 w 206"/>
                <a:gd name="T11" fmla="*/ 104 h 119"/>
                <a:gd name="T12" fmla="*/ 75 w 206"/>
                <a:gd name="T13" fmla="*/ 96 h 119"/>
                <a:gd name="T14" fmla="*/ 82 w 206"/>
                <a:gd name="T15" fmla="*/ 97 h 119"/>
                <a:gd name="T16" fmla="*/ 88 w 206"/>
                <a:gd name="T17" fmla="*/ 95 h 119"/>
                <a:gd name="T18" fmla="*/ 89 w 206"/>
                <a:gd name="T19" fmla="*/ 89 h 119"/>
                <a:gd name="T20" fmla="*/ 89 w 206"/>
                <a:gd name="T21" fmla="*/ 73 h 119"/>
                <a:gd name="T22" fmla="*/ 90 w 206"/>
                <a:gd name="T23" fmla="*/ 70 h 119"/>
                <a:gd name="T24" fmla="*/ 99 w 206"/>
                <a:gd name="T25" fmla="*/ 69 h 119"/>
                <a:gd name="T26" fmla="*/ 114 w 206"/>
                <a:gd name="T27" fmla="*/ 55 h 119"/>
                <a:gd name="T28" fmla="*/ 111 w 206"/>
                <a:gd name="T29" fmla="*/ 47 h 119"/>
                <a:gd name="T30" fmla="*/ 108 w 206"/>
                <a:gd name="T31" fmla="*/ 45 h 119"/>
                <a:gd name="T32" fmla="*/ 111 w 206"/>
                <a:gd name="T33" fmla="*/ 35 h 119"/>
                <a:gd name="T34" fmla="*/ 121 w 206"/>
                <a:gd name="T35" fmla="*/ 30 h 119"/>
                <a:gd name="T36" fmla="*/ 131 w 206"/>
                <a:gd name="T37" fmla="*/ 17 h 119"/>
                <a:gd name="T38" fmla="*/ 145 w 206"/>
                <a:gd name="T39" fmla="*/ 11 h 119"/>
                <a:gd name="T40" fmla="*/ 164 w 206"/>
                <a:gd name="T41" fmla="*/ 5 h 119"/>
                <a:gd name="T42" fmla="*/ 189 w 206"/>
                <a:gd name="T43" fmla="*/ 0 h 119"/>
                <a:gd name="T44" fmla="*/ 206 w 206"/>
                <a:gd name="T45" fmla="*/ 5 h 119"/>
                <a:gd name="T46" fmla="*/ 183 w 206"/>
                <a:gd name="T4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6" h="119">
                  <a:moveTo>
                    <a:pt x="0" y="116"/>
                  </a:moveTo>
                  <a:cubicBezTo>
                    <a:pt x="5" y="119"/>
                    <a:pt x="11" y="117"/>
                    <a:pt x="16" y="115"/>
                  </a:cubicBezTo>
                  <a:cubicBezTo>
                    <a:pt x="21" y="112"/>
                    <a:pt x="25" y="109"/>
                    <a:pt x="31" y="107"/>
                  </a:cubicBezTo>
                  <a:cubicBezTo>
                    <a:pt x="35" y="106"/>
                    <a:pt x="40" y="106"/>
                    <a:pt x="44" y="107"/>
                  </a:cubicBezTo>
                  <a:cubicBezTo>
                    <a:pt x="47" y="107"/>
                    <a:pt x="50" y="108"/>
                    <a:pt x="52" y="107"/>
                  </a:cubicBezTo>
                  <a:cubicBezTo>
                    <a:pt x="53" y="106"/>
                    <a:pt x="54" y="105"/>
                    <a:pt x="54" y="104"/>
                  </a:cubicBezTo>
                  <a:cubicBezTo>
                    <a:pt x="59" y="97"/>
                    <a:pt x="68" y="94"/>
                    <a:pt x="75" y="96"/>
                  </a:cubicBezTo>
                  <a:cubicBezTo>
                    <a:pt x="77" y="96"/>
                    <a:pt x="80" y="97"/>
                    <a:pt x="82" y="97"/>
                  </a:cubicBezTo>
                  <a:cubicBezTo>
                    <a:pt x="84" y="98"/>
                    <a:pt x="87" y="97"/>
                    <a:pt x="88" y="95"/>
                  </a:cubicBezTo>
                  <a:cubicBezTo>
                    <a:pt x="89" y="93"/>
                    <a:pt x="89" y="91"/>
                    <a:pt x="89" y="89"/>
                  </a:cubicBezTo>
                  <a:cubicBezTo>
                    <a:pt x="88" y="84"/>
                    <a:pt x="88" y="78"/>
                    <a:pt x="89" y="73"/>
                  </a:cubicBezTo>
                  <a:cubicBezTo>
                    <a:pt x="89" y="72"/>
                    <a:pt x="89" y="71"/>
                    <a:pt x="90" y="70"/>
                  </a:cubicBezTo>
                  <a:cubicBezTo>
                    <a:pt x="92" y="67"/>
                    <a:pt x="96" y="68"/>
                    <a:pt x="99" y="69"/>
                  </a:cubicBezTo>
                  <a:cubicBezTo>
                    <a:pt x="106" y="69"/>
                    <a:pt x="114" y="62"/>
                    <a:pt x="114" y="55"/>
                  </a:cubicBezTo>
                  <a:cubicBezTo>
                    <a:pt x="114" y="52"/>
                    <a:pt x="113" y="49"/>
                    <a:pt x="111" y="47"/>
                  </a:cubicBezTo>
                  <a:cubicBezTo>
                    <a:pt x="110" y="46"/>
                    <a:pt x="109" y="46"/>
                    <a:pt x="108" y="45"/>
                  </a:cubicBezTo>
                  <a:cubicBezTo>
                    <a:pt x="105" y="42"/>
                    <a:pt x="108" y="37"/>
                    <a:pt x="111" y="35"/>
                  </a:cubicBezTo>
                  <a:cubicBezTo>
                    <a:pt x="114" y="33"/>
                    <a:pt x="118" y="32"/>
                    <a:pt x="121" y="30"/>
                  </a:cubicBezTo>
                  <a:cubicBezTo>
                    <a:pt x="125" y="27"/>
                    <a:pt x="127" y="21"/>
                    <a:pt x="131" y="17"/>
                  </a:cubicBezTo>
                  <a:cubicBezTo>
                    <a:pt x="135" y="14"/>
                    <a:pt x="140" y="12"/>
                    <a:pt x="145" y="11"/>
                  </a:cubicBezTo>
                  <a:cubicBezTo>
                    <a:pt x="151" y="9"/>
                    <a:pt x="158" y="7"/>
                    <a:pt x="164" y="5"/>
                  </a:cubicBezTo>
                  <a:cubicBezTo>
                    <a:pt x="172" y="3"/>
                    <a:pt x="180" y="0"/>
                    <a:pt x="189" y="0"/>
                  </a:cubicBezTo>
                  <a:cubicBezTo>
                    <a:pt x="195" y="0"/>
                    <a:pt x="202" y="1"/>
                    <a:pt x="206" y="5"/>
                  </a:cubicBezTo>
                  <a:cubicBezTo>
                    <a:pt x="199" y="9"/>
                    <a:pt x="188" y="5"/>
                    <a:pt x="183"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7" name="Freeform 21">
              <a:extLst>
                <a:ext uri="{FF2B5EF4-FFF2-40B4-BE49-F238E27FC236}">
                  <a16:creationId xmlns:a16="http://schemas.microsoft.com/office/drawing/2014/main" id="{3BE42E30-0030-45CB-91C4-D0917583A972}"/>
                </a:ext>
              </a:extLst>
            </p:cNvPr>
            <p:cNvSpPr>
              <a:spLocks/>
            </p:cNvSpPr>
            <p:nvPr/>
          </p:nvSpPr>
          <p:spPr bwMode="auto">
            <a:xfrm>
              <a:off x="6462740" y="2375806"/>
              <a:ext cx="82808" cy="61889"/>
            </a:xfrm>
            <a:custGeom>
              <a:avLst/>
              <a:gdLst>
                <a:gd name="T0" fmla="*/ 19 w 19"/>
                <a:gd name="T1" fmla="*/ 0 h 14"/>
                <a:gd name="T2" fmla="*/ 16 w 19"/>
                <a:gd name="T3" fmla="*/ 3 h 14"/>
                <a:gd name="T4" fmla="*/ 15 w 19"/>
                <a:gd name="T5" fmla="*/ 9 h 14"/>
                <a:gd name="T6" fmla="*/ 8 w 19"/>
                <a:gd name="T7" fmla="*/ 13 h 14"/>
                <a:gd name="T8" fmla="*/ 2 w 19"/>
                <a:gd name="T9" fmla="*/ 14 h 14"/>
                <a:gd name="T10" fmla="*/ 0 w 19"/>
                <a:gd name="T11" fmla="*/ 14 h 14"/>
                <a:gd name="T12" fmla="*/ 0 w 19"/>
                <a:gd name="T13" fmla="*/ 12 h 14"/>
                <a:gd name="T14" fmla="*/ 0 w 19"/>
                <a:gd name="T15" fmla="*/ 6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4">
                  <a:moveTo>
                    <a:pt x="19" y="0"/>
                  </a:moveTo>
                  <a:cubicBezTo>
                    <a:pt x="17" y="0"/>
                    <a:pt x="16" y="2"/>
                    <a:pt x="16" y="3"/>
                  </a:cubicBezTo>
                  <a:cubicBezTo>
                    <a:pt x="16" y="5"/>
                    <a:pt x="16" y="7"/>
                    <a:pt x="15" y="9"/>
                  </a:cubicBezTo>
                  <a:cubicBezTo>
                    <a:pt x="14" y="11"/>
                    <a:pt x="11" y="12"/>
                    <a:pt x="8" y="13"/>
                  </a:cubicBezTo>
                  <a:cubicBezTo>
                    <a:pt x="6" y="13"/>
                    <a:pt x="4" y="14"/>
                    <a:pt x="2" y="14"/>
                  </a:cubicBezTo>
                  <a:cubicBezTo>
                    <a:pt x="1" y="14"/>
                    <a:pt x="0" y="14"/>
                    <a:pt x="0" y="14"/>
                  </a:cubicBezTo>
                  <a:cubicBezTo>
                    <a:pt x="0" y="13"/>
                    <a:pt x="0" y="13"/>
                    <a:pt x="0" y="12"/>
                  </a:cubicBezTo>
                  <a:cubicBezTo>
                    <a:pt x="0" y="10"/>
                    <a:pt x="0" y="8"/>
                    <a:pt x="0" y="6"/>
                  </a:cubicBezTo>
                </a:path>
              </a:pathLst>
            </a:custGeom>
            <a:noFill/>
            <a:ln w="19050" cap="flat" cmpd="sng" algn="ctr">
              <a:solidFill>
                <a:schemeClr val="accent1"/>
              </a:solidFill>
              <a:prstDash val="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8" name="Freeform 22">
              <a:extLst>
                <a:ext uri="{FF2B5EF4-FFF2-40B4-BE49-F238E27FC236}">
                  <a16:creationId xmlns:a16="http://schemas.microsoft.com/office/drawing/2014/main" id="{E461A760-6058-40C9-A5E7-9663490B4389}"/>
                </a:ext>
              </a:extLst>
            </p:cNvPr>
            <p:cNvSpPr>
              <a:spLocks/>
            </p:cNvSpPr>
            <p:nvPr/>
          </p:nvSpPr>
          <p:spPr bwMode="auto">
            <a:xfrm>
              <a:off x="6280563" y="2392686"/>
              <a:ext cx="412200" cy="315068"/>
            </a:xfrm>
            <a:custGeom>
              <a:avLst/>
              <a:gdLst>
                <a:gd name="T0" fmla="*/ 39 w 95"/>
                <a:gd name="T1" fmla="*/ 12 h 71"/>
                <a:gd name="T2" fmla="*/ 29 w 95"/>
                <a:gd name="T3" fmla="*/ 18 h 71"/>
                <a:gd name="T4" fmla="*/ 23 w 95"/>
                <a:gd name="T5" fmla="*/ 19 h 71"/>
                <a:gd name="T6" fmla="*/ 17 w 95"/>
                <a:gd name="T7" fmla="*/ 29 h 71"/>
                <a:gd name="T8" fmla="*/ 15 w 95"/>
                <a:gd name="T9" fmla="*/ 41 h 71"/>
                <a:gd name="T10" fmla="*/ 12 w 95"/>
                <a:gd name="T11" fmla="*/ 49 h 71"/>
                <a:gd name="T12" fmla="*/ 11 w 95"/>
                <a:gd name="T13" fmla="*/ 54 h 71"/>
                <a:gd name="T14" fmla="*/ 7 w 95"/>
                <a:gd name="T15" fmla="*/ 57 h 71"/>
                <a:gd name="T16" fmla="*/ 0 w 95"/>
                <a:gd name="T17" fmla="*/ 71 h 71"/>
                <a:gd name="T18" fmla="*/ 5 w 95"/>
                <a:gd name="T19" fmla="*/ 67 h 71"/>
                <a:gd name="T20" fmla="*/ 13 w 95"/>
                <a:gd name="T21" fmla="*/ 66 h 71"/>
                <a:gd name="T22" fmla="*/ 16 w 95"/>
                <a:gd name="T23" fmla="*/ 63 h 71"/>
                <a:gd name="T24" fmla="*/ 20 w 95"/>
                <a:gd name="T25" fmla="*/ 61 h 71"/>
                <a:gd name="T26" fmla="*/ 43 w 95"/>
                <a:gd name="T27" fmla="*/ 52 h 71"/>
                <a:gd name="T28" fmla="*/ 53 w 95"/>
                <a:gd name="T29" fmla="*/ 42 h 71"/>
                <a:gd name="T30" fmla="*/ 55 w 95"/>
                <a:gd name="T31" fmla="*/ 35 h 71"/>
                <a:gd name="T32" fmla="*/ 80 w 95"/>
                <a:gd name="T33" fmla="*/ 5 h 71"/>
                <a:gd name="T34" fmla="*/ 95 w 95"/>
                <a:gd name="T3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71">
                  <a:moveTo>
                    <a:pt x="39" y="12"/>
                  </a:moveTo>
                  <a:cubicBezTo>
                    <a:pt x="36" y="15"/>
                    <a:pt x="33" y="17"/>
                    <a:pt x="29" y="18"/>
                  </a:cubicBezTo>
                  <a:cubicBezTo>
                    <a:pt x="27" y="19"/>
                    <a:pt x="25" y="19"/>
                    <a:pt x="23" y="19"/>
                  </a:cubicBezTo>
                  <a:cubicBezTo>
                    <a:pt x="20" y="21"/>
                    <a:pt x="18" y="25"/>
                    <a:pt x="17" y="29"/>
                  </a:cubicBezTo>
                  <a:cubicBezTo>
                    <a:pt x="17" y="33"/>
                    <a:pt x="17" y="37"/>
                    <a:pt x="15" y="41"/>
                  </a:cubicBezTo>
                  <a:cubicBezTo>
                    <a:pt x="14" y="44"/>
                    <a:pt x="13" y="46"/>
                    <a:pt x="12" y="49"/>
                  </a:cubicBezTo>
                  <a:cubicBezTo>
                    <a:pt x="12" y="51"/>
                    <a:pt x="11" y="52"/>
                    <a:pt x="11" y="54"/>
                  </a:cubicBezTo>
                  <a:cubicBezTo>
                    <a:pt x="10" y="55"/>
                    <a:pt x="9" y="56"/>
                    <a:pt x="7" y="57"/>
                  </a:cubicBezTo>
                  <a:cubicBezTo>
                    <a:pt x="3" y="60"/>
                    <a:pt x="0" y="65"/>
                    <a:pt x="0" y="71"/>
                  </a:cubicBezTo>
                  <a:cubicBezTo>
                    <a:pt x="0" y="68"/>
                    <a:pt x="3" y="67"/>
                    <a:pt x="5" y="67"/>
                  </a:cubicBezTo>
                  <a:cubicBezTo>
                    <a:pt x="8" y="67"/>
                    <a:pt x="11" y="67"/>
                    <a:pt x="13" y="66"/>
                  </a:cubicBezTo>
                  <a:cubicBezTo>
                    <a:pt x="14" y="65"/>
                    <a:pt x="15" y="64"/>
                    <a:pt x="16" y="63"/>
                  </a:cubicBezTo>
                  <a:cubicBezTo>
                    <a:pt x="17" y="62"/>
                    <a:pt x="19" y="61"/>
                    <a:pt x="20" y="61"/>
                  </a:cubicBezTo>
                  <a:cubicBezTo>
                    <a:pt x="28" y="60"/>
                    <a:pt x="36" y="57"/>
                    <a:pt x="43" y="52"/>
                  </a:cubicBezTo>
                  <a:cubicBezTo>
                    <a:pt x="47" y="50"/>
                    <a:pt x="51" y="47"/>
                    <a:pt x="53" y="42"/>
                  </a:cubicBezTo>
                  <a:cubicBezTo>
                    <a:pt x="54" y="40"/>
                    <a:pt x="54" y="37"/>
                    <a:pt x="55" y="35"/>
                  </a:cubicBezTo>
                  <a:cubicBezTo>
                    <a:pt x="57" y="21"/>
                    <a:pt x="67" y="9"/>
                    <a:pt x="80" y="5"/>
                  </a:cubicBezTo>
                  <a:cubicBezTo>
                    <a:pt x="85" y="3"/>
                    <a:pt x="91" y="2"/>
                    <a:pt x="95"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9" name="Freeform 23">
              <a:extLst>
                <a:ext uri="{FF2B5EF4-FFF2-40B4-BE49-F238E27FC236}">
                  <a16:creationId xmlns:a16="http://schemas.microsoft.com/office/drawing/2014/main" id="{7D136F4B-0D2E-424A-8FEF-F23DAC874F3D}"/>
                </a:ext>
              </a:extLst>
            </p:cNvPr>
            <p:cNvSpPr>
              <a:spLocks/>
            </p:cNvSpPr>
            <p:nvPr/>
          </p:nvSpPr>
          <p:spPr bwMode="auto">
            <a:xfrm>
              <a:off x="5861001" y="2672121"/>
              <a:ext cx="480287" cy="283186"/>
            </a:xfrm>
            <a:custGeom>
              <a:avLst/>
              <a:gdLst>
                <a:gd name="T0" fmla="*/ 79 w 111"/>
                <a:gd name="T1" fmla="*/ 0 h 64"/>
                <a:gd name="T2" fmla="*/ 81 w 111"/>
                <a:gd name="T3" fmla="*/ 13 h 64"/>
                <a:gd name="T4" fmla="*/ 85 w 111"/>
                <a:gd name="T5" fmla="*/ 18 h 64"/>
                <a:gd name="T6" fmla="*/ 94 w 111"/>
                <a:gd name="T7" fmla="*/ 18 h 64"/>
                <a:gd name="T8" fmla="*/ 105 w 111"/>
                <a:gd name="T9" fmla="*/ 20 h 64"/>
                <a:gd name="T10" fmla="*/ 110 w 111"/>
                <a:gd name="T11" fmla="*/ 30 h 64"/>
                <a:gd name="T12" fmla="*/ 104 w 111"/>
                <a:gd name="T13" fmla="*/ 37 h 64"/>
                <a:gd name="T14" fmla="*/ 100 w 111"/>
                <a:gd name="T15" fmla="*/ 39 h 64"/>
                <a:gd name="T16" fmla="*/ 91 w 111"/>
                <a:gd name="T17" fmla="*/ 37 h 64"/>
                <a:gd name="T18" fmla="*/ 83 w 111"/>
                <a:gd name="T19" fmla="*/ 38 h 64"/>
                <a:gd name="T20" fmla="*/ 80 w 111"/>
                <a:gd name="T21" fmla="*/ 41 h 64"/>
                <a:gd name="T22" fmla="*/ 71 w 111"/>
                <a:gd name="T23" fmla="*/ 45 h 64"/>
                <a:gd name="T24" fmla="*/ 53 w 111"/>
                <a:gd name="T25" fmla="*/ 46 h 64"/>
                <a:gd name="T26" fmla="*/ 44 w 111"/>
                <a:gd name="T27" fmla="*/ 47 h 64"/>
                <a:gd name="T28" fmla="*/ 39 w 111"/>
                <a:gd name="T29" fmla="*/ 42 h 64"/>
                <a:gd name="T30" fmla="*/ 43 w 111"/>
                <a:gd name="T31" fmla="*/ 51 h 64"/>
                <a:gd name="T32" fmla="*/ 40 w 111"/>
                <a:gd name="T33" fmla="*/ 54 h 64"/>
                <a:gd name="T34" fmla="*/ 32 w 111"/>
                <a:gd name="T35" fmla="*/ 56 h 64"/>
                <a:gd name="T36" fmla="*/ 24 w 111"/>
                <a:gd name="T37" fmla="*/ 56 h 64"/>
                <a:gd name="T38" fmla="*/ 21 w 111"/>
                <a:gd name="T39" fmla="*/ 62 h 64"/>
                <a:gd name="T40" fmla="*/ 13 w 111"/>
                <a:gd name="T41" fmla="*/ 63 h 64"/>
                <a:gd name="T42" fmla="*/ 7 w 111"/>
                <a:gd name="T43" fmla="*/ 59 h 64"/>
                <a:gd name="T44" fmla="*/ 0 w 111"/>
                <a:gd name="T45"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64">
                  <a:moveTo>
                    <a:pt x="79" y="0"/>
                  </a:moveTo>
                  <a:cubicBezTo>
                    <a:pt x="78" y="4"/>
                    <a:pt x="79" y="9"/>
                    <a:pt x="81" y="13"/>
                  </a:cubicBezTo>
                  <a:cubicBezTo>
                    <a:pt x="82" y="15"/>
                    <a:pt x="83" y="17"/>
                    <a:pt x="85" y="18"/>
                  </a:cubicBezTo>
                  <a:cubicBezTo>
                    <a:pt x="88" y="19"/>
                    <a:pt x="91" y="19"/>
                    <a:pt x="94" y="18"/>
                  </a:cubicBezTo>
                  <a:cubicBezTo>
                    <a:pt x="97" y="18"/>
                    <a:pt x="102" y="18"/>
                    <a:pt x="105" y="20"/>
                  </a:cubicBezTo>
                  <a:cubicBezTo>
                    <a:pt x="108" y="22"/>
                    <a:pt x="111" y="26"/>
                    <a:pt x="110" y="30"/>
                  </a:cubicBezTo>
                  <a:cubicBezTo>
                    <a:pt x="109" y="33"/>
                    <a:pt x="107" y="35"/>
                    <a:pt x="104" y="37"/>
                  </a:cubicBezTo>
                  <a:cubicBezTo>
                    <a:pt x="103" y="38"/>
                    <a:pt x="101" y="38"/>
                    <a:pt x="100" y="39"/>
                  </a:cubicBezTo>
                  <a:cubicBezTo>
                    <a:pt x="97" y="39"/>
                    <a:pt x="94" y="38"/>
                    <a:pt x="91" y="37"/>
                  </a:cubicBezTo>
                  <a:cubicBezTo>
                    <a:pt x="88" y="36"/>
                    <a:pt x="85" y="36"/>
                    <a:pt x="83" y="38"/>
                  </a:cubicBezTo>
                  <a:cubicBezTo>
                    <a:pt x="82" y="39"/>
                    <a:pt x="81" y="40"/>
                    <a:pt x="80" y="41"/>
                  </a:cubicBezTo>
                  <a:cubicBezTo>
                    <a:pt x="78" y="44"/>
                    <a:pt x="74" y="45"/>
                    <a:pt x="71" y="45"/>
                  </a:cubicBezTo>
                  <a:cubicBezTo>
                    <a:pt x="65" y="46"/>
                    <a:pt x="59" y="45"/>
                    <a:pt x="53" y="46"/>
                  </a:cubicBezTo>
                  <a:cubicBezTo>
                    <a:pt x="50" y="47"/>
                    <a:pt x="47" y="48"/>
                    <a:pt x="44" y="47"/>
                  </a:cubicBezTo>
                  <a:cubicBezTo>
                    <a:pt x="42" y="47"/>
                    <a:pt x="39" y="45"/>
                    <a:pt x="39" y="42"/>
                  </a:cubicBezTo>
                  <a:cubicBezTo>
                    <a:pt x="37" y="45"/>
                    <a:pt x="43" y="48"/>
                    <a:pt x="43" y="51"/>
                  </a:cubicBezTo>
                  <a:cubicBezTo>
                    <a:pt x="43" y="53"/>
                    <a:pt x="41" y="54"/>
                    <a:pt x="40" y="54"/>
                  </a:cubicBezTo>
                  <a:cubicBezTo>
                    <a:pt x="38" y="56"/>
                    <a:pt x="35" y="56"/>
                    <a:pt x="32" y="56"/>
                  </a:cubicBezTo>
                  <a:cubicBezTo>
                    <a:pt x="29" y="56"/>
                    <a:pt x="26" y="55"/>
                    <a:pt x="24" y="56"/>
                  </a:cubicBezTo>
                  <a:cubicBezTo>
                    <a:pt x="21" y="56"/>
                    <a:pt x="19" y="60"/>
                    <a:pt x="21" y="62"/>
                  </a:cubicBezTo>
                  <a:cubicBezTo>
                    <a:pt x="19" y="64"/>
                    <a:pt x="16" y="64"/>
                    <a:pt x="13" y="63"/>
                  </a:cubicBezTo>
                  <a:cubicBezTo>
                    <a:pt x="11" y="62"/>
                    <a:pt x="9" y="60"/>
                    <a:pt x="7" y="59"/>
                  </a:cubicBezTo>
                  <a:cubicBezTo>
                    <a:pt x="4" y="56"/>
                    <a:pt x="1" y="53"/>
                    <a:pt x="0" y="49"/>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0" name="Freeform 24">
              <a:extLst>
                <a:ext uri="{FF2B5EF4-FFF2-40B4-BE49-F238E27FC236}">
                  <a16:creationId xmlns:a16="http://schemas.microsoft.com/office/drawing/2014/main" id="{62E2FB61-B1AC-4A88-A66C-1DE5DDF78B2F}"/>
                </a:ext>
              </a:extLst>
            </p:cNvPr>
            <p:cNvSpPr>
              <a:spLocks/>
            </p:cNvSpPr>
            <p:nvPr/>
          </p:nvSpPr>
          <p:spPr bwMode="auto">
            <a:xfrm>
              <a:off x="5746645" y="2842899"/>
              <a:ext cx="277605" cy="522089"/>
            </a:xfrm>
            <a:custGeom>
              <a:avLst/>
              <a:gdLst>
                <a:gd name="T0" fmla="*/ 45 w 65"/>
                <a:gd name="T1" fmla="*/ 0 h 119"/>
                <a:gd name="T2" fmla="*/ 50 w 65"/>
                <a:gd name="T3" fmla="*/ 5 h 119"/>
                <a:gd name="T4" fmla="*/ 49 w 65"/>
                <a:gd name="T5" fmla="*/ 12 h 119"/>
                <a:gd name="T6" fmla="*/ 46 w 65"/>
                <a:gd name="T7" fmla="*/ 18 h 119"/>
                <a:gd name="T8" fmla="*/ 40 w 65"/>
                <a:gd name="T9" fmla="*/ 20 h 119"/>
                <a:gd name="T10" fmla="*/ 36 w 65"/>
                <a:gd name="T11" fmla="*/ 18 h 119"/>
                <a:gd name="T12" fmla="*/ 25 w 65"/>
                <a:gd name="T13" fmla="*/ 17 h 119"/>
                <a:gd name="T14" fmla="*/ 20 w 65"/>
                <a:gd name="T15" fmla="*/ 20 h 119"/>
                <a:gd name="T16" fmla="*/ 17 w 65"/>
                <a:gd name="T17" fmla="*/ 28 h 119"/>
                <a:gd name="T18" fmla="*/ 24 w 65"/>
                <a:gd name="T19" fmla="*/ 59 h 119"/>
                <a:gd name="T20" fmla="*/ 22 w 65"/>
                <a:gd name="T21" fmla="*/ 68 h 119"/>
                <a:gd name="T22" fmla="*/ 19 w 65"/>
                <a:gd name="T23" fmla="*/ 70 h 119"/>
                <a:gd name="T24" fmla="*/ 19 w 65"/>
                <a:gd name="T25" fmla="*/ 73 h 119"/>
                <a:gd name="T26" fmla="*/ 12 w 65"/>
                <a:gd name="T27" fmla="*/ 79 h 119"/>
                <a:gd name="T28" fmla="*/ 1 w 65"/>
                <a:gd name="T29" fmla="*/ 96 h 119"/>
                <a:gd name="T30" fmla="*/ 3 w 65"/>
                <a:gd name="T31" fmla="*/ 105 h 119"/>
                <a:gd name="T32" fmla="*/ 11 w 65"/>
                <a:gd name="T33" fmla="*/ 116 h 119"/>
                <a:gd name="T34" fmla="*/ 23 w 65"/>
                <a:gd name="T35" fmla="*/ 116 h 119"/>
                <a:gd name="T36" fmla="*/ 26 w 65"/>
                <a:gd name="T37" fmla="*/ 113 h 119"/>
                <a:gd name="T38" fmla="*/ 31 w 65"/>
                <a:gd name="T39" fmla="*/ 108 h 119"/>
                <a:gd name="T40" fmla="*/ 46 w 65"/>
                <a:gd name="T41" fmla="*/ 96 h 119"/>
                <a:gd name="T42" fmla="*/ 48 w 65"/>
                <a:gd name="T43" fmla="*/ 93 h 119"/>
                <a:gd name="T44" fmla="*/ 50 w 65"/>
                <a:gd name="T45" fmla="*/ 83 h 119"/>
                <a:gd name="T46" fmla="*/ 58 w 65"/>
                <a:gd name="T47" fmla="*/ 80 h 119"/>
                <a:gd name="T48" fmla="*/ 65 w 65"/>
                <a:gd name="T49" fmla="*/ 76 h 119"/>
                <a:gd name="T50" fmla="*/ 64 w 65"/>
                <a:gd name="T51" fmla="*/ 72 h 119"/>
                <a:gd name="T52" fmla="*/ 61 w 65"/>
                <a:gd name="T53" fmla="*/ 57 h 119"/>
                <a:gd name="T54" fmla="*/ 55 w 65"/>
                <a:gd name="T55" fmla="*/ 43 h 119"/>
                <a:gd name="T56" fmla="*/ 51 w 65"/>
                <a:gd name="T57" fmla="*/ 40 h 119"/>
                <a:gd name="T58" fmla="*/ 49 w 65"/>
                <a:gd name="T59" fmla="*/ 36 h 119"/>
                <a:gd name="T60" fmla="*/ 44 w 65"/>
                <a:gd name="T61" fmla="*/ 19 h 119"/>
                <a:gd name="connsiteX0" fmla="*/ 6783 w 9860"/>
                <a:gd name="connsiteY0" fmla="*/ 0 h 9907"/>
                <a:gd name="connsiteX1" fmla="*/ 7552 w 9860"/>
                <a:gd name="connsiteY1" fmla="*/ 420 h 9907"/>
                <a:gd name="connsiteX2" fmla="*/ 7398 w 9860"/>
                <a:gd name="connsiteY2" fmla="*/ 1008 h 9907"/>
                <a:gd name="connsiteX3" fmla="*/ 6937 w 9860"/>
                <a:gd name="connsiteY3" fmla="*/ 1513 h 9907"/>
                <a:gd name="connsiteX4" fmla="*/ 6014 w 9860"/>
                <a:gd name="connsiteY4" fmla="*/ 1681 h 9907"/>
                <a:gd name="connsiteX5" fmla="*/ 5398 w 9860"/>
                <a:gd name="connsiteY5" fmla="*/ 1513 h 9907"/>
                <a:gd name="connsiteX6" fmla="*/ 3706 w 9860"/>
                <a:gd name="connsiteY6" fmla="*/ 1429 h 9907"/>
                <a:gd name="connsiteX7" fmla="*/ 2937 w 9860"/>
                <a:gd name="connsiteY7" fmla="*/ 1681 h 9907"/>
                <a:gd name="connsiteX8" fmla="*/ 2475 w 9860"/>
                <a:gd name="connsiteY8" fmla="*/ 2353 h 9907"/>
                <a:gd name="connsiteX9" fmla="*/ 3552 w 9860"/>
                <a:gd name="connsiteY9" fmla="*/ 4958 h 9907"/>
                <a:gd name="connsiteX10" fmla="*/ 3245 w 9860"/>
                <a:gd name="connsiteY10" fmla="*/ 5714 h 9907"/>
                <a:gd name="connsiteX11" fmla="*/ 2783 w 9860"/>
                <a:gd name="connsiteY11" fmla="*/ 5882 h 9907"/>
                <a:gd name="connsiteX12" fmla="*/ 2783 w 9860"/>
                <a:gd name="connsiteY12" fmla="*/ 6134 h 9907"/>
                <a:gd name="connsiteX13" fmla="*/ 2129 w 9860"/>
                <a:gd name="connsiteY13" fmla="*/ 6820 h 9907"/>
                <a:gd name="connsiteX14" fmla="*/ 14 w 9860"/>
                <a:gd name="connsiteY14" fmla="*/ 8067 h 9907"/>
                <a:gd name="connsiteX15" fmla="*/ 322 w 9860"/>
                <a:gd name="connsiteY15" fmla="*/ 8824 h 9907"/>
                <a:gd name="connsiteX16" fmla="*/ 1552 w 9860"/>
                <a:gd name="connsiteY16" fmla="*/ 9748 h 9907"/>
                <a:gd name="connsiteX17" fmla="*/ 3398 w 9860"/>
                <a:gd name="connsiteY17" fmla="*/ 9748 h 9907"/>
                <a:gd name="connsiteX18" fmla="*/ 3860 w 9860"/>
                <a:gd name="connsiteY18" fmla="*/ 9496 h 9907"/>
                <a:gd name="connsiteX19" fmla="*/ 4629 w 9860"/>
                <a:gd name="connsiteY19" fmla="*/ 9076 h 9907"/>
                <a:gd name="connsiteX20" fmla="*/ 6937 w 9860"/>
                <a:gd name="connsiteY20" fmla="*/ 8067 h 9907"/>
                <a:gd name="connsiteX21" fmla="*/ 7245 w 9860"/>
                <a:gd name="connsiteY21" fmla="*/ 7815 h 9907"/>
                <a:gd name="connsiteX22" fmla="*/ 7552 w 9860"/>
                <a:gd name="connsiteY22" fmla="*/ 6975 h 9907"/>
                <a:gd name="connsiteX23" fmla="*/ 8783 w 9860"/>
                <a:gd name="connsiteY23" fmla="*/ 6723 h 9907"/>
                <a:gd name="connsiteX24" fmla="*/ 9860 w 9860"/>
                <a:gd name="connsiteY24" fmla="*/ 6387 h 9907"/>
                <a:gd name="connsiteX25" fmla="*/ 9706 w 9860"/>
                <a:gd name="connsiteY25" fmla="*/ 6050 h 9907"/>
                <a:gd name="connsiteX26" fmla="*/ 9245 w 9860"/>
                <a:gd name="connsiteY26" fmla="*/ 4790 h 9907"/>
                <a:gd name="connsiteX27" fmla="*/ 8322 w 9860"/>
                <a:gd name="connsiteY27" fmla="*/ 3613 h 9907"/>
                <a:gd name="connsiteX28" fmla="*/ 7706 w 9860"/>
                <a:gd name="connsiteY28" fmla="*/ 3361 h 9907"/>
                <a:gd name="connsiteX29" fmla="*/ 7398 w 9860"/>
                <a:gd name="connsiteY29" fmla="*/ 3025 h 9907"/>
                <a:gd name="connsiteX30" fmla="*/ 6629 w 9860"/>
                <a:gd name="connsiteY30" fmla="*/ 1597 h 9907"/>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000" h="10000">
                  <a:moveTo>
                    <a:pt x="6879" y="0"/>
                  </a:moveTo>
                  <a:cubicBezTo>
                    <a:pt x="7348" y="85"/>
                    <a:pt x="7503" y="254"/>
                    <a:pt x="7659" y="424"/>
                  </a:cubicBezTo>
                  <a:cubicBezTo>
                    <a:pt x="7659" y="678"/>
                    <a:pt x="7659" y="848"/>
                    <a:pt x="7503" y="1017"/>
                  </a:cubicBezTo>
                  <a:cubicBezTo>
                    <a:pt x="7348" y="1187"/>
                    <a:pt x="7192" y="1442"/>
                    <a:pt x="7035" y="1527"/>
                  </a:cubicBezTo>
                  <a:cubicBezTo>
                    <a:pt x="6723" y="1697"/>
                    <a:pt x="6412" y="1782"/>
                    <a:pt x="6099" y="1697"/>
                  </a:cubicBezTo>
                  <a:cubicBezTo>
                    <a:pt x="5787" y="1697"/>
                    <a:pt x="5787" y="1527"/>
                    <a:pt x="5475" y="1527"/>
                  </a:cubicBezTo>
                  <a:cubicBezTo>
                    <a:pt x="5007" y="1273"/>
                    <a:pt x="4383" y="1358"/>
                    <a:pt x="3759" y="1442"/>
                  </a:cubicBezTo>
                  <a:cubicBezTo>
                    <a:pt x="3446" y="1527"/>
                    <a:pt x="3135" y="1612"/>
                    <a:pt x="2979" y="1697"/>
                  </a:cubicBezTo>
                  <a:cubicBezTo>
                    <a:pt x="2666" y="1866"/>
                    <a:pt x="2510" y="2121"/>
                    <a:pt x="2510" y="2375"/>
                  </a:cubicBezTo>
                  <a:cubicBezTo>
                    <a:pt x="2355" y="3308"/>
                    <a:pt x="3291" y="4072"/>
                    <a:pt x="3602" y="5005"/>
                  </a:cubicBezTo>
                  <a:cubicBezTo>
                    <a:pt x="3759" y="5259"/>
                    <a:pt x="3759" y="5598"/>
                    <a:pt x="3291" y="5768"/>
                  </a:cubicBezTo>
                  <a:cubicBezTo>
                    <a:pt x="3135" y="5768"/>
                    <a:pt x="2979" y="5852"/>
                    <a:pt x="2823" y="5937"/>
                  </a:cubicBezTo>
                  <a:lnTo>
                    <a:pt x="2823" y="6192"/>
                  </a:lnTo>
                  <a:cubicBezTo>
                    <a:pt x="2666" y="6447"/>
                    <a:pt x="2628" y="6799"/>
                    <a:pt x="2159" y="6884"/>
                  </a:cubicBezTo>
                  <a:cubicBezTo>
                    <a:pt x="1067" y="7138"/>
                    <a:pt x="-142" y="7549"/>
                    <a:pt x="14" y="8143"/>
                  </a:cubicBezTo>
                  <a:cubicBezTo>
                    <a:pt x="14" y="8397"/>
                    <a:pt x="170" y="8651"/>
                    <a:pt x="327" y="8907"/>
                  </a:cubicBezTo>
                  <a:cubicBezTo>
                    <a:pt x="638" y="9246"/>
                    <a:pt x="950" y="9585"/>
                    <a:pt x="1574" y="9840"/>
                  </a:cubicBezTo>
                  <a:cubicBezTo>
                    <a:pt x="2043" y="10009"/>
                    <a:pt x="2979" y="10094"/>
                    <a:pt x="3446" y="9840"/>
                  </a:cubicBezTo>
                  <a:lnTo>
                    <a:pt x="3915" y="9585"/>
                  </a:lnTo>
                  <a:cubicBezTo>
                    <a:pt x="4071" y="9416"/>
                    <a:pt x="4383" y="9331"/>
                    <a:pt x="4695" y="9161"/>
                  </a:cubicBezTo>
                  <a:cubicBezTo>
                    <a:pt x="5846" y="9064"/>
                    <a:pt x="6484" y="8604"/>
                    <a:pt x="7378" y="8325"/>
                  </a:cubicBezTo>
                  <a:cubicBezTo>
                    <a:pt x="7535" y="8240"/>
                    <a:pt x="7348" y="7973"/>
                    <a:pt x="7348" y="7888"/>
                  </a:cubicBezTo>
                  <a:cubicBezTo>
                    <a:pt x="7659" y="7634"/>
                    <a:pt x="7348" y="7295"/>
                    <a:pt x="7659" y="7040"/>
                  </a:cubicBezTo>
                  <a:cubicBezTo>
                    <a:pt x="7815" y="6871"/>
                    <a:pt x="8440" y="6786"/>
                    <a:pt x="8908" y="6786"/>
                  </a:cubicBezTo>
                  <a:cubicBezTo>
                    <a:pt x="9376" y="6786"/>
                    <a:pt x="10000" y="6701"/>
                    <a:pt x="10000" y="6447"/>
                  </a:cubicBezTo>
                  <a:cubicBezTo>
                    <a:pt x="10000" y="6362"/>
                    <a:pt x="9844" y="6192"/>
                    <a:pt x="9844" y="6107"/>
                  </a:cubicBezTo>
                  <a:cubicBezTo>
                    <a:pt x="9531" y="5683"/>
                    <a:pt x="9531" y="5259"/>
                    <a:pt x="9376" y="4835"/>
                  </a:cubicBezTo>
                  <a:cubicBezTo>
                    <a:pt x="9220" y="4411"/>
                    <a:pt x="9064" y="3987"/>
                    <a:pt x="8440" y="3647"/>
                  </a:cubicBezTo>
                  <a:cubicBezTo>
                    <a:pt x="8128" y="3562"/>
                    <a:pt x="7972" y="3477"/>
                    <a:pt x="7815" y="3393"/>
                  </a:cubicBezTo>
                  <a:cubicBezTo>
                    <a:pt x="7659" y="3308"/>
                    <a:pt x="7503" y="3138"/>
                    <a:pt x="7503" y="3053"/>
                  </a:cubicBezTo>
                  <a:cubicBezTo>
                    <a:pt x="7348" y="2714"/>
                    <a:pt x="6879" y="1951"/>
                    <a:pt x="6723" y="1612"/>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1" name="Freeform 25">
              <a:extLst>
                <a:ext uri="{FF2B5EF4-FFF2-40B4-BE49-F238E27FC236}">
                  <a16:creationId xmlns:a16="http://schemas.microsoft.com/office/drawing/2014/main" id="{9B47BF36-4AF7-4FE8-87A2-BAB4C1B1A3B3}"/>
                </a:ext>
              </a:extLst>
            </p:cNvPr>
            <p:cNvSpPr>
              <a:spLocks/>
            </p:cNvSpPr>
            <p:nvPr/>
          </p:nvSpPr>
          <p:spPr bwMode="auto">
            <a:xfrm>
              <a:off x="5840199" y="3149136"/>
              <a:ext cx="117772" cy="71265"/>
            </a:xfrm>
            <a:custGeom>
              <a:avLst/>
              <a:gdLst>
                <a:gd name="T0" fmla="*/ 27 w 27"/>
                <a:gd name="T1" fmla="*/ 15 h 16"/>
                <a:gd name="T2" fmla="*/ 27 w 27"/>
                <a:gd name="T3" fmla="*/ 16 h 16"/>
                <a:gd name="T4" fmla="*/ 15 w 27"/>
                <a:gd name="T5" fmla="*/ 8 h 16"/>
                <a:gd name="T6" fmla="*/ 12 w 27"/>
                <a:gd name="T7" fmla="*/ 5 h 16"/>
                <a:gd name="T8" fmla="*/ 5 w 27"/>
                <a:gd name="T9" fmla="*/ 3 h 16"/>
                <a:gd name="T10" fmla="*/ 0 w 27"/>
                <a:gd name="T11" fmla="*/ 0 h 16"/>
              </a:gdLst>
              <a:ahLst/>
              <a:cxnLst>
                <a:cxn ang="0">
                  <a:pos x="T0" y="T1"/>
                </a:cxn>
                <a:cxn ang="0">
                  <a:pos x="T2" y="T3"/>
                </a:cxn>
                <a:cxn ang="0">
                  <a:pos x="T4" y="T5"/>
                </a:cxn>
                <a:cxn ang="0">
                  <a:pos x="T6" y="T7"/>
                </a:cxn>
                <a:cxn ang="0">
                  <a:pos x="T8" y="T9"/>
                </a:cxn>
                <a:cxn ang="0">
                  <a:pos x="T10" y="T11"/>
                </a:cxn>
              </a:cxnLst>
              <a:rect l="0" t="0" r="r" b="b"/>
              <a:pathLst>
                <a:path w="27" h="16">
                  <a:moveTo>
                    <a:pt x="27" y="15"/>
                  </a:moveTo>
                  <a:cubicBezTo>
                    <a:pt x="27" y="15"/>
                    <a:pt x="27" y="16"/>
                    <a:pt x="27" y="16"/>
                  </a:cubicBezTo>
                  <a:cubicBezTo>
                    <a:pt x="22" y="15"/>
                    <a:pt x="18" y="12"/>
                    <a:pt x="15" y="8"/>
                  </a:cubicBezTo>
                  <a:cubicBezTo>
                    <a:pt x="14" y="7"/>
                    <a:pt x="13" y="6"/>
                    <a:pt x="12" y="5"/>
                  </a:cubicBezTo>
                  <a:cubicBezTo>
                    <a:pt x="10" y="4"/>
                    <a:pt x="8" y="4"/>
                    <a:pt x="5" y="3"/>
                  </a:cubicBezTo>
                  <a:cubicBezTo>
                    <a:pt x="3" y="3"/>
                    <a:pt x="1" y="2"/>
                    <a:pt x="0"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2" name="Freeform 26">
              <a:extLst>
                <a:ext uri="{FF2B5EF4-FFF2-40B4-BE49-F238E27FC236}">
                  <a16:creationId xmlns:a16="http://schemas.microsoft.com/office/drawing/2014/main" id="{EF2E4F58-2BD5-47ED-B5B4-C6E23F034B58}"/>
                </a:ext>
              </a:extLst>
            </p:cNvPr>
            <p:cNvSpPr>
              <a:spLocks/>
            </p:cNvSpPr>
            <p:nvPr/>
          </p:nvSpPr>
          <p:spPr bwMode="auto">
            <a:xfrm>
              <a:off x="5964051" y="2897170"/>
              <a:ext cx="386438" cy="136905"/>
            </a:xfrm>
            <a:custGeom>
              <a:avLst/>
              <a:gdLst>
                <a:gd name="T0" fmla="*/ 0 w 89"/>
                <a:gd name="T1" fmla="*/ 26 h 31"/>
                <a:gd name="T2" fmla="*/ 52 w 89"/>
                <a:gd name="T3" fmla="*/ 26 h 31"/>
                <a:gd name="T4" fmla="*/ 71 w 89"/>
                <a:gd name="T5" fmla="*/ 31 h 31"/>
                <a:gd name="T6" fmla="*/ 65 w 89"/>
                <a:gd name="T7" fmla="*/ 25 h 31"/>
                <a:gd name="T8" fmla="*/ 66 w 89"/>
                <a:gd name="T9" fmla="*/ 18 h 31"/>
                <a:gd name="T10" fmla="*/ 69 w 89"/>
                <a:gd name="T11" fmla="*/ 16 h 31"/>
                <a:gd name="T12" fmla="*/ 71 w 89"/>
                <a:gd name="T13" fmla="*/ 8 h 31"/>
                <a:gd name="T14" fmla="*/ 78 w 89"/>
                <a:gd name="T15" fmla="*/ 0 h 31"/>
                <a:gd name="T16" fmla="*/ 83 w 89"/>
                <a:gd name="T17" fmla="*/ 1 h 31"/>
                <a:gd name="T18" fmla="*/ 89 w 89"/>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31">
                  <a:moveTo>
                    <a:pt x="0" y="26"/>
                  </a:moveTo>
                  <a:cubicBezTo>
                    <a:pt x="17" y="27"/>
                    <a:pt x="35" y="27"/>
                    <a:pt x="52" y="26"/>
                  </a:cubicBezTo>
                  <a:cubicBezTo>
                    <a:pt x="59" y="26"/>
                    <a:pt x="67" y="26"/>
                    <a:pt x="71" y="31"/>
                  </a:cubicBezTo>
                  <a:cubicBezTo>
                    <a:pt x="69" y="29"/>
                    <a:pt x="67" y="28"/>
                    <a:pt x="65" y="25"/>
                  </a:cubicBezTo>
                  <a:cubicBezTo>
                    <a:pt x="64" y="23"/>
                    <a:pt x="64" y="19"/>
                    <a:pt x="66" y="18"/>
                  </a:cubicBezTo>
                  <a:cubicBezTo>
                    <a:pt x="67" y="17"/>
                    <a:pt x="68" y="16"/>
                    <a:pt x="69" y="16"/>
                  </a:cubicBezTo>
                  <a:cubicBezTo>
                    <a:pt x="71" y="14"/>
                    <a:pt x="71" y="10"/>
                    <a:pt x="71" y="8"/>
                  </a:cubicBezTo>
                  <a:cubicBezTo>
                    <a:pt x="71" y="4"/>
                    <a:pt x="74" y="0"/>
                    <a:pt x="78" y="0"/>
                  </a:cubicBezTo>
                  <a:cubicBezTo>
                    <a:pt x="80" y="0"/>
                    <a:pt x="81" y="1"/>
                    <a:pt x="83" y="1"/>
                  </a:cubicBezTo>
                  <a:cubicBezTo>
                    <a:pt x="85" y="2"/>
                    <a:pt x="88" y="2"/>
                    <a:pt x="89" y="0"/>
                  </a:cubicBezTo>
                </a:path>
              </a:pathLst>
            </a:custGeom>
            <a:noFill/>
            <a:ln w="19050" cap="flat" cmpd="sng" algn="ctr">
              <a:solidFill>
                <a:schemeClr val="accent1"/>
              </a:solidFill>
              <a:prstDash val="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3" name="Freeform 27">
              <a:extLst>
                <a:ext uri="{FF2B5EF4-FFF2-40B4-BE49-F238E27FC236}">
                  <a16:creationId xmlns:a16="http://schemas.microsoft.com/office/drawing/2014/main" id="{C496CB38-FB79-4417-B074-C64D81687A39}"/>
                </a:ext>
              </a:extLst>
            </p:cNvPr>
            <p:cNvSpPr>
              <a:spLocks/>
            </p:cNvSpPr>
            <p:nvPr/>
          </p:nvSpPr>
          <p:spPr bwMode="auto">
            <a:xfrm>
              <a:off x="487680" y="3024698"/>
              <a:ext cx="1464943" cy="146282"/>
            </a:xfrm>
            <a:custGeom>
              <a:avLst/>
              <a:gdLst>
                <a:gd name="T0" fmla="*/ 0 w 333"/>
                <a:gd name="T1" fmla="*/ 1 h 33"/>
                <a:gd name="T2" fmla="*/ 168 w 333"/>
                <a:gd name="T3" fmla="*/ 8 h 33"/>
                <a:gd name="T4" fmla="*/ 333 w 333"/>
                <a:gd name="T5" fmla="*/ 33 h 33"/>
              </a:gdLst>
              <a:ahLst/>
              <a:cxnLst>
                <a:cxn ang="0">
                  <a:pos x="T0" y="T1"/>
                </a:cxn>
                <a:cxn ang="0">
                  <a:pos x="T2" y="T3"/>
                </a:cxn>
                <a:cxn ang="0">
                  <a:pos x="T4" y="T5"/>
                </a:cxn>
              </a:cxnLst>
              <a:rect l="0" t="0" r="r" b="b"/>
              <a:pathLst>
                <a:path w="333" h="33">
                  <a:moveTo>
                    <a:pt x="0" y="1"/>
                  </a:moveTo>
                  <a:cubicBezTo>
                    <a:pt x="11" y="0"/>
                    <a:pt x="168" y="8"/>
                    <a:pt x="168" y="8"/>
                  </a:cubicBezTo>
                  <a:cubicBezTo>
                    <a:pt x="168" y="8"/>
                    <a:pt x="290" y="25"/>
                    <a:pt x="333" y="33"/>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4" name="Freeform 28">
              <a:extLst>
                <a:ext uri="{FF2B5EF4-FFF2-40B4-BE49-F238E27FC236}">
                  <a16:creationId xmlns:a16="http://schemas.microsoft.com/office/drawing/2014/main" id="{00924D22-2716-4836-BBD5-7E59BE9FC867}"/>
                </a:ext>
              </a:extLst>
            </p:cNvPr>
            <p:cNvSpPr>
              <a:spLocks/>
            </p:cNvSpPr>
            <p:nvPr/>
          </p:nvSpPr>
          <p:spPr bwMode="auto">
            <a:xfrm>
              <a:off x="487679" y="3525432"/>
              <a:ext cx="1545194" cy="75017"/>
            </a:xfrm>
            <a:custGeom>
              <a:avLst/>
              <a:gdLst>
                <a:gd name="T0" fmla="*/ 0 w 348"/>
                <a:gd name="T1" fmla="*/ 17 h 17"/>
                <a:gd name="T2" fmla="*/ 248 w 348"/>
                <a:gd name="T3" fmla="*/ 3 h 17"/>
                <a:gd name="T4" fmla="*/ 348 w 348"/>
                <a:gd name="T5" fmla="*/ 11 h 17"/>
              </a:gdLst>
              <a:ahLst/>
              <a:cxnLst>
                <a:cxn ang="0">
                  <a:pos x="T0" y="T1"/>
                </a:cxn>
                <a:cxn ang="0">
                  <a:pos x="T2" y="T3"/>
                </a:cxn>
                <a:cxn ang="0">
                  <a:pos x="T4" y="T5"/>
                </a:cxn>
              </a:cxnLst>
              <a:rect l="0" t="0" r="r" b="b"/>
              <a:pathLst>
                <a:path w="348" h="17">
                  <a:moveTo>
                    <a:pt x="0" y="17"/>
                  </a:moveTo>
                  <a:cubicBezTo>
                    <a:pt x="71" y="16"/>
                    <a:pt x="178" y="8"/>
                    <a:pt x="248" y="3"/>
                  </a:cubicBezTo>
                  <a:cubicBezTo>
                    <a:pt x="294" y="0"/>
                    <a:pt x="303" y="1"/>
                    <a:pt x="348" y="11"/>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5" name="Freeform 29">
              <a:extLst>
                <a:ext uri="{FF2B5EF4-FFF2-40B4-BE49-F238E27FC236}">
                  <a16:creationId xmlns:a16="http://schemas.microsoft.com/office/drawing/2014/main" id="{FDF9F064-2A2D-4931-8141-A8668700C01A}"/>
                </a:ext>
              </a:extLst>
            </p:cNvPr>
            <p:cNvSpPr>
              <a:spLocks/>
            </p:cNvSpPr>
            <p:nvPr/>
          </p:nvSpPr>
          <p:spPr bwMode="auto">
            <a:xfrm>
              <a:off x="487680" y="3613577"/>
              <a:ext cx="1600076" cy="80643"/>
            </a:xfrm>
            <a:custGeom>
              <a:avLst/>
              <a:gdLst>
                <a:gd name="T0" fmla="*/ 0 w 351"/>
                <a:gd name="T1" fmla="*/ 18 h 18"/>
                <a:gd name="T2" fmla="*/ 172 w 351"/>
                <a:gd name="T3" fmla="*/ 13 h 18"/>
                <a:gd name="T4" fmla="*/ 351 w 351"/>
                <a:gd name="T5" fmla="*/ 0 h 18"/>
              </a:gdLst>
              <a:ahLst/>
              <a:cxnLst>
                <a:cxn ang="0">
                  <a:pos x="T0" y="T1"/>
                </a:cxn>
                <a:cxn ang="0">
                  <a:pos x="T2" y="T3"/>
                </a:cxn>
                <a:cxn ang="0">
                  <a:pos x="T4" y="T5"/>
                </a:cxn>
              </a:cxnLst>
              <a:rect l="0" t="0" r="r" b="b"/>
              <a:pathLst>
                <a:path w="351" h="18">
                  <a:moveTo>
                    <a:pt x="0" y="18"/>
                  </a:moveTo>
                  <a:cubicBezTo>
                    <a:pt x="58" y="17"/>
                    <a:pt x="114" y="15"/>
                    <a:pt x="172" y="13"/>
                  </a:cubicBezTo>
                  <a:cubicBezTo>
                    <a:pt x="232" y="11"/>
                    <a:pt x="292" y="9"/>
                    <a:pt x="351"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6" name="Freeform 30">
              <a:extLst>
                <a:ext uri="{FF2B5EF4-FFF2-40B4-BE49-F238E27FC236}">
                  <a16:creationId xmlns:a16="http://schemas.microsoft.com/office/drawing/2014/main" id="{6E1A19D9-F7DD-419C-BC60-B545CCDF7792}"/>
                </a:ext>
              </a:extLst>
            </p:cNvPr>
            <p:cNvSpPr>
              <a:spLocks/>
            </p:cNvSpPr>
            <p:nvPr/>
          </p:nvSpPr>
          <p:spPr bwMode="auto">
            <a:xfrm>
              <a:off x="3281071" y="3968030"/>
              <a:ext cx="1340353" cy="983046"/>
            </a:xfrm>
            <a:custGeom>
              <a:avLst/>
              <a:gdLst>
                <a:gd name="T0" fmla="*/ 0 w 314"/>
                <a:gd name="T1" fmla="*/ 0 h 218"/>
                <a:gd name="T2" fmla="*/ 35 w 314"/>
                <a:gd name="T3" fmla="*/ 0 h 218"/>
                <a:gd name="T4" fmla="*/ 122 w 314"/>
                <a:gd name="T5" fmla="*/ 66 h 218"/>
                <a:gd name="T6" fmla="*/ 150 w 314"/>
                <a:gd name="T7" fmla="*/ 65 h 218"/>
                <a:gd name="T8" fmla="*/ 194 w 314"/>
                <a:gd name="T9" fmla="*/ 85 h 218"/>
                <a:gd name="T10" fmla="*/ 314 w 314"/>
                <a:gd name="T11" fmla="*/ 218 h 218"/>
                <a:gd name="connsiteX0" fmla="*/ 0 w 9843"/>
                <a:gd name="connsiteY0" fmla="*/ 0 h 10198"/>
                <a:gd name="connsiteX1" fmla="*/ 1115 w 9843"/>
                <a:gd name="connsiteY1" fmla="*/ 0 h 10198"/>
                <a:gd name="connsiteX2" fmla="*/ 3885 w 9843"/>
                <a:gd name="connsiteY2" fmla="*/ 3028 h 10198"/>
                <a:gd name="connsiteX3" fmla="*/ 4777 w 9843"/>
                <a:gd name="connsiteY3" fmla="*/ 2982 h 10198"/>
                <a:gd name="connsiteX4" fmla="*/ 6178 w 9843"/>
                <a:gd name="connsiteY4" fmla="*/ 3899 h 10198"/>
                <a:gd name="connsiteX5" fmla="*/ 9843 w 9843"/>
                <a:gd name="connsiteY5" fmla="*/ 10198 h 1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43" h="10198">
                  <a:moveTo>
                    <a:pt x="0" y="0"/>
                  </a:moveTo>
                  <a:lnTo>
                    <a:pt x="1115" y="0"/>
                  </a:lnTo>
                  <a:cubicBezTo>
                    <a:pt x="1115" y="0"/>
                    <a:pt x="3535" y="1743"/>
                    <a:pt x="3885" y="3028"/>
                  </a:cubicBezTo>
                  <a:lnTo>
                    <a:pt x="4777" y="2982"/>
                  </a:lnTo>
                  <a:lnTo>
                    <a:pt x="6178" y="3899"/>
                  </a:lnTo>
                  <a:cubicBezTo>
                    <a:pt x="10000" y="10000"/>
                    <a:pt x="9843" y="10198"/>
                    <a:pt x="9843" y="10198"/>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7" name="Freeform 31">
              <a:extLst>
                <a:ext uri="{FF2B5EF4-FFF2-40B4-BE49-F238E27FC236}">
                  <a16:creationId xmlns:a16="http://schemas.microsoft.com/office/drawing/2014/main" id="{3A9C15FF-85F5-4EA2-8888-2FF115B82335}"/>
                </a:ext>
              </a:extLst>
            </p:cNvPr>
            <p:cNvSpPr>
              <a:spLocks/>
            </p:cNvSpPr>
            <p:nvPr/>
          </p:nvSpPr>
          <p:spPr bwMode="auto">
            <a:xfrm>
              <a:off x="3678550" y="4118063"/>
              <a:ext cx="927966" cy="812847"/>
            </a:xfrm>
            <a:custGeom>
              <a:avLst/>
              <a:gdLst>
                <a:gd name="T0" fmla="*/ 0 w 204"/>
                <a:gd name="T1" fmla="*/ 0 h 165"/>
                <a:gd name="T2" fmla="*/ 8 w 204"/>
                <a:gd name="T3" fmla="*/ 22 h 165"/>
                <a:gd name="T4" fmla="*/ 15 w 204"/>
                <a:gd name="T5" fmla="*/ 86 h 165"/>
                <a:gd name="T6" fmla="*/ 17 w 204"/>
                <a:gd name="T7" fmla="*/ 70 h 165"/>
                <a:gd name="T8" fmla="*/ 204 w 204"/>
                <a:gd name="T9" fmla="*/ 165 h 165"/>
                <a:gd name="connsiteX0" fmla="*/ 0 w 10484"/>
                <a:gd name="connsiteY0" fmla="*/ 0 h 11142"/>
                <a:gd name="connsiteX1" fmla="*/ 392 w 10484"/>
                <a:gd name="connsiteY1" fmla="*/ 1333 h 11142"/>
                <a:gd name="connsiteX2" fmla="*/ 735 w 10484"/>
                <a:gd name="connsiteY2" fmla="*/ 5212 h 11142"/>
                <a:gd name="connsiteX3" fmla="*/ 833 w 10484"/>
                <a:gd name="connsiteY3" fmla="*/ 4242 h 11142"/>
                <a:gd name="connsiteX4" fmla="*/ 10484 w 10484"/>
                <a:gd name="connsiteY4" fmla="*/ 11142 h 11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4" h="11142">
                  <a:moveTo>
                    <a:pt x="0" y="0"/>
                  </a:moveTo>
                  <a:lnTo>
                    <a:pt x="392" y="1333"/>
                  </a:lnTo>
                  <a:cubicBezTo>
                    <a:pt x="392" y="1333"/>
                    <a:pt x="196" y="3576"/>
                    <a:pt x="735" y="5212"/>
                  </a:cubicBezTo>
                  <a:cubicBezTo>
                    <a:pt x="735" y="5212"/>
                    <a:pt x="343" y="4182"/>
                    <a:pt x="833" y="4242"/>
                  </a:cubicBezTo>
                  <a:cubicBezTo>
                    <a:pt x="1373" y="4364"/>
                    <a:pt x="6023" y="6839"/>
                    <a:pt x="10484" y="11142"/>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8" name="Freeform 32">
              <a:extLst>
                <a:ext uri="{FF2B5EF4-FFF2-40B4-BE49-F238E27FC236}">
                  <a16:creationId xmlns:a16="http://schemas.microsoft.com/office/drawing/2014/main" id="{2F2B1028-D44C-4C40-9CA1-C5DEBF11E16A}"/>
                </a:ext>
              </a:extLst>
            </p:cNvPr>
            <p:cNvSpPr>
              <a:spLocks/>
            </p:cNvSpPr>
            <p:nvPr/>
          </p:nvSpPr>
          <p:spPr bwMode="auto">
            <a:xfrm>
              <a:off x="3557098" y="3397905"/>
              <a:ext cx="268665" cy="862689"/>
            </a:xfrm>
            <a:custGeom>
              <a:avLst/>
              <a:gdLst>
                <a:gd name="T0" fmla="*/ 0 w 62"/>
                <a:gd name="T1" fmla="*/ 0 h 195"/>
                <a:gd name="T2" fmla="*/ 62 w 62"/>
                <a:gd name="T3" fmla="*/ 195 h 195"/>
              </a:gdLst>
              <a:ahLst/>
              <a:cxnLst>
                <a:cxn ang="0">
                  <a:pos x="T0" y="T1"/>
                </a:cxn>
                <a:cxn ang="0">
                  <a:pos x="T2" y="T3"/>
                </a:cxn>
              </a:cxnLst>
              <a:rect l="0" t="0" r="r" b="b"/>
              <a:pathLst>
                <a:path w="62" h="195">
                  <a:moveTo>
                    <a:pt x="0" y="0"/>
                  </a:moveTo>
                  <a:cubicBezTo>
                    <a:pt x="0" y="0"/>
                    <a:pt x="50" y="151"/>
                    <a:pt x="62" y="195"/>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9" name="Freeform 33">
              <a:extLst>
                <a:ext uri="{FF2B5EF4-FFF2-40B4-BE49-F238E27FC236}">
                  <a16:creationId xmlns:a16="http://schemas.microsoft.com/office/drawing/2014/main" id="{ECE16008-A082-4C1B-914B-1F294F50AA5B}"/>
                </a:ext>
              </a:extLst>
            </p:cNvPr>
            <p:cNvSpPr>
              <a:spLocks/>
            </p:cNvSpPr>
            <p:nvPr/>
          </p:nvSpPr>
          <p:spPr bwMode="auto">
            <a:xfrm>
              <a:off x="3314194" y="3401655"/>
              <a:ext cx="230022" cy="562623"/>
            </a:xfrm>
            <a:custGeom>
              <a:avLst/>
              <a:gdLst>
                <a:gd name="T0" fmla="*/ 0 w 53"/>
                <a:gd name="T1" fmla="*/ 127 h 127"/>
                <a:gd name="T2" fmla="*/ 15 w 53"/>
                <a:gd name="T3" fmla="*/ 110 h 127"/>
                <a:gd name="T4" fmla="*/ 53 w 53"/>
                <a:gd name="T5" fmla="*/ 0 h 127"/>
              </a:gdLst>
              <a:ahLst/>
              <a:cxnLst>
                <a:cxn ang="0">
                  <a:pos x="T0" y="T1"/>
                </a:cxn>
                <a:cxn ang="0">
                  <a:pos x="T2" y="T3"/>
                </a:cxn>
                <a:cxn ang="0">
                  <a:pos x="T4" y="T5"/>
                </a:cxn>
              </a:cxnLst>
              <a:rect l="0" t="0" r="r" b="b"/>
              <a:pathLst>
                <a:path w="53" h="127">
                  <a:moveTo>
                    <a:pt x="0" y="127"/>
                  </a:moveTo>
                  <a:cubicBezTo>
                    <a:pt x="15" y="110"/>
                    <a:pt x="15" y="110"/>
                    <a:pt x="15" y="110"/>
                  </a:cubicBezTo>
                  <a:cubicBezTo>
                    <a:pt x="15" y="110"/>
                    <a:pt x="50" y="41"/>
                    <a:pt x="53"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0" name="Line 34">
              <a:extLst>
                <a:ext uri="{FF2B5EF4-FFF2-40B4-BE49-F238E27FC236}">
                  <a16:creationId xmlns:a16="http://schemas.microsoft.com/office/drawing/2014/main" id="{A65546D4-6246-4130-913E-3B1E3C08B1F9}"/>
                </a:ext>
              </a:extLst>
            </p:cNvPr>
            <p:cNvSpPr>
              <a:spLocks noChangeShapeType="1"/>
            </p:cNvSpPr>
            <p:nvPr/>
          </p:nvSpPr>
          <p:spPr bwMode="auto">
            <a:xfrm flipV="1">
              <a:off x="3509253" y="3431663"/>
              <a:ext cx="0" cy="125652"/>
            </a:xfrm>
            <a:prstGeom prst="line">
              <a:avLst/>
            </a:prstGeom>
            <a:noFill/>
            <a:ln w="15875" cap="rnd">
              <a:solidFill>
                <a:srgbClr val="A5A5A5"/>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1" name="Freeform 35">
              <a:extLst>
                <a:ext uri="{FF2B5EF4-FFF2-40B4-BE49-F238E27FC236}">
                  <a16:creationId xmlns:a16="http://schemas.microsoft.com/office/drawing/2014/main" id="{0BD45F7C-3C6A-4CE6-9A1E-0175443CB845}"/>
                </a:ext>
              </a:extLst>
            </p:cNvPr>
            <p:cNvSpPr>
              <a:spLocks/>
            </p:cNvSpPr>
            <p:nvPr/>
          </p:nvSpPr>
          <p:spPr bwMode="auto">
            <a:xfrm>
              <a:off x="3441166" y="3431663"/>
              <a:ext cx="1197880" cy="1504843"/>
            </a:xfrm>
            <a:custGeom>
              <a:avLst/>
              <a:gdLst>
                <a:gd name="T0" fmla="*/ 16 w 280"/>
                <a:gd name="T1" fmla="*/ 0 h 329"/>
                <a:gd name="T2" fmla="*/ 50 w 280"/>
                <a:gd name="T3" fmla="*/ 27 h 329"/>
                <a:gd name="T4" fmla="*/ 87 w 280"/>
                <a:gd name="T5" fmla="*/ 72 h 329"/>
                <a:gd name="T6" fmla="*/ 110 w 280"/>
                <a:gd name="T7" fmla="*/ 92 h 329"/>
                <a:gd name="T8" fmla="*/ 188 w 280"/>
                <a:gd name="T9" fmla="*/ 154 h 329"/>
                <a:gd name="T10" fmla="*/ 280 w 280"/>
                <a:gd name="T11" fmla="*/ 329 h 329"/>
                <a:gd name="T12" fmla="*/ 170 w 280"/>
                <a:gd name="T13" fmla="*/ 200 h 329"/>
                <a:gd name="T14" fmla="*/ 60 w 280"/>
                <a:gd name="T15" fmla="*/ 142 h 329"/>
                <a:gd name="T16" fmla="*/ 0 w 280"/>
                <a:gd name="T17" fmla="*/ 123 h 329"/>
                <a:gd name="connsiteX0" fmla="*/ 571 w 9863"/>
                <a:gd name="connsiteY0" fmla="*/ 0 h 10327"/>
                <a:gd name="connsiteX1" fmla="*/ 1786 w 9863"/>
                <a:gd name="connsiteY1" fmla="*/ 821 h 10327"/>
                <a:gd name="connsiteX2" fmla="*/ 3107 w 9863"/>
                <a:gd name="connsiteY2" fmla="*/ 2188 h 10327"/>
                <a:gd name="connsiteX3" fmla="*/ 3929 w 9863"/>
                <a:gd name="connsiteY3" fmla="*/ 2796 h 10327"/>
                <a:gd name="connsiteX4" fmla="*/ 6714 w 9863"/>
                <a:gd name="connsiteY4" fmla="*/ 4681 h 10327"/>
                <a:gd name="connsiteX5" fmla="*/ 9863 w 9863"/>
                <a:gd name="connsiteY5" fmla="*/ 10327 h 10327"/>
                <a:gd name="connsiteX6" fmla="*/ 6071 w 9863"/>
                <a:gd name="connsiteY6" fmla="*/ 6079 h 10327"/>
                <a:gd name="connsiteX7" fmla="*/ 2143 w 9863"/>
                <a:gd name="connsiteY7" fmla="*/ 4316 h 10327"/>
                <a:gd name="connsiteX8" fmla="*/ 0 w 9863"/>
                <a:gd name="connsiteY8" fmla="*/ 3739 h 1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3" h="10327">
                  <a:moveTo>
                    <a:pt x="571" y="0"/>
                  </a:moveTo>
                  <a:cubicBezTo>
                    <a:pt x="571" y="0"/>
                    <a:pt x="1036" y="517"/>
                    <a:pt x="1786" y="821"/>
                  </a:cubicBezTo>
                  <a:cubicBezTo>
                    <a:pt x="1929" y="912"/>
                    <a:pt x="3107" y="2188"/>
                    <a:pt x="3107" y="2188"/>
                  </a:cubicBezTo>
                  <a:lnTo>
                    <a:pt x="3929" y="2796"/>
                  </a:lnTo>
                  <a:cubicBezTo>
                    <a:pt x="3929" y="2796"/>
                    <a:pt x="5725" y="3426"/>
                    <a:pt x="6714" y="4681"/>
                  </a:cubicBezTo>
                  <a:cubicBezTo>
                    <a:pt x="7703" y="5936"/>
                    <a:pt x="9327" y="8655"/>
                    <a:pt x="9863" y="10327"/>
                  </a:cubicBezTo>
                  <a:cubicBezTo>
                    <a:pt x="5934" y="6406"/>
                    <a:pt x="7358" y="7081"/>
                    <a:pt x="6071" y="6079"/>
                  </a:cubicBezTo>
                  <a:cubicBezTo>
                    <a:pt x="4784" y="5077"/>
                    <a:pt x="2143" y="4316"/>
                    <a:pt x="2143" y="4316"/>
                  </a:cubicBezTo>
                  <a:lnTo>
                    <a:pt x="0" y="3739"/>
                  </a:ln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2" name="Freeform 36">
              <a:extLst>
                <a:ext uri="{FF2B5EF4-FFF2-40B4-BE49-F238E27FC236}">
                  <a16:creationId xmlns:a16="http://schemas.microsoft.com/office/drawing/2014/main" id="{895D733B-FD9F-410A-943F-36A7ADB4A6BE}"/>
                </a:ext>
              </a:extLst>
            </p:cNvPr>
            <p:cNvSpPr>
              <a:spLocks/>
            </p:cNvSpPr>
            <p:nvPr/>
          </p:nvSpPr>
          <p:spPr bwMode="auto">
            <a:xfrm>
              <a:off x="3614144" y="4931990"/>
              <a:ext cx="1240280" cy="1324040"/>
            </a:xfrm>
            <a:custGeom>
              <a:avLst/>
              <a:gdLst>
                <a:gd name="T0" fmla="*/ 239 w 286"/>
                <a:gd name="T1" fmla="*/ 8 h 299"/>
                <a:gd name="T2" fmla="*/ 250 w 286"/>
                <a:gd name="T3" fmla="*/ 0 h 299"/>
                <a:gd name="T4" fmla="*/ 264 w 286"/>
                <a:gd name="T5" fmla="*/ 3 h 299"/>
                <a:gd name="T6" fmla="*/ 283 w 286"/>
                <a:gd name="T7" fmla="*/ 11 h 299"/>
                <a:gd name="T8" fmla="*/ 286 w 286"/>
                <a:gd name="T9" fmla="*/ 67 h 299"/>
                <a:gd name="T10" fmla="*/ 268 w 286"/>
                <a:gd name="T11" fmla="*/ 121 h 299"/>
                <a:gd name="T12" fmla="*/ 237 w 286"/>
                <a:gd name="T13" fmla="*/ 164 h 299"/>
                <a:gd name="T14" fmla="*/ 213 w 286"/>
                <a:gd name="T15" fmla="*/ 171 h 299"/>
                <a:gd name="T16" fmla="*/ 188 w 286"/>
                <a:gd name="T17" fmla="*/ 171 h 299"/>
                <a:gd name="T18" fmla="*/ 178 w 286"/>
                <a:gd name="T19" fmla="*/ 155 h 299"/>
                <a:gd name="T20" fmla="*/ 192 w 286"/>
                <a:gd name="T21" fmla="*/ 201 h 299"/>
                <a:gd name="T22" fmla="*/ 169 w 286"/>
                <a:gd name="T23" fmla="*/ 246 h 299"/>
                <a:gd name="T24" fmla="*/ 169 w 286"/>
                <a:gd name="T25" fmla="*/ 253 h 299"/>
                <a:gd name="T26" fmla="*/ 151 w 286"/>
                <a:gd name="T27" fmla="*/ 273 h 299"/>
                <a:gd name="T28" fmla="*/ 137 w 286"/>
                <a:gd name="T29" fmla="*/ 277 h 299"/>
                <a:gd name="T30" fmla="*/ 98 w 286"/>
                <a:gd name="T31" fmla="*/ 272 h 299"/>
                <a:gd name="T32" fmla="*/ 98 w 286"/>
                <a:gd name="T33" fmla="*/ 272 h 299"/>
                <a:gd name="T34" fmla="*/ 84 w 286"/>
                <a:gd name="T35" fmla="*/ 257 h 299"/>
                <a:gd name="T36" fmla="*/ 54 w 286"/>
                <a:gd name="T37" fmla="*/ 271 h 299"/>
                <a:gd name="T38" fmla="*/ 48 w 286"/>
                <a:gd name="T39" fmla="*/ 270 h 299"/>
                <a:gd name="T40" fmla="*/ 49 w 286"/>
                <a:gd name="T41" fmla="*/ 263 h 299"/>
                <a:gd name="T42" fmla="*/ 41 w 286"/>
                <a:gd name="T43" fmla="*/ 259 h 299"/>
                <a:gd name="T44" fmla="*/ 40 w 286"/>
                <a:gd name="T45" fmla="*/ 247 h 299"/>
                <a:gd name="T46" fmla="*/ 24 w 286"/>
                <a:gd name="T47" fmla="*/ 244 h 299"/>
                <a:gd name="T48" fmla="*/ 0 w 286"/>
                <a:gd name="T49" fmla="*/ 244 h 299"/>
                <a:gd name="T50" fmla="*/ 14 w 286"/>
                <a:gd name="T51" fmla="*/ 248 h 299"/>
                <a:gd name="T52" fmla="*/ 20 w 286"/>
                <a:gd name="T53" fmla="*/ 258 h 299"/>
                <a:gd name="T54" fmla="*/ 30 w 286"/>
                <a:gd name="T55" fmla="*/ 269 h 299"/>
                <a:gd name="T56" fmla="*/ 26 w 286"/>
                <a:gd name="T57" fmla="*/ 272 h 299"/>
                <a:gd name="T58" fmla="*/ 22 w 286"/>
                <a:gd name="T59" fmla="*/ 277 h 299"/>
                <a:gd name="T60" fmla="*/ 21 w 286"/>
                <a:gd name="T61" fmla="*/ 294 h 299"/>
                <a:gd name="T62" fmla="*/ 39 w 286"/>
                <a:gd name="T63" fmla="*/ 299 h 299"/>
                <a:gd name="T64" fmla="*/ 98 w 286"/>
                <a:gd name="T65" fmla="*/ 286 h 299"/>
                <a:gd name="T66" fmla="*/ 106 w 286"/>
                <a:gd name="T67" fmla="*/ 27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6" h="299">
                  <a:moveTo>
                    <a:pt x="239" y="8"/>
                  </a:moveTo>
                  <a:cubicBezTo>
                    <a:pt x="250" y="0"/>
                    <a:pt x="250" y="0"/>
                    <a:pt x="250" y="0"/>
                  </a:cubicBezTo>
                  <a:cubicBezTo>
                    <a:pt x="264" y="3"/>
                    <a:pt x="264" y="3"/>
                    <a:pt x="264" y="3"/>
                  </a:cubicBezTo>
                  <a:cubicBezTo>
                    <a:pt x="283" y="11"/>
                    <a:pt x="283" y="11"/>
                    <a:pt x="283" y="11"/>
                  </a:cubicBezTo>
                  <a:cubicBezTo>
                    <a:pt x="286" y="67"/>
                    <a:pt x="286" y="67"/>
                    <a:pt x="286" y="67"/>
                  </a:cubicBezTo>
                  <a:cubicBezTo>
                    <a:pt x="268" y="121"/>
                    <a:pt x="268" y="121"/>
                    <a:pt x="268" y="121"/>
                  </a:cubicBezTo>
                  <a:cubicBezTo>
                    <a:pt x="237" y="164"/>
                    <a:pt x="237" y="164"/>
                    <a:pt x="237" y="164"/>
                  </a:cubicBezTo>
                  <a:cubicBezTo>
                    <a:pt x="213" y="171"/>
                    <a:pt x="213" y="171"/>
                    <a:pt x="213" y="171"/>
                  </a:cubicBezTo>
                  <a:cubicBezTo>
                    <a:pt x="188" y="171"/>
                    <a:pt x="188" y="171"/>
                    <a:pt x="188" y="171"/>
                  </a:cubicBezTo>
                  <a:cubicBezTo>
                    <a:pt x="178" y="155"/>
                    <a:pt x="178" y="155"/>
                    <a:pt x="178" y="155"/>
                  </a:cubicBezTo>
                  <a:cubicBezTo>
                    <a:pt x="192" y="201"/>
                    <a:pt x="192" y="201"/>
                    <a:pt x="192" y="201"/>
                  </a:cubicBezTo>
                  <a:cubicBezTo>
                    <a:pt x="169" y="246"/>
                    <a:pt x="169" y="246"/>
                    <a:pt x="169" y="246"/>
                  </a:cubicBezTo>
                  <a:cubicBezTo>
                    <a:pt x="169" y="253"/>
                    <a:pt x="169" y="253"/>
                    <a:pt x="169" y="253"/>
                  </a:cubicBezTo>
                  <a:cubicBezTo>
                    <a:pt x="151" y="273"/>
                    <a:pt x="151" y="273"/>
                    <a:pt x="151" y="273"/>
                  </a:cubicBezTo>
                  <a:cubicBezTo>
                    <a:pt x="137" y="277"/>
                    <a:pt x="137" y="277"/>
                    <a:pt x="137" y="277"/>
                  </a:cubicBezTo>
                  <a:cubicBezTo>
                    <a:pt x="98" y="272"/>
                    <a:pt x="98" y="272"/>
                    <a:pt x="98" y="272"/>
                  </a:cubicBezTo>
                  <a:cubicBezTo>
                    <a:pt x="98" y="272"/>
                    <a:pt x="98" y="272"/>
                    <a:pt x="98" y="272"/>
                  </a:cubicBezTo>
                  <a:cubicBezTo>
                    <a:pt x="94" y="266"/>
                    <a:pt x="95" y="255"/>
                    <a:pt x="84" y="257"/>
                  </a:cubicBezTo>
                  <a:cubicBezTo>
                    <a:pt x="74" y="259"/>
                    <a:pt x="65" y="270"/>
                    <a:pt x="54" y="271"/>
                  </a:cubicBezTo>
                  <a:cubicBezTo>
                    <a:pt x="52" y="271"/>
                    <a:pt x="49" y="272"/>
                    <a:pt x="48" y="270"/>
                  </a:cubicBezTo>
                  <a:cubicBezTo>
                    <a:pt x="46" y="267"/>
                    <a:pt x="50" y="266"/>
                    <a:pt x="49" y="263"/>
                  </a:cubicBezTo>
                  <a:cubicBezTo>
                    <a:pt x="49" y="257"/>
                    <a:pt x="45" y="263"/>
                    <a:pt x="41" y="259"/>
                  </a:cubicBezTo>
                  <a:cubicBezTo>
                    <a:pt x="38" y="256"/>
                    <a:pt x="42" y="250"/>
                    <a:pt x="40" y="247"/>
                  </a:cubicBezTo>
                  <a:cubicBezTo>
                    <a:pt x="37" y="242"/>
                    <a:pt x="28" y="244"/>
                    <a:pt x="24" y="244"/>
                  </a:cubicBezTo>
                  <a:cubicBezTo>
                    <a:pt x="19" y="244"/>
                    <a:pt x="1" y="240"/>
                    <a:pt x="0" y="244"/>
                  </a:cubicBezTo>
                  <a:cubicBezTo>
                    <a:pt x="7" y="245"/>
                    <a:pt x="12" y="237"/>
                    <a:pt x="14" y="248"/>
                  </a:cubicBezTo>
                  <a:cubicBezTo>
                    <a:pt x="15" y="255"/>
                    <a:pt x="13" y="254"/>
                    <a:pt x="20" y="258"/>
                  </a:cubicBezTo>
                  <a:cubicBezTo>
                    <a:pt x="22" y="260"/>
                    <a:pt x="30" y="266"/>
                    <a:pt x="30" y="269"/>
                  </a:cubicBezTo>
                  <a:cubicBezTo>
                    <a:pt x="29" y="271"/>
                    <a:pt x="27" y="271"/>
                    <a:pt x="26" y="272"/>
                  </a:cubicBezTo>
                  <a:cubicBezTo>
                    <a:pt x="22" y="275"/>
                    <a:pt x="22" y="273"/>
                    <a:pt x="22" y="277"/>
                  </a:cubicBezTo>
                  <a:cubicBezTo>
                    <a:pt x="21" y="281"/>
                    <a:pt x="21" y="294"/>
                    <a:pt x="21" y="294"/>
                  </a:cubicBezTo>
                  <a:cubicBezTo>
                    <a:pt x="39" y="299"/>
                    <a:pt x="39" y="299"/>
                    <a:pt x="39" y="299"/>
                  </a:cubicBezTo>
                  <a:cubicBezTo>
                    <a:pt x="98" y="286"/>
                    <a:pt x="98" y="286"/>
                    <a:pt x="98" y="286"/>
                  </a:cubicBezTo>
                  <a:cubicBezTo>
                    <a:pt x="98" y="286"/>
                    <a:pt x="104" y="278"/>
                    <a:pt x="106" y="273"/>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3" name="Freeform 37">
              <a:extLst>
                <a:ext uri="{FF2B5EF4-FFF2-40B4-BE49-F238E27FC236}">
                  <a16:creationId xmlns:a16="http://schemas.microsoft.com/office/drawing/2014/main" id="{C8563C77-FF3E-4A7B-9432-DEEEB161CA81}"/>
                </a:ext>
              </a:extLst>
            </p:cNvPr>
            <p:cNvSpPr>
              <a:spLocks/>
            </p:cNvSpPr>
            <p:nvPr/>
          </p:nvSpPr>
          <p:spPr bwMode="auto">
            <a:xfrm>
              <a:off x="4502949" y="4967623"/>
              <a:ext cx="316510" cy="699529"/>
            </a:xfrm>
            <a:custGeom>
              <a:avLst/>
              <a:gdLst>
                <a:gd name="T0" fmla="*/ 85 w 172"/>
                <a:gd name="T1" fmla="*/ 0 h 373"/>
                <a:gd name="T2" fmla="*/ 116 w 172"/>
                <a:gd name="T3" fmla="*/ 5 h 373"/>
                <a:gd name="T4" fmla="*/ 165 w 172"/>
                <a:gd name="T5" fmla="*/ 38 h 373"/>
                <a:gd name="T6" fmla="*/ 172 w 172"/>
                <a:gd name="T7" fmla="*/ 135 h 373"/>
                <a:gd name="T8" fmla="*/ 132 w 172"/>
                <a:gd name="T9" fmla="*/ 262 h 373"/>
                <a:gd name="T10" fmla="*/ 59 w 172"/>
                <a:gd name="T11" fmla="*/ 361 h 373"/>
                <a:gd name="T12" fmla="*/ 17 w 172"/>
                <a:gd name="T13" fmla="*/ 373 h 373"/>
                <a:gd name="T14" fmla="*/ 0 w 172"/>
                <a:gd name="T15" fmla="*/ 349 h 373"/>
                <a:gd name="T16" fmla="*/ 50 w 172"/>
                <a:gd name="T17" fmla="*/ 340 h 373"/>
                <a:gd name="T18" fmla="*/ 113 w 172"/>
                <a:gd name="T19" fmla="*/ 243 h 373"/>
                <a:gd name="T20" fmla="*/ 151 w 172"/>
                <a:gd name="T21" fmla="*/ 123 h 373"/>
                <a:gd name="T22" fmla="*/ 144 w 172"/>
                <a:gd name="T23" fmla="*/ 40 h 373"/>
                <a:gd name="T24" fmla="*/ 85 w 172"/>
                <a:gd name="T25"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2" h="373">
                  <a:moveTo>
                    <a:pt x="85" y="0"/>
                  </a:moveTo>
                  <a:lnTo>
                    <a:pt x="116" y="5"/>
                  </a:lnTo>
                  <a:lnTo>
                    <a:pt x="165" y="38"/>
                  </a:lnTo>
                  <a:lnTo>
                    <a:pt x="172" y="135"/>
                  </a:lnTo>
                  <a:lnTo>
                    <a:pt x="132" y="262"/>
                  </a:lnTo>
                  <a:lnTo>
                    <a:pt x="59" y="361"/>
                  </a:lnTo>
                  <a:lnTo>
                    <a:pt x="17" y="373"/>
                  </a:lnTo>
                  <a:lnTo>
                    <a:pt x="0" y="349"/>
                  </a:lnTo>
                  <a:lnTo>
                    <a:pt x="50" y="340"/>
                  </a:lnTo>
                  <a:lnTo>
                    <a:pt x="113" y="243"/>
                  </a:lnTo>
                  <a:lnTo>
                    <a:pt x="151" y="123"/>
                  </a:lnTo>
                  <a:lnTo>
                    <a:pt x="144" y="40"/>
                  </a:lnTo>
                  <a:lnTo>
                    <a:pt x="85" y="0"/>
                  </a:lnTo>
                  <a:close/>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4" name="Freeform 38">
              <a:extLst>
                <a:ext uri="{FF2B5EF4-FFF2-40B4-BE49-F238E27FC236}">
                  <a16:creationId xmlns:a16="http://schemas.microsoft.com/office/drawing/2014/main" id="{8D486A8F-1AC1-4A19-89C1-0FC12836FEAD}"/>
                </a:ext>
              </a:extLst>
            </p:cNvPr>
            <p:cNvSpPr>
              <a:spLocks/>
            </p:cNvSpPr>
            <p:nvPr/>
          </p:nvSpPr>
          <p:spPr bwMode="auto">
            <a:xfrm>
              <a:off x="5195165" y="2900921"/>
              <a:ext cx="513101" cy="954773"/>
            </a:xfrm>
            <a:custGeom>
              <a:avLst/>
              <a:gdLst>
                <a:gd name="T0" fmla="*/ 102 w 102"/>
                <a:gd name="T1" fmla="*/ 0 h 222"/>
                <a:gd name="T2" fmla="*/ 91 w 102"/>
                <a:gd name="T3" fmla="*/ 5 h 222"/>
                <a:gd name="T4" fmla="*/ 57 w 102"/>
                <a:gd name="T5" fmla="*/ 14 h 222"/>
                <a:gd name="T6" fmla="*/ 4 w 102"/>
                <a:gd name="T7" fmla="*/ 121 h 222"/>
                <a:gd name="T8" fmla="*/ 0 w 102"/>
                <a:gd name="T9" fmla="*/ 178 h 222"/>
                <a:gd name="T10" fmla="*/ 27 w 102"/>
                <a:gd name="T11" fmla="*/ 222 h 222"/>
                <a:gd name="connsiteX0" fmla="*/ 11618 w 11618"/>
                <a:gd name="connsiteY0" fmla="*/ 0 h 10000"/>
                <a:gd name="connsiteX1" fmla="*/ 10540 w 11618"/>
                <a:gd name="connsiteY1" fmla="*/ 225 h 10000"/>
                <a:gd name="connsiteX2" fmla="*/ 7206 w 11618"/>
                <a:gd name="connsiteY2" fmla="*/ 631 h 10000"/>
                <a:gd name="connsiteX3" fmla="*/ 2010 w 11618"/>
                <a:gd name="connsiteY3" fmla="*/ 5450 h 10000"/>
                <a:gd name="connsiteX4" fmla="*/ 0 w 11618"/>
                <a:gd name="connsiteY4" fmla="*/ 8091 h 10000"/>
                <a:gd name="connsiteX5" fmla="*/ 4265 w 11618"/>
                <a:gd name="connsiteY5" fmla="*/ 10000 h 10000"/>
                <a:gd name="connsiteX0" fmla="*/ 11618 w 11618"/>
                <a:gd name="connsiteY0" fmla="*/ 0 h 9796"/>
                <a:gd name="connsiteX1" fmla="*/ 10540 w 11618"/>
                <a:gd name="connsiteY1" fmla="*/ 225 h 9796"/>
                <a:gd name="connsiteX2" fmla="*/ 7206 w 11618"/>
                <a:gd name="connsiteY2" fmla="*/ 631 h 9796"/>
                <a:gd name="connsiteX3" fmla="*/ 2010 w 11618"/>
                <a:gd name="connsiteY3" fmla="*/ 5450 h 9796"/>
                <a:gd name="connsiteX4" fmla="*/ 0 w 11618"/>
                <a:gd name="connsiteY4" fmla="*/ 8091 h 9796"/>
                <a:gd name="connsiteX5" fmla="*/ 1731 w 11618"/>
                <a:gd name="connsiteY5" fmla="*/ 9782 h 9796"/>
                <a:gd name="connsiteX0" fmla="*/ 10000 w 10000"/>
                <a:gd name="connsiteY0" fmla="*/ 0 h 9918"/>
                <a:gd name="connsiteX1" fmla="*/ 9072 w 10000"/>
                <a:gd name="connsiteY1" fmla="*/ 230 h 9918"/>
                <a:gd name="connsiteX2" fmla="*/ 6202 w 10000"/>
                <a:gd name="connsiteY2" fmla="*/ 644 h 9918"/>
                <a:gd name="connsiteX3" fmla="*/ 1730 w 10000"/>
                <a:gd name="connsiteY3" fmla="*/ 5563 h 9918"/>
                <a:gd name="connsiteX4" fmla="*/ 0 w 10000"/>
                <a:gd name="connsiteY4" fmla="*/ 8259 h 9918"/>
                <a:gd name="connsiteX5" fmla="*/ 1258 w 10000"/>
                <a:gd name="connsiteY5" fmla="*/ 9887 h 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9918">
                  <a:moveTo>
                    <a:pt x="10000" y="0"/>
                  </a:moveTo>
                  <a:cubicBezTo>
                    <a:pt x="9663" y="46"/>
                    <a:pt x="9325" y="138"/>
                    <a:pt x="9072" y="230"/>
                  </a:cubicBezTo>
                  <a:cubicBezTo>
                    <a:pt x="8143" y="413"/>
                    <a:pt x="6962" y="322"/>
                    <a:pt x="6202" y="644"/>
                  </a:cubicBezTo>
                  <a:cubicBezTo>
                    <a:pt x="1730" y="5563"/>
                    <a:pt x="2764" y="4295"/>
                    <a:pt x="1730" y="5563"/>
                  </a:cubicBezTo>
                  <a:cubicBezTo>
                    <a:pt x="696" y="6832"/>
                    <a:pt x="0" y="8259"/>
                    <a:pt x="0" y="8259"/>
                  </a:cubicBezTo>
                  <a:cubicBezTo>
                    <a:pt x="2278" y="10283"/>
                    <a:pt x="1258" y="9887"/>
                    <a:pt x="1258" y="9887"/>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5" name="Freeform 39">
              <a:extLst>
                <a:ext uri="{FF2B5EF4-FFF2-40B4-BE49-F238E27FC236}">
                  <a16:creationId xmlns:a16="http://schemas.microsoft.com/office/drawing/2014/main" id="{DADF47F9-E7BD-4009-A916-33492E7930E3}"/>
                </a:ext>
              </a:extLst>
            </p:cNvPr>
            <p:cNvSpPr>
              <a:spLocks/>
            </p:cNvSpPr>
            <p:nvPr/>
          </p:nvSpPr>
          <p:spPr bwMode="auto">
            <a:xfrm>
              <a:off x="5470534" y="2942179"/>
              <a:ext cx="305182" cy="507180"/>
            </a:xfrm>
            <a:custGeom>
              <a:avLst/>
              <a:gdLst>
                <a:gd name="T0" fmla="*/ 31 w 76"/>
                <a:gd name="T1" fmla="*/ 0 h 129"/>
                <a:gd name="T2" fmla="*/ 31 w 76"/>
                <a:gd name="T3" fmla="*/ 6 h 129"/>
                <a:gd name="T4" fmla="*/ 26 w 76"/>
                <a:gd name="T5" fmla="*/ 10 h 129"/>
                <a:gd name="T6" fmla="*/ 20 w 76"/>
                <a:gd name="T7" fmla="*/ 21 h 129"/>
                <a:gd name="T8" fmla="*/ 4 w 76"/>
                <a:gd name="T9" fmla="*/ 69 h 129"/>
                <a:gd name="T10" fmla="*/ 2 w 76"/>
                <a:gd name="T11" fmla="*/ 78 h 129"/>
                <a:gd name="T12" fmla="*/ 5 w 76"/>
                <a:gd name="T13" fmla="*/ 107 h 129"/>
                <a:gd name="T14" fmla="*/ 9 w 76"/>
                <a:gd name="T15" fmla="*/ 118 h 129"/>
                <a:gd name="T16" fmla="*/ 21 w 76"/>
                <a:gd name="T17" fmla="*/ 128 h 129"/>
                <a:gd name="T18" fmla="*/ 28 w 76"/>
                <a:gd name="T19" fmla="*/ 122 h 129"/>
                <a:gd name="T20" fmla="*/ 35 w 76"/>
                <a:gd name="T21" fmla="*/ 122 h 129"/>
                <a:gd name="T22" fmla="*/ 38 w 76"/>
                <a:gd name="T23" fmla="*/ 114 h 129"/>
                <a:gd name="T24" fmla="*/ 47 w 76"/>
                <a:gd name="T25" fmla="*/ 113 h 129"/>
                <a:gd name="T26" fmla="*/ 76 w 76"/>
                <a:gd name="T27" fmla="*/ 104 h 129"/>
                <a:gd name="connsiteX0" fmla="*/ 3922 w 9843"/>
                <a:gd name="connsiteY0" fmla="*/ 0 h 9930"/>
                <a:gd name="connsiteX1" fmla="*/ 3922 w 9843"/>
                <a:gd name="connsiteY1" fmla="*/ 465 h 9930"/>
                <a:gd name="connsiteX2" fmla="*/ 3264 w 9843"/>
                <a:gd name="connsiteY2" fmla="*/ 775 h 9930"/>
                <a:gd name="connsiteX3" fmla="*/ 2475 w 9843"/>
                <a:gd name="connsiteY3" fmla="*/ 1628 h 9930"/>
                <a:gd name="connsiteX4" fmla="*/ 369 w 9843"/>
                <a:gd name="connsiteY4" fmla="*/ 5349 h 9930"/>
                <a:gd name="connsiteX5" fmla="*/ 106 w 9843"/>
                <a:gd name="connsiteY5" fmla="*/ 6047 h 9930"/>
                <a:gd name="connsiteX6" fmla="*/ 501 w 9843"/>
                <a:gd name="connsiteY6" fmla="*/ 8295 h 9930"/>
                <a:gd name="connsiteX7" fmla="*/ 1027 w 9843"/>
                <a:gd name="connsiteY7" fmla="*/ 9147 h 9930"/>
                <a:gd name="connsiteX8" fmla="*/ 2606 w 9843"/>
                <a:gd name="connsiteY8" fmla="*/ 9922 h 9930"/>
                <a:gd name="connsiteX9" fmla="*/ 3527 w 9843"/>
                <a:gd name="connsiteY9" fmla="*/ 9457 h 9930"/>
                <a:gd name="connsiteX10" fmla="*/ 4448 w 9843"/>
                <a:gd name="connsiteY10" fmla="*/ 9248 h 9930"/>
                <a:gd name="connsiteX11" fmla="*/ 4843 w 9843"/>
                <a:gd name="connsiteY11" fmla="*/ 8837 h 9930"/>
                <a:gd name="connsiteX12" fmla="*/ 6027 w 9843"/>
                <a:gd name="connsiteY12" fmla="*/ 8760 h 9930"/>
                <a:gd name="connsiteX13" fmla="*/ 9843 w 9843"/>
                <a:gd name="connsiteY13" fmla="*/ 8062 h 993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6123 w 10000"/>
                <a:gd name="connsiteY12" fmla="*/ 8822 h 10000"/>
                <a:gd name="connsiteX13" fmla="*/ 10000 w 10000"/>
                <a:gd name="connsiteY13" fmla="*/ 8119 h 1000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8620 w 10000"/>
                <a:gd name="connsiteY12" fmla="*/ 8486 h 10000"/>
                <a:gd name="connsiteX13" fmla="*/ 10000 w 10000"/>
                <a:gd name="connsiteY13" fmla="*/ 8119 h 10000"/>
                <a:gd name="connsiteX0" fmla="*/ 3985 w 9927"/>
                <a:gd name="connsiteY0" fmla="*/ 0 h 10000"/>
                <a:gd name="connsiteX1" fmla="*/ 3985 w 9927"/>
                <a:gd name="connsiteY1" fmla="*/ 468 h 10000"/>
                <a:gd name="connsiteX2" fmla="*/ 3316 w 9927"/>
                <a:gd name="connsiteY2" fmla="*/ 780 h 10000"/>
                <a:gd name="connsiteX3" fmla="*/ 2514 w 9927"/>
                <a:gd name="connsiteY3" fmla="*/ 1639 h 10000"/>
                <a:gd name="connsiteX4" fmla="*/ 375 w 9927"/>
                <a:gd name="connsiteY4" fmla="*/ 5387 h 10000"/>
                <a:gd name="connsiteX5" fmla="*/ 108 w 9927"/>
                <a:gd name="connsiteY5" fmla="*/ 6090 h 10000"/>
                <a:gd name="connsiteX6" fmla="*/ 509 w 9927"/>
                <a:gd name="connsiteY6" fmla="*/ 8353 h 10000"/>
                <a:gd name="connsiteX7" fmla="*/ 1043 w 9927"/>
                <a:gd name="connsiteY7" fmla="*/ 9211 h 10000"/>
                <a:gd name="connsiteX8" fmla="*/ 2648 w 9927"/>
                <a:gd name="connsiteY8" fmla="*/ 9992 h 10000"/>
                <a:gd name="connsiteX9" fmla="*/ 3583 w 9927"/>
                <a:gd name="connsiteY9" fmla="*/ 9524 h 10000"/>
                <a:gd name="connsiteX10" fmla="*/ 6135 w 9927"/>
                <a:gd name="connsiteY10" fmla="*/ 8934 h 10000"/>
                <a:gd name="connsiteX11" fmla="*/ 4920 w 9927"/>
                <a:gd name="connsiteY11" fmla="*/ 8899 h 10000"/>
                <a:gd name="connsiteX12" fmla="*/ 8620 w 9927"/>
                <a:gd name="connsiteY12" fmla="*/ 8486 h 10000"/>
                <a:gd name="connsiteX13" fmla="*/ 9927 w 9927"/>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6106 w 10000"/>
                <a:gd name="connsiteY10" fmla="*/ 8345 h 10000"/>
                <a:gd name="connsiteX11" fmla="*/ 4956 w 10000"/>
                <a:gd name="connsiteY11" fmla="*/ 8899 h 10000"/>
                <a:gd name="connsiteX12" fmla="*/ 8683 w 10000"/>
                <a:gd name="connsiteY12" fmla="*/ 8486 h 10000"/>
                <a:gd name="connsiteX13" fmla="*/ 10000 w 10000"/>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4774 w 10000"/>
                <a:gd name="connsiteY10" fmla="*/ 9060 h 10000"/>
                <a:gd name="connsiteX11" fmla="*/ 4956 w 10000"/>
                <a:gd name="connsiteY11" fmla="*/ 8899 h 10000"/>
                <a:gd name="connsiteX12" fmla="*/ 8683 w 10000"/>
                <a:gd name="connsiteY12" fmla="*/ 8486 h 10000"/>
                <a:gd name="connsiteX13" fmla="*/ 10000 w 10000"/>
                <a:gd name="connsiteY13" fmla="*/ 7025 h 10000"/>
                <a:gd name="connsiteX0" fmla="*/ 4014 w 9482"/>
                <a:gd name="connsiteY0" fmla="*/ 0 h 10000"/>
                <a:gd name="connsiteX1" fmla="*/ 4014 w 9482"/>
                <a:gd name="connsiteY1" fmla="*/ 468 h 10000"/>
                <a:gd name="connsiteX2" fmla="*/ 3340 w 9482"/>
                <a:gd name="connsiteY2" fmla="*/ 780 h 10000"/>
                <a:gd name="connsiteX3" fmla="*/ 2532 w 9482"/>
                <a:gd name="connsiteY3" fmla="*/ 1639 h 10000"/>
                <a:gd name="connsiteX4" fmla="*/ 378 w 9482"/>
                <a:gd name="connsiteY4" fmla="*/ 5387 h 10000"/>
                <a:gd name="connsiteX5" fmla="*/ 109 w 9482"/>
                <a:gd name="connsiteY5" fmla="*/ 6090 h 10000"/>
                <a:gd name="connsiteX6" fmla="*/ 513 w 9482"/>
                <a:gd name="connsiteY6" fmla="*/ 8353 h 10000"/>
                <a:gd name="connsiteX7" fmla="*/ 1051 w 9482"/>
                <a:gd name="connsiteY7" fmla="*/ 9211 h 10000"/>
                <a:gd name="connsiteX8" fmla="*/ 2667 w 9482"/>
                <a:gd name="connsiteY8" fmla="*/ 9992 h 10000"/>
                <a:gd name="connsiteX9" fmla="*/ 3609 w 9482"/>
                <a:gd name="connsiteY9" fmla="*/ 9524 h 10000"/>
                <a:gd name="connsiteX10" fmla="*/ 4774 w 9482"/>
                <a:gd name="connsiteY10" fmla="*/ 9060 h 10000"/>
                <a:gd name="connsiteX11" fmla="*/ 4956 w 9482"/>
                <a:gd name="connsiteY11" fmla="*/ 8899 h 10000"/>
                <a:gd name="connsiteX12" fmla="*/ 8683 w 9482"/>
                <a:gd name="connsiteY12" fmla="*/ 8486 h 10000"/>
                <a:gd name="connsiteX13" fmla="*/ 9482 w 9482"/>
                <a:gd name="connsiteY13"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82" h="10000">
                  <a:moveTo>
                    <a:pt x="4014" y="0"/>
                  </a:moveTo>
                  <a:cubicBezTo>
                    <a:pt x="4283" y="79"/>
                    <a:pt x="4149" y="312"/>
                    <a:pt x="4014" y="468"/>
                  </a:cubicBezTo>
                  <a:cubicBezTo>
                    <a:pt x="3878" y="547"/>
                    <a:pt x="3609" y="624"/>
                    <a:pt x="3340" y="780"/>
                  </a:cubicBezTo>
                  <a:cubicBezTo>
                    <a:pt x="2936" y="1015"/>
                    <a:pt x="2802" y="1327"/>
                    <a:pt x="2532" y="1639"/>
                  </a:cubicBezTo>
                  <a:cubicBezTo>
                    <a:pt x="1860" y="2888"/>
                    <a:pt x="1186" y="4138"/>
                    <a:pt x="378" y="5387"/>
                  </a:cubicBezTo>
                  <a:cubicBezTo>
                    <a:pt x="244" y="5620"/>
                    <a:pt x="109" y="5855"/>
                    <a:pt x="109" y="6090"/>
                  </a:cubicBezTo>
                  <a:cubicBezTo>
                    <a:pt x="-161" y="6870"/>
                    <a:pt x="109" y="7651"/>
                    <a:pt x="513" y="8353"/>
                  </a:cubicBezTo>
                  <a:cubicBezTo>
                    <a:pt x="647" y="8666"/>
                    <a:pt x="917" y="8978"/>
                    <a:pt x="1051" y="9211"/>
                  </a:cubicBezTo>
                  <a:cubicBezTo>
                    <a:pt x="1321" y="9602"/>
                    <a:pt x="1994" y="10070"/>
                    <a:pt x="2667" y="9992"/>
                  </a:cubicBezTo>
                  <a:cubicBezTo>
                    <a:pt x="3071" y="9914"/>
                    <a:pt x="3340" y="9680"/>
                    <a:pt x="3609" y="9524"/>
                  </a:cubicBezTo>
                  <a:cubicBezTo>
                    <a:pt x="3878" y="9446"/>
                    <a:pt x="4505" y="8827"/>
                    <a:pt x="4774" y="9060"/>
                  </a:cubicBezTo>
                  <a:cubicBezTo>
                    <a:pt x="4640" y="8827"/>
                    <a:pt x="4687" y="9055"/>
                    <a:pt x="4956" y="8899"/>
                  </a:cubicBezTo>
                  <a:cubicBezTo>
                    <a:pt x="5361" y="8822"/>
                    <a:pt x="8279" y="8486"/>
                    <a:pt x="8683" y="8486"/>
                  </a:cubicBezTo>
                  <a:cubicBezTo>
                    <a:pt x="10030" y="8407"/>
                    <a:pt x="8270" y="7994"/>
                    <a:pt x="9482" y="768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6" name="Freeform 40">
              <a:extLst>
                <a:ext uri="{FF2B5EF4-FFF2-40B4-BE49-F238E27FC236}">
                  <a16:creationId xmlns:a16="http://schemas.microsoft.com/office/drawing/2014/main" id="{8B6B77CA-C793-419E-8A42-6E49F48D473D}"/>
                </a:ext>
              </a:extLst>
            </p:cNvPr>
            <p:cNvSpPr>
              <a:spLocks/>
            </p:cNvSpPr>
            <p:nvPr/>
          </p:nvSpPr>
          <p:spPr bwMode="auto">
            <a:xfrm>
              <a:off x="4799297" y="3231915"/>
              <a:ext cx="2855562" cy="2904542"/>
            </a:xfrm>
            <a:custGeom>
              <a:avLst/>
              <a:gdLst>
                <a:gd name="T0" fmla="*/ 265 w 651"/>
                <a:gd name="T1" fmla="*/ 0 h 649"/>
                <a:gd name="T2" fmla="*/ 259 w 651"/>
                <a:gd name="T3" fmla="*/ 33 h 649"/>
                <a:gd name="T4" fmla="*/ 254 w 651"/>
                <a:gd name="T5" fmla="*/ 46 h 649"/>
                <a:gd name="T6" fmla="*/ 246 w 651"/>
                <a:gd name="T7" fmla="*/ 52 h 649"/>
                <a:gd name="T8" fmla="*/ 186 w 651"/>
                <a:gd name="T9" fmla="*/ 71 h 649"/>
                <a:gd name="T10" fmla="*/ 177 w 651"/>
                <a:gd name="T11" fmla="*/ 76 h 649"/>
                <a:gd name="T12" fmla="*/ 137 w 651"/>
                <a:gd name="T13" fmla="*/ 90 h 649"/>
                <a:gd name="T14" fmla="*/ 128 w 651"/>
                <a:gd name="T15" fmla="*/ 96 h 649"/>
                <a:gd name="T16" fmla="*/ 123 w 651"/>
                <a:gd name="T17" fmla="*/ 103 h 649"/>
                <a:gd name="T18" fmla="*/ 107 w 651"/>
                <a:gd name="T19" fmla="*/ 139 h 649"/>
                <a:gd name="T20" fmla="*/ 98 w 651"/>
                <a:gd name="T21" fmla="*/ 143 h 649"/>
                <a:gd name="T22" fmla="*/ 31 w 651"/>
                <a:gd name="T23" fmla="*/ 264 h 649"/>
                <a:gd name="T24" fmla="*/ 127 w 651"/>
                <a:gd name="T25" fmla="*/ 360 h 649"/>
                <a:gd name="T26" fmla="*/ 234 w 651"/>
                <a:gd name="T27" fmla="*/ 348 h 649"/>
                <a:gd name="T28" fmla="*/ 245 w 651"/>
                <a:gd name="T29" fmla="*/ 349 h 649"/>
                <a:gd name="T30" fmla="*/ 262 w 651"/>
                <a:gd name="T31" fmla="*/ 383 h 649"/>
                <a:gd name="T32" fmla="*/ 334 w 651"/>
                <a:gd name="T33" fmla="*/ 622 h 649"/>
                <a:gd name="T34" fmla="*/ 363 w 651"/>
                <a:gd name="T35" fmla="*/ 622 h 649"/>
                <a:gd name="T36" fmla="*/ 356 w 651"/>
                <a:gd name="T37" fmla="*/ 628 h 649"/>
                <a:gd name="T38" fmla="*/ 401 w 651"/>
                <a:gd name="T39" fmla="*/ 641 h 649"/>
                <a:gd name="T40" fmla="*/ 469 w 651"/>
                <a:gd name="T41" fmla="*/ 610 h 649"/>
                <a:gd name="T42" fmla="*/ 471 w 651"/>
                <a:gd name="T43" fmla="*/ 603 h 649"/>
                <a:gd name="T44" fmla="*/ 463 w 651"/>
                <a:gd name="T45" fmla="*/ 584 h 649"/>
                <a:gd name="T46" fmla="*/ 465 w 651"/>
                <a:gd name="T47" fmla="*/ 580 h 649"/>
                <a:gd name="T48" fmla="*/ 541 w 651"/>
                <a:gd name="T49" fmla="*/ 456 h 649"/>
                <a:gd name="T50" fmla="*/ 572 w 651"/>
                <a:gd name="T51" fmla="*/ 354 h 649"/>
                <a:gd name="T52" fmla="*/ 651 w 651"/>
                <a:gd name="T53" fmla="*/ 251 h 649"/>
                <a:gd name="T54" fmla="*/ 548 w 651"/>
                <a:gd name="T55" fmla="*/ 269 h 649"/>
                <a:gd name="T56" fmla="*/ 549 w 651"/>
                <a:gd name="T57" fmla="*/ 270 h 649"/>
                <a:gd name="T58" fmla="*/ 547 w 651"/>
                <a:gd name="T59" fmla="*/ 262 h 649"/>
                <a:gd name="T60" fmla="*/ 544 w 651"/>
                <a:gd name="T61" fmla="*/ 250 h 649"/>
                <a:gd name="T62" fmla="*/ 515 w 651"/>
                <a:gd name="T63" fmla="*/ 216 h 649"/>
                <a:gd name="T64" fmla="*/ 515 w 651"/>
                <a:gd name="T65" fmla="*/ 207 h 649"/>
                <a:gd name="T66" fmla="*/ 518 w 651"/>
                <a:gd name="T67" fmla="*/ 194 h 649"/>
                <a:gd name="T68" fmla="*/ 507 w 651"/>
                <a:gd name="T69" fmla="*/ 190 h 649"/>
                <a:gd name="T70" fmla="*/ 475 w 651"/>
                <a:gd name="T71" fmla="*/ 139 h 649"/>
                <a:gd name="T72" fmla="*/ 469 w 651"/>
                <a:gd name="T73" fmla="*/ 130 h 649"/>
                <a:gd name="T74" fmla="*/ 463 w 651"/>
                <a:gd name="T75" fmla="*/ 129 h 649"/>
                <a:gd name="T76" fmla="*/ 447 w 651"/>
                <a:gd name="T77" fmla="*/ 115 h 649"/>
                <a:gd name="T78" fmla="*/ 441 w 651"/>
                <a:gd name="T79" fmla="*/ 99 h 649"/>
                <a:gd name="T80" fmla="*/ 366 w 651"/>
                <a:gd name="T81" fmla="*/ 83 h 649"/>
                <a:gd name="T82" fmla="*/ 315 w 651"/>
                <a:gd name="T83" fmla="*/ 57 h 649"/>
                <a:gd name="T84" fmla="*/ 284 w 651"/>
                <a:gd name="T85" fmla="*/ 47 h 649"/>
                <a:gd name="T86" fmla="*/ 265 w 651"/>
                <a:gd name="T87"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1" h="649">
                  <a:moveTo>
                    <a:pt x="265" y="0"/>
                  </a:moveTo>
                  <a:cubicBezTo>
                    <a:pt x="263" y="11"/>
                    <a:pt x="262" y="22"/>
                    <a:pt x="259" y="33"/>
                  </a:cubicBezTo>
                  <a:cubicBezTo>
                    <a:pt x="258" y="38"/>
                    <a:pt x="257" y="42"/>
                    <a:pt x="254" y="46"/>
                  </a:cubicBezTo>
                  <a:cubicBezTo>
                    <a:pt x="252" y="48"/>
                    <a:pt x="249" y="50"/>
                    <a:pt x="246" y="52"/>
                  </a:cubicBezTo>
                  <a:cubicBezTo>
                    <a:pt x="227" y="62"/>
                    <a:pt x="207" y="69"/>
                    <a:pt x="186" y="71"/>
                  </a:cubicBezTo>
                  <a:cubicBezTo>
                    <a:pt x="182" y="71"/>
                    <a:pt x="178" y="72"/>
                    <a:pt x="177" y="76"/>
                  </a:cubicBezTo>
                  <a:cubicBezTo>
                    <a:pt x="162" y="76"/>
                    <a:pt x="149" y="83"/>
                    <a:pt x="137" y="90"/>
                  </a:cubicBezTo>
                  <a:cubicBezTo>
                    <a:pt x="134" y="92"/>
                    <a:pt x="131" y="93"/>
                    <a:pt x="128" y="96"/>
                  </a:cubicBezTo>
                  <a:cubicBezTo>
                    <a:pt x="126" y="98"/>
                    <a:pt x="124" y="101"/>
                    <a:pt x="123" y="103"/>
                  </a:cubicBezTo>
                  <a:cubicBezTo>
                    <a:pt x="116" y="115"/>
                    <a:pt x="109" y="126"/>
                    <a:pt x="107" y="139"/>
                  </a:cubicBezTo>
                  <a:cubicBezTo>
                    <a:pt x="104" y="139"/>
                    <a:pt x="100" y="141"/>
                    <a:pt x="98" y="143"/>
                  </a:cubicBezTo>
                  <a:cubicBezTo>
                    <a:pt x="98" y="143"/>
                    <a:pt x="0" y="160"/>
                    <a:pt x="31" y="264"/>
                  </a:cubicBezTo>
                  <a:cubicBezTo>
                    <a:pt x="62" y="367"/>
                    <a:pt x="127" y="360"/>
                    <a:pt x="127" y="360"/>
                  </a:cubicBezTo>
                  <a:cubicBezTo>
                    <a:pt x="127" y="360"/>
                    <a:pt x="207" y="353"/>
                    <a:pt x="234" y="348"/>
                  </a:cubicBezTo>
                  <a:cubicBezTo>
                    <a:pt x="237" y="347"/>
                    <a:pt x="241" y="347"/>
                    <a:pt x="245" y="349"/>
                  </a:cubicBezTo>
                  <a:cubicBezTo>
                    <a:pt x="254" y="354"/>
                    <a:pt x="261" y="360"/>
                    <a:pt x="262" y="383"/>
                  </a:cubicBezTo>
                  <a:cubicBezTo>
                    <a:pt x="262" y="411"/>
                    <a:pt x="269" y="576"/>
                    <a:pt x="334" y="622"/>
                  </a:cubicBezTo>
                  <a:cubicBezTo>
                    <a:pt x="345" y="631"/>
                    <a:pt x="363" y="622"/>
                    <a:pt x="363" y="622"/>
                  </a:cubicBezTo>
                  <a:cubicBezTo>
                    <a:pt x="356" y="628"/>
                    <a:pt x="356" y="628"/>
                    <a:pt x="356" y="628"/>
                  </a:cubicBezTo>
                  <a:cubicBezTo>
                    <a:pt x="356" y="628"/>
                    <a:pt x="363" y="649"/>
                    <a:pt x="401" y="641"/>
                  </a:cubicBezTo>
                  <a:cubicBezTo>
                    <a:pt x="431" y="634"/>
                    <a:pt x="459" y="616"/>
                    <a:pt x="469" y="610"/>
                  </a:cubicBezTo>
                  <a:cubicBezTo>
                    <a:pt x="471" y="608"/>
                    <a:pt x="472" y="605"/>
                    <a:pt x="471" y="603"/>
                  </a:cubicBezTo>
                  <a:cubicBezTo>
                    <a:pt x="463" y="584"/>
                    <a:pt x="463" y="584"/>
                    <a:pt x="463" y="584"/>
                  </a:cubicBezTo>
                  <a:cubicBezTo>
                    <a:pt x="463" y="582"/>
                    <a:pt x="463" y="581"/>
                    <a:pt x="465" y="580"/>
                  </a:cubicBezTo>
                  <a:cubicBezTo>
                    <a:pt x="480" y="575"/>
                    <a:pt x="540" y="548"/>
                    <a:pt x="541" y="456"/>
                  </a:cubicBezTo>
                  <a:cubicBezTo>
                    <a:pt x="541" y="380"/>
                    <a:pt x="532" y="398"/>
                    <a:pt x="572" y="354"/>
                  </a:cubicBezTo>
                  <a:cubicBezTo>
                    <a:pt x="612" y="310"/>
                    <a:pt x="620" y="310"/>
                    <a:pt x="651" y="251"/>
                  </a:cubicBezTo>
                  <a:cubicBezTo>
                    <a:pt x="548" y="269"/>
                    <a:pt x="548" y="269"/>
                    <a:pt x="548" y="269"/>
                  </a:cubicBezTo>
                  <a:cubicBezTo>
                    <a:pt x="549" y="270"/>
                    <a:pt x="549" y="270"/>
                    <a:pt x="549" y="270"/>
                  </a:cubicBezTo>
                  <a:cubicBezTo>
                    <a:pt x="547" y="262"/>
                    <a:pt x="547" y="262"/>
                    <a:pt x="547" y="262"/>
                  </a:cubicBezTo>
                  <a:cubicBezTo>
                    <a:pt x="544" y="250"/>
                    <a:pt x="544" y="250"/>
                    <a:pt x="544" y="250"/>
                  </a:cubicBezTo>
                  <a:cubicBezTo>
                    <a:pt x="515" y="216"/>
                    <a:pt x="515" y="216"/>
                    <a:pt x="515" y="216"/>
                  </a:cubicBezTo>
                  <a:cubicBezTo>
                    <a:pt x="515" y="207"/>
                    <a:pt x="515" y="207"/>
                    <a:pt x="515" y="207"/>
                  </a:cubicBezTo>
                  <a:cubicBezTo>
                    <a:pt x="518" y="194"/>
                    <a:pt x="518" y="194"/>
                    <a:pt x="518" y="194"/>
                  </a:cubicBezTo>
                  <a:cubicBezTo>
                    <a:pt x="507" y="190"/>
                    <a:pt x="507" y="190"/>
                    <a:pt x="507" y="190"/>
                  </a:cubicBezTo>
                  <a:cubicBezTo>
                    <a:pt x="475" y="139"/>
                    <a:pt x="475" y="139"/>
                    <a:pt x="475" y="139"/>
                  </a:cubicBezTo>
                  <a:cubicBezTo>
                    <a:pt x="469" y="130"/>
                    <a:pt x="469" y="130"/>
                    <a:pt x="469" y="130"/>
                  </a:cubicBezTo>
                  <a:cubicBezTo>
                    <a:pt x="463" y="129"/>
                    <a:pt x="463" y="129"/>
                    <a:pt x="463" y="129"/>
                  </a:cubicBezTo>
                  <a:cubicBezTo>
                    <a:pt x="447" y="115"/>
                    <a:pt x="447" y="115"/>
                    <a:pt x="447" y="115"/>
                  </a:cubicBezTo>
                  <a:cubicBezTo>
                    <a:pt x="441" y="99"/>
                    <a:pt x="441" y="99"/>
                    <a:pt x="441" y="99"/>
                  </a:cubicBezTo>
                  <a:cubicBezTo>
                    <a:pt x="441" y="99"/>
                    <a:pt x="431" y="85"/>
                    <a:pt x="366" y="83"/>
                  </a:cubicBezTo>
                  <a:cubicBezTo>
                    <a:pt x="349" y="82"/>
                    <a:pt x="315" y="57"/>
                    <a:pt x="315" y="57"/>
                  </a:cubicBezTo>
                  <a:cubicBezTo>
                    <a:pt x="315" y="57"/>
                    <a:pt x="292" y="56"/>
                    <a:pt x="284" y="47"/>
                  </a:cubicBezTo>
                  <a:cubicBezTo>
                    <a:pt x="277" y="37"/>
                    <a:pt x="265" y="0"/>
                    <a:pt x="265" y="0"/>
                  </a:cubicBezTo>
                  <a:close/>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7" name="Freeform 41">
              <a:extLst>
                <a:ext uri="{FF2B5EF4-FFF2-40B4-BE49-F238E27FC236}">
                  <a16:creationId xmlns:a16="http://schemas.microsoft.com/office/drawing/2014/main" id="{52D011E5-F1DD-4867-9A5F-0DFE27F7B9F4}"/>
                </a:ext>
              </a:extLst>
            </p:cNvPr>
            <p:cNvSpPr>
              <a:spLocks/>
            </p:cNvSpPr>
            <p:nvPr/>
          </p:nvSpPr>
          <p:spPr bwMode="auto">
            <a:xfrm>
              <a:off x="7593635" y="4083741"/>
              <a:ext cx="1436153" cy="597553"/>
            </a:xfrm>
            <a:custGeom>
              <a:avLst/>
              <a:gdLst>
                <a:gd name="T0" fmla="*/ 0 w 298"/>
                <a:gd name="T1" fmla="*/ 38 h 106"/>
                <a:gd name="T2" fmla="*/ 116 w 298"/>
                <a:gd name="T3" fmla="*/ 0 h 106"/>
                <a:gd name="T4" fmla="*/ 128 w 298"/>
                <a:gd name="T5" fmla="*/ 71 h 106"/>
                <a:gd name="T6" fmla="*/ 167 w 298"/>
                <a:gd name="T7" fmla="*/ 92 h 106"/>
                <a:gd name="T8" fmla="*/ 168 w 298"/>
                <a:gd name="T9" fmla="*/ 104 h 106"/>
                <a:gd name="T10" fmla="*/ 190 w 298"/>
                <a:gd name="T11" fmla="*/ 100 h 106"/>
                <a:gd name="T12" fmla="*/ 163 w 298"/>
                <a:gd name="T13" fmla="*/ 45 h 106"/>
                <a:gd name="T14" fmla="*/ 226 w 298"/>
                <a:gd name="T15" fmla="*/ 81 h 106"/>
                <a:gd name="T16" fmla="*/ 298 w 298"/>
                <a:gd name="T17" fmla="*/ 94 h 106"/>
                <a:gd name="connsiteX0" fmla="*/ 0 w 10774"/>
                <a:gd name="connsiteY0" fmla="*/ 3358 h 10122"/>
                <a:gd name="connsiteX1" fmla="*/ 4667 w 10774"/>
                <a:gd name="connsiteY1" fmla="*/ 281 h 10122"/>
                <a:gd name="connsiteX2" fmla="*/ 5069 w 10774"/>
                <a:gd name="connsiteY2" fmla="*/ 6979 h 10122"/>
                <a:gd name="connsiteX3" fmla="*/ 6378 w 10774"/>
                <a:gd name="connsiteY3" fmla="*/ 8960 h 10122"/>
                <a:gd name="connsiteX4" fmla="*/ 6412 w 10774"/>
                <a:gd name="connsiteY4" fmla="*/ 10092 h 10122"/>
                <a:gd name="connsiteX5" fmla="*/ 7150 w 10774"/>
                <a:gd name="connsiteY5" fmla="*/ 9715 h 10122"/>
                <a:gd name="connsiteX6" fmla="*/ 6244 w 10774"/>
                <a:gd name="connsiteY6" fmla="*/ 4526 h 10122"/>
                <a:gd name="connsiteX7" fmla="*/ 8358 w 10774"/>
                <a:gd name="connsiteY7" fmla="*/ 7923 h 10122"/>
                <a:gd name="connsiteX8" fmla="*/ 10774 w 10774"/>
                <a:gd name="connsiteY8" fmla="*/ 9149 h 10122"/>
                <a:gd name="connsiteX0" fmla="*/ 0 w 10774"/>
                <a:gd name="connsiteY0" fmla="*/ 5801 h 12565"/>
                <a:gd name="connsiteX1" fmla="*/ 4347 w 10774"/>
                <a:gd name="connsiteY1" fmla="*/ 83 h 12565"/>
                <a:gd name="connsiteX2" fmla="*/ 5069 w 10774"/>
                <a:gd name="connsiteY2" fmla="*/ 9422 h 12565"/>
                <a:gd name="connsiteX3" fmla="*/ 6378 w 10774"/>
                <a:gd name="connsiteY3" fmla="*/ 11403 h 12565"/>
                <a:gd name="connsiteX4" fmla="*/ 6412 w 10774"/>
                <a:gd name="connsiteY4" fmla="*/ 12535 h 12565"/>
                <a:gd name="connsiteX5" fmla="*/ 7150 w 10774"/>
                <a:gd name="connsiteY5" fmla="*/ 12158 h 12565"/>
                <a:gd name="connsiteX6" fmla="*/ 6244 w 10774"/>
                <a:gd name="connsiteY6" fmla="*/ 6969 h 12565"/>
                <a:gd name="connsiteX7" fmla="*/ 8358 w 10774"/>
                <a:gd name="connsiteY7" fmla="*/ 10366 h 12565"/>
                <a:gd name="connsiteX8" fmla="*/ 10774 w 10774"/>
                <a:gd name="connsiteY8" fmla="*/ 11592 h 12565"/>
                <a:gd name="connsiteX0" fmla="*/ 0 w 10774"/>
                <a:gd name="connsiteY0" fmla="*/ 5889 h 12653"/>
                <a:gd name="connsiteX1" fmla="*/ 4347 w 10774"/>
                <a:gd name="connsiteY1" fmla="*/ 171 h 12653"/>
                <a:gd name="connsiteX2" fmla="*/ 5069 w 10774"/>
                <a:gd name="connsiteY2" fmla="*/ 9510 h 12653"/>
                <a:gd name="connsiteX3" fmla="*/ 6378 w 10774"/>
                <a:gd name="connsiteY3" fmla="*/ 11491 h 12653"/>
                <a:gd name="connsiteX4" fmla="*/ 6412 w 10774"/>
                <a:gd name="connsiteY4" fmla="*/ 12623 h 12653"/>
                <a:gd name="connsiteX5" fmla="*/ 7150 w 10774"/>
                <a:gd name="connsiteY5" fmla="*/ 12246 h 12653"/>
                <a:gd name="connsiteX6" fmla="*/ 6244 w 10774"/>
                <a:gd name="connsiteY6" fmla="*/ 7057 h 12653"/>
                <a:gd name="connsiteX7" fmla="*/ 8358 w 10774"/>
                <a:gd name="connsiteY7" fmla="*/ 10454 h 12653"/>
                <a:gd name="connsiteX8" fmla="*/ 10774 w 10774"/>
                <a:gd name="connsiteY8" fmla="*/ 11680 h 12653"/>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6244 w 10774"/>
                <a:gd name="connsiteY6" fmla="*/ 7057 h 12745"/>
                <a:gd name="connsiteX7" fmla="*/ 8358 w 10774"/>
                <a:gd name="connsiteY7" fmla="*/ 10454 h 12745"/>
                <a:gd name="connsiteX8" fmla="*/ 10774 w 10774"/>
                <a:gd name="connsiteY8" fmla="*/ 11680 h 12745"/>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5912 w 10774"/>
                <a:gd name="connsiteY6" fmla="*/ 5736 h 12745"/>
                <a:gd name="connsiteX7" fmla="*/ 8358 w 10774"/>
                <a:gd name="connsiteY7" fmla="*/ 10454 h 12745"/>
                <a:gd name="connsiteX8" fmla="*/ 10774 w 10774"/>
                <a:gd name="connsiteY8" fmla="*/ 11680 h 1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74" h="12745">
                  <a:moveTo>
                    <a:pt x="0" y="5889"/>
                  </a:moveTo>
                  <a:cubicBezTo>
                    <a:pt x="3893" y="2304"/>
                    <a:pt x="4141" y="-771"/>
                    <a:pt x="4347" y="171"/>
                  </a:cubicBezTo>
                  <a:cubicBezTo>
                    <a:pt x="4553" y="1113"/>
                    <a:pt x="4365" y="6397"/>
                    <a:pt x="5069" y="9510"/>
                  </a:cubicBezTo>
                  <a:cubicBezTo>
                    <a:pt x="5740" y="12529"/>
                    <a:pt x="5848" y="12115"/>
                    <a:pt x="6083" y="10983"/>
                  </a:cubicBezTo>
                  <a:cubicBezTo>
                    <a:pt x="6094" y="11360"/>
                    <a:pt x="6234" y="12413"/>
                    <a:pt x="6412" y="12623"/>
                  </a:cubicBezTo>
                  <a:cubicBezTo>
                    <a:pt x="6590" y="12834"/>
                    <a:pt x="7116" y="12812"/>
                    <a:pt x="7150" y="12246"/>
                  </a:cubicBezTo>
                  <a:cubicBezTo>
                    <a:pt x="7150" y="11680"/>
                    <a:pt x="6516" y="6963"/>
                    <a:pt x="5912" y="5736"/>
                  </a:cubicBezTo>
                  <a:lnTo>
                    <a:pt x="8358" y="10454"/>
                  </a:lnTo>
                  <a:lnTo>
                    <a:pt x="10774" y="11680"/>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8" name="Line 42">
              <a:extLst>
                <a:ext uri="{FF2B5EF4-FFF2-40B4-BE49-F238E27FC236}">
                  <a16:creationId xmlns:a16="http://schemas.microsoft.com/office/drawing/2014/main" id="{3BE4CEB7-9445-4B00-950A-54295C4A6F61}"/>
                </a:ext>
              </a:extLst>
            </p:cNvPr>
            <p:cNvSpPr>
              <a:spLocks noChangeShapeType="1"/>
            </p:cNvSpPr>
            <p:nvPr/>
          </p:nvSpPr>
          <p:spPr bwMode="auto">
            <a:xfrm>
              <a:off x="8496770" y="4591875"/>
              <a:ext cx="19450" cy="76040"/>
            </a:xfrm>
            <a:custGeom>
              <a:avLst/>
              <a:gdLst>
                <a:gd name="connsiteX0" fmla="*/ 0 w 10000"/>
                <a:gd name="connsiteY0" fmla="*/ 0 h 10000"/>
                <a:gd name="connsiteX1" fmla="*/ 10000 w 10000"/>
                <a:gd name="connsiteY1" fmla="*/ 10000 h 10000"/>
                <a:gd name="connsiteX0" fmla="*/ 96542 w 96622"/>
                <a:gd name="connsiteY0" fmla="*/ 0 h 9141"/>
                <a:gd name="connsiteX1" fmla="*/ 79 w 96622"/>
                <a:gd name="connsiteY1" fmla="*/ 9141 h 9141"/>
              </a:gdLst>
              <a:ahLst/>
              <a:cxnLst>
                <a:cxn ang="0">
                  <a:pos x="connsiteX0" y="connsiteY0"/>
                </a:cxn>
                <a:cxn ang="0">
                  <a:pos x="connsiteX1" y="connsiteY1"/>
                </a:cxn>
              </a:cxnLst>
              <a:rect l="l" t="t" r="r" b="b"/>
              <a:pathLst>
                <a:path w="96622" h="9141">
                  <a:moveTo>
                    <a:pt x="96542" y="0"/>
                  </a:moveTo>
                  <a:cubicBezTo>
                    <a:pt x="99875" y="3333"/>
                    <a:pt x="-3254" y="5808"/>
                    <a:pt x="79" y="9141"/>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9" name="Freeform 43">
              <a:extLst>
                <a:ext uri="{FF2B5EF4-FFF2-40B4-BE49-F238E27FC236}">
                  <a16:creationId xmlns:a16="http://schemas.microsoft.com/office/drawing/2014/main" id="{61293B73-3C14-472C-B7D3-6ED2AB770953}"/>
                </a:ext>
              </a:extLst>
            </p:cNvPr>
            <p:cNvSpPr>
              <a:spLocks/>
            </p:cNvSpPr>
            <p:nvPr/>
          </p:nvSpPr>
          <p:spPr bwMode="auto">
            <a:xfrm>
              <a:off x="8201087" y="4149944"/>
              <a:ext cx="256406" cy="247555"/>
            </a:xfrm>
            <a:custGeom>
              <a:avLst/>
              <a:gdLst>
                <a:gd name="T0" fmla="*/ 48 w 49"/>
                <a:gd name="T1" fmla="*/ 60 h 67"/>
                <a:gd name="T2" fmla="*/ 41 w 49"/>
                <a:gd name="T3" fmla="*/ 62 h 67"/>
                <a:gd name="T4" fmla="*/ 39 w 49"/>
                <a:gd name="T5" fmla="*/ 65 h 67"/>
                <a:gd name="T6" fmla="*/ 32 w 49"/>
                <a:gd name="T7" fmla="*/ 67 h 67"/>
                <a:gd name="T8" fmla="*/ 21 w 49"/>
                <a:gd name="T9" fmla="*/ 66 h 67"/>
                <a:gd name="T10" fmla="*/ 13 w 49"/>
                <a:gd name="T11" fmla="*/ 60 h 67"/>
                <a:gd name="T12" fmla="*/ 9 w 49"/>
                <a:gd name="T13" fmla="*/ 50 h 67"/>
                <a:gd name="T14" fmla="*/ 6 w 49"/>
                <a:gd name="T15" fmla="*/ 46 h 67"/>
                <a:gd name="T16" fmla="*/ 5 w 49"/>
                <a:gd name="T17" fmla="*/ 39 h 67"/>
                <a:gd name="T18" fmla="*/ 4 w 49"/>
                <a:gd name="T19" fmla="*/ 31 h 67"/>
                <a:gd name="T20" fmla="*/ 3 w 49"/>
                <a:gd name="T21" fmla="*/ 26 h 67"/>
                <a:gd name="T22" fmla="*/ 1 w 49"/>
                <a:gd name="T23" fmla="*/ 25 h 67"/>
                <a:gd name="T24" fmla="*/ 0 w 49"/>
                <a:gd name="T25" fmla="*/ 22 h 67"/>
                <a:gd name="T26" fmla="*/ 0 w 49"/>
                <a:gd name="T27" fmla="*/ 13 h 67"/>
                <a:gd name="T28" fmla="*/ 4 w 49"/>
                <a:gd name="T29" fmla="*/ 5 h 67"/>
                <a:gd name="T30" fmla="*/ 9 w 49"/>
                <a:gd name="T31" fmla="*/ 3 h 67"/>
                <a:gd name="T32" fmla="*/ 22 w 49"/>
                <a:gd name="T33" fmla="*/ 2 h 67"/>
                <a:gd name="T34" fmla="*/ 30 w 49"/>
                <a:gd name="T35" fmla="*/ 1 h 67"/>
                <a:gd name="T36" fmla="*/ 37 w 49"/>
                <a:gd name="T37" fmla="*/ 2 h 67"/>
                <a:gd name="T38" fmla="*/ 43 w 49"/>
                <a:gd name="T39" fmla="*/ 1 h 67"/>
                <a:gd name="T40" fmla="*/ 47 w 49"/>
                <a:gd name="T41" fmla="*/ 2 h 67"/>
                <a:gd name="T42" fmla="*/ 47 w 49"/>
                <a:gd name="T43" fmla="*/ 7 h 67"/>
                <a:gd name="T44" fmla="*/ 47 w 49"/>
                <a:gd name="T45" fmla="*/ 20 h 67"/>
                <a:gd name="T46" fmla="*/ 46 w 49"/>
                <a:gd name="T47" fmla="*/ 34 h 67"/>
                <a:gd name="T48" fmla="*/ 48 w 49"/>
                <a:gd name="T49" fmla="*/ 59 h 67"/>
                <a:gd name="T50" fmla="*/ 48 w 49"/>
                <a:gd name="T51"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67">
                  <a:moveTo>
                    <a:pt x="48" y="60"/>
                  </a:moveTo>
                  <a:cubicBezTo>
                    <a:pt x="45" y="60"/>
                    <a:pt x="43" y="60"/>
                    <a:pt x="41" y="62"/>
                  </a:cubicBezTo>
                  <a:cubicBezTo>
                    <a:pt x="40" y="63"/>
                    <a:pt x="40" y="64"/>
                    <a:pt x="39" y="65"/>
                  </a:cubicBezTo>
                  <a:cubicBezTo>
                    <a:pt x="37" y="67"/>
                    <a:pt x="35" y="67"/>
                    <a:pt x="32" y="67"/>
                  </a:cubicBezTo>
                  <a:cubicBezTo>
                    <a:pt x="28" y="67"/>
                    <a:pt x="25" y="67"/>
                    <a:pt x="21" y="66"/>
                  </a:cubicBezTo>
                  <a:cubicBezTo>
                    <a:pt x="18" y="65"/>
                    <a:pt x="15" y="63"/>
                    <a:pt x="13" y="60"/>
                  </a:cubicBezTo>
                  <a:cubicBezTo>
                    <a:pt x="11" y="57"/>
                    <a:pt x="11" y="53"/>
                    <a:pt x="9" y="50"/>
                  </a:cubicBezTo>
                  <a:cubicBezTo>
                    <a:pt x="8" y="49"/>
                    <a:pt x="7" y="48"/>
                    <a:pt x="6" y="46"/>
                  </a:cubicBezTo>
                  <a:cubicBezTo>
                    <a:pt x="5" y="44"/>
                    <a:pt x="5" y="42"/>
                    <a:pt x="5" y="39"/>
                  </a:cubicBezTo>
                  <a:cubicBezTo>
                    <a:pt x="5" y="37"/>
                    <a:pt x="4" y="34"/>
                    <a:pt x="4" y="31"/>
                  </a:cubicBezTo>
                  <a:cubicBezTo>
                    <a:pt x="4" y="29"/>
                    <a:pt x="4" y="28"/>
                    <a:pt x="3" y="26"/>
                  </a:cubicBezTo>
                  <a:cubicBezTo>
                    <a:pt x="2" y="26"/>
                    <a:pt x="1" y="25"/>
                    <a:pt x="1" y="25"/>
                  </a:cubicBezTo>
                  <a:cubicBezTo>
                    <a:pt x="0" y="24"/>
                    <a:pt x="0" y="23"/>
                    <a:pt x="0" y="22"/>
                  </a:cubicBezTo>
                  <a:cubicBezTo>
                    <a:pt x="0" y="19"/>
                    <a:pt x="0" y="16"/>
                    <a:pt x="0" y="13"/>
                  </a:cubicBezTo>
                  <a:cubicBezTo>
                    <a:pt x="0" y="10"/>
                    <a:pt x="2" y="7"/>
                    <a:pt x="4" y="5"/>
                  </a:cubicBezTo>
                  <a:cubicBezTo>
                    <a:pt x="5" y="4"/>
                    <a:pt x="7" y="4"/>
                    <a:pt x="9" y="3"/>
                  </a:cubicBezTo>
                  <a:cubicBezTo>
                    <a:pt x="14" y="3"/>
                    <a:pt x="18" y="2"/>
                    <a:pt x="22" y="2"/>
                  </a:cubicBezTo>
                  <a:cubicBezTo>
                    <a:pt x="25" y="1"/>
                    <a:pt x="27" y="1"/>
                    <a:pt x="30" y="1"/>
                  </a:cubicBezTo>
                  <a:cubicBezTo>
                    <a:pt x="32" y="2"/>
                    <a:pt x="35" y="3"/>
                    <a:pt x="37" y="2"/>
                  </a:cubicBezTo>
                  <a:cubicBezTo>
                    <a:pt x="39" y="2"/>
                    <a:pt x="41" y="1"/>
                    <a:pt x="43" y="1"/>
                  </a:cubicBezTo>
                  <a:cubicBezTo>
                    <a:pt x="44" y="0"/>
                    <a:pt x="47" y="0"/>
                    <a:pt x="47" y="2"/>
                  </a:cubicBezTo>
                  <a:cubicBezTo>
                    <a:pt x="48" y="3"/>
                    <a:pt x="48" y="5"/>
                    <a:pt x="47" y="7"/>
                  </a:cubicBezTo>
                  <a:cubicBezTo>
                    <a:pt x="46" y="11"/>
                    <a:pt x="48" y="16"/>
                    <a:pt x="47" y="20"/>
                  </a:cubicBezTo>
                  <a:cubicBezTo>
                    <a:pt x="47" y="25"/>
                    <a:pt x="46" y="29"/>
                    <a:pt x="46" y="34"/>
                  </a:cubicBezTo>
                  <a:cubicBezTo>
                    <a:pt x="46" y="42"/>
                    <a:pt x="49" y="51"/>
                    <a:pt x="48" y="59"/>
                  </a:cubicBezTo>
                  <a:cubicBezTo>
                    <a:pt x="48" y="60"/>
                    <a:pt x="48" y="60"/>
                    <a:pt x="48" y="60"/>
                  </a:cubicBezTo>
                  <a:close/>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0" name="Freeform 44">
              <a:extLst>
                <a:ext uri="{FF2B5EF4-FFF2-40B4-BE49-F238E27FC236}">
                  <a16:creationId xmlns:a16="http://schemas.microsoft.com/office/drawing/2014/main" id="{3C830498-7E01-41A5-BB49-DFAB68D54934}"/>
                </a:ext>
              </a:extLst>
            </p:cNvPr>
            <p:cNvSpPr>
              <a:spLocks/>
            </p:cNvSpPr>
            <p:nvPr/>
          </p:nvSpPr>
          <p:spPr bwMode="auto">
            <a:xfrm>
              <a:off x="8232168" y="4140557"/>
              <a:ext cx="176391" cy="208313"/>
            </a:xfrm>
            <a:custGeom>
              <a:avLst/>
              <a:gdLst>
                <a:gd name="T0" fmla="*/ 0 w 45"/>
                <a:gd name="T1" fmla="*/ 0 h 46"/>
                <a:gd name="T2" fmla="*/ 10 w 45"/>
                <a:gd name="T3" fmla="*/ 10 h 46"/>
                <a:gd name="T4" fmla="*/ 17 w 45"/>
                <a:gd name="T5" fmla="*/ 15 h 46"/>
                <a:gd name="T6" fmla="*/ 23 w 45"/>
                <a:gd name="T7" fmla="*/ 19 h 46"/>
                <a:gd name="T8" fmla="*/ 27 w 45"/>
                <a:gd name="T9" fmla="*/ 24 h 46"/>
                <a:gd name="T10" fmla="*/ 28 w 45"/>
                <a:gd name="T11" fmla="*/ 29 h 46"/>
                <a:gd name="T12" fmla="*/ 45 w 45"/>
                <a:gd name="T13" fmla="*/ 46 h 46"/>
                <a:gd name="connsiteX0" fmla="*/ 0 w 7680"/>
                <a:gd name="connsiteY0" fmla="*/ 0 h 7414"/>
                <a:gd name="connsiteX1" fmla="*/ 2222 w 7680"/>
                <a:gd name="connsiteY1" fmla="*/ 2174 h 7414"/>
                <a:gd name="connsiteX2" fmla="*/ 3778 w 7680"/>
                <a:gd name="connsiteY2" fmla="*/ 3261 h 7414"/>
                <a:gd name="connsiteX3" fmla="*/ 5111 w 7680"/>
                <a:gd name="connsiteY3" fmla="*/ 4130 h 7414"/>
                <a:gd name="connsiteX4" fmla="*/ 6000 w 7680"/>
                <a:gd name="connsiteY4" fmla="*/ 5217 h 7414"/>
                <a:gd name="connsiteX5" fmla="*/ 6222 w 7680"/>
                <a:gd name="connsiteY5" fmla="*/ 6304 h 7414"/>
                <a:gd name="connsiteX6" fmla="*/ 7680 w 7680"/>
                <a:gd name="connsiteY6" fmla="*/ 7414 h 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80" h="7414">
                  <a:moveTo>
                    <a:pt x="0" y="0"/>
                  </a:moveTo>
                  <a:cubicBezTo>
                    <a:pt x="667" y="652"/>
                    <a:pt x="1556" y="1304"/>
                    <a:pt x="2222" y="2174"/>
                  </a:cubicBezTo>
                  <a:cubicBezTo>
                    <a:pt x="2667" y="2609"/>
                    <a:pt x="3111" y="3043"/>
                    <a:pt x="3778" y="3261"/>
                  </a:cubicBezTo>
                  <a:cubicBezTo>
                    <a:pt x="4222" y="3478"/>
                    <a:pt x="4667" y="3696"/>
                    <a:pt x="5111" y="4130"/>
                  </a:cubicBezTo>
                  <a:cubicBezTo>
                    <a:pt x="5556" y="4348"/>
                    <a:pt x="6000" y="4783"/>
                    <a:pt x="6000" y="5217"/>
                  </a:cubicBezTo>
                  <a:cubicBezTo>
                    <a:pt x="6222" y="5652"/>
                    <a:pt x="6000" y="5870"/>
                    <a:pt x="6222" y="6304"/>
                  </a:cubicBezTo>
                  <a:cubicBezTo>
                    <a:pt x="6444" y="7826"/>
                    <a:pt x="7458" y="5892"/>
                    <a:pt x="7680" y="7414"/>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1" name="Freeform 45">
              <a:extLst>
                <a:ext uri="{FF2B5EF4-FFF2-40B4-BE49-F238E27FC236}">
                  <a16:creationId xmlns:a16="http://schemas.microsoft.com/office/drawing/2014/main" id="{95E528F1-49CF-44AD-AEB8-65DAFDB4A49D}"/>
                </a:ext>
              </a:extLst>
            </p:cNvPr>
            <p:cNvSpPr>
              <a:spLocks/>
            </p:cNvSpPr>
            <p:nvPr/>
          </p:nvSpPr>
          <p:spPr bwMode="auto">
            <a:xfrm>
              <a:off x="8200263" y="4088541"/>
              <a:ext cx="167791" cy="287606"/>
            </a:xfrm>
            <a:custGeom>
              <a:avLst/>
              <a:gdLst>
                <a:gd name="T0" fmla="*/ 0 w 35"/>
                <a:gd name="T1" fmla="*/ 0 h 29"/>
                <a:gd name="T2" fmla="*/ 12 w 35"/>
                <a:gd name="T3" fmla="*/ 12 h 29"/>
                <a:gd name="T4" fmla="*/ 18 w 35"/>
                <a:gd name="T5" fmla="*/ 18 h 29"/>
                <a:gd name="T6" fmla="*/ 23 w 35"/>
                <a:gd name="T7" fmla="*/ 24 h 29"/>
                <a:gd name="T8" fmla="*/ 35 w 35"/>
                <a:gd name="T9" fmla="*/ 29 h 29"/>
              </a:gdLst>
              <a:ahLst/>
              <a:cxnLst>
                <a:cxn ang="0">
                  <a:pos x="T0" y="T1"/>
                </a:cxn>
                <a:cxn ang="0">
                  <a:pos x="T2" y="T3"/>
                </a:cxn>
                <a:cxn ang="0">
                  <a:pos x="T4" y="T5"/>
                </a:cxn>
                <a:cxn ang="0">
                  <a:pos x="T6" y="T7"/>
                </a:cxn>
                <a:cxn ang="0">
                  <a:pos x="T8" y="T9"/>
                </a:cxn>
              </a:cxnLst>
              <a:rect l="0" t="0" r="r" b="b"/>
              <a:pathLst>
                <a:path w="35" h="29">
                  <a:moveTo>
                    <a:pt x="0" y="0"/>
                  </a:moveTo>
                  <a:cubicBezTo>
                    <a:pt x="4" y="4"/>
                    <a:pt x="8" y="8"/>
                    <a:pt x="12" y="12"/>
                  </a:cubicBezTo>
                  <a:cubicBezTo>
                    <a:pt x="14" y="14"/>
                    <a:pt x="16" y="16"/>
                    <a:pt x="18" y="18"/>
                  </a:cubicBezTo>
                  <a:cubicBezTo>
                    <a:pt x="20" y="20"/>
                    <a:pt x="21" y="22"/>
                    <a:pt x="23" y="24"/>
                  </a:cubicBezTo>
                  <a:cubicBezTo>
                    <a:pt x="26" y="27"/>
                    <a:pt x="31" y="28"/>
                    <a:pt x="35" y="29"/>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2" name="Freeform 46">
              <a:extLst>
                <a:ext uri="{FF2B5EF4-FFF2-40B4-BE49-F238E27FC236}">
                  <a16:creationId xmlns:a16="http://schemas.microsoft.com/office/drawing/2014/main" id="{EDBC704D-36E0-4C7C-809F-23C881B21714}"/>
                </a:ext>
              </a:extLst>
            </p:cNvPr>
            <p:cNvSpPr>
              <a:spLocks/>
            </p:cNvSpPr>
            <p:nvPr/>
          </p:nvSpPr>
          <p:spPr bwMode="auto">
            <a:xfrm>
              <a:off x="8319480" y="4166823"/>
              <a:ext cx="117772" cy="146282"/>
            </a:xfrm>
            <a:custGeom>
              <a:avLst/>
              <a:gdLst>
                <a:gd name="T0" fmla="*/ 16 w 27"/>
                <a:gd name="T1" fmla="*/ 32 h 33"/>
                <a:gd name="T2" fmla="*/ 15 w 27"/>
                <a:gd name="T3" fmla="*/ 33 h 33"/>
                <a:gd name="T4" fmla="*/ 27 w 27"/>
                <a:gd name="T5" fmla="*/ 20 h 33"/>
                <a:gd name="T6" fmla="*/ 9 w 27"/>
                <a:gd name="T7" fmla="*/ 8 h 33"/>
                <a:gd name="T8" fmla="*/ 4 w 27"/>
                <a:gd name="T9" fmla="*/ 5 h 33"/>
                <a:gd name="T10" fmla="*/ 0 w 27"/>
                <a:gd name="T11" fmla="*/ 0 h 33"/>
              </a:gdLst>
              <a:ahLst/>
              <a:cxnLst>
                <a:cxn ang="0">
                  <a:pos x="T0" y="T1"/>
                </a:cxn>
                <a:cxn ang="0">
                  <a:pos x="T2" y="T3"/>
                </a:cxn>
                <a:cxn ang="0">
                  <a:pos x="T4" y="T5"/>
                </a:cxn>
                <a:cxn ang="0">
                  <a:pos x="T6" y="T7"/>
                </a:cxn>
                <a:cxn ang="0">
                  <a:pos x="T8" y="T9"/>
                </a:cxn>
                <a:cxn ang="0">
                  <a:pos x="T10" y="T11"/>
                </a:cxn>
              </a:cxnLst>
              <a:rect l="0" t="0" r="r" b="b"/>
              <a:pathLst>
                <a:path w="27" h="33">
                  <a:moveTo>
                    <a:pt x="16" y="32"/>
                  </a:moveTo>
                  <a:cubicBezTo>
                    <a:pt x="16" y="32"/>
                    <a:pt x="15" y="32"/>
                    <a:pt x="15" y="33"/>
                  </a:cubicBezTo>
                  <a:cubicBezTo>
                    <a:pt x="20" y="29"/>
                    <a:pt x="24" y="25"/>
                    <a:pt x="27" y="20"/>
                  </a:cubicBezTo>
                  <a:cubicBezTo>
                    <a:pt x="22" y="15"/>
                    <a:pt x="16" y="11"/>
                    <a:pt x="9" y="8"/>
                  </a:cubicBezTo>
                  <a:cubicBezTo>
                    <a:pt x="7" y="7"/>
                    <a:pt x="5" y="6"/>
                    <a:pt x="4" y="5"/>
                  </a:cubicBezTo>
                  <a:cubicBezTo>
                    <a:pt x="2" y="4"/>
                    <a:pt x="0" y="2"/>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3" name="Freeform 47">
              <a:extLst>
                <a:ext uri="{FF2B5EF4-FFF2-40B4-BE49-F238E27FC236}">
                  <a16:creationId xmlns:a16="http://schemas.microsoft.com/office/drawing/2014/main" id="{75B0BE57-FF60-4E07-B34B-C84DDB551D20}"/>
                </a:ext>
              </a:extLst>
            </p:cNvPr>
            <p:cNvSpPr>
              <a:spLocks/>
            </p:cNvSpPr>
            <p:nvPr/>
          </p:nvSpPr>
          <p:spPr bwMode="auto">
            <a:xfrm>
              <a:off x="8201808" y="4107724"/>
              <a:ext cx="99473" cy="282245"/>
            </a:xfrm>
            <a:custGeom>
              <a:avLst/>
              <a:gdLst>
                <a:gd name="T0" fmla="*/ 10 w 10"/>
                <a:gd name="T1" fmla="*/ 23 h 23"/>
                <a:gd name="T2" fmla="*/ 9 w 10"/>
                <a:gd name="T3" fmla="*/ 20 h 23"/>
                <a:gd name="T4" fmla="*/ 6 w 10"/>
                <a:gd name="T5" fmla="*/ 16 h 23"/>
                <a:gd name="T6" fmla="*/ 4 w 10"/>
                <a:gd name="T7" fmla="*/ 11 h 23"/>
                <a:gd name="T8" fmla="*/ 4 w 10"/>
                <a:gd name="T9" fmla="*/ 9 h 23"/>
                <a:gd name="T10" fmla="*/ 0 w 10"/>
                <a:gd name="T11" fmla="*/ 0 h 23"/>
                <a:gd name="connsiteX0" fmla="*/ 23503 w 23503"/>
                <a:gd name="connsiteY0" fmla="*/ 27870 h 27870"/>
                <a:gd name="connsiteX1" fmla="*/ 22503 w 23503"/>
                <a:gd name="connsiteY1" fmla="*/ 26566 h 27870"/>
                <a:gd name="connsiteX2" fmla="*/ 19503 w 23503"/>
                <a:gd name="connsiteY2" fmla="*/ 24827 h 27870"/>
                <a:gd name="connsiteX3" fmla="*/ 17503 w 23503"/>
                <a:gd name="connsiteY3" fmla="*/ 22653 h 27870"/>
                <a:gd name="connsiteX4" fmla="*/ 17503 w 23503"/>
                <a:gd name="connsiteY4" fmla="*/ 21783 h 27870"/>
                <a:gd name="connsiteX5" fmla="*/ 0 w 23503"/>
                <a:gd name="connsiteY5" fmla="*/ 0 h 27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03" h="27870">
                  <a:moveTo>
                    <a:pt x="23503" y="27870"/>
                  </a:moveTo>
                  <a:cubicBezTo>
                    <a:pt x="23503" y="27435"/>
                    <a:pt x="22503" y="27000"/>
                    <a:pt x="22503" y="26566"/>
                  </a:cubicBezTo>
                  <a:cubicBezTo>
                    <a:pt x="21503" y="26131"/>
                    <a:pt x="20503" y="25261"/>
                    <a:pt x="19503" y="24827"/>
                  </a:cubicBezTo>
                  <a:cubicBezTo>
                    <a:pt x="18503" y="24392"/>
                    <a:pt x="17503" y="23522"/>
                    <a:pt x="17503" y="22653"/>
                  </a:cubicBezTo>
                  <a:lnTo>
                    <a:pt x="17503" y="21783"/>
                  </a:lnTo>
                  <a:cubicBezTo>
                    <a:pt x="16503" y="20044"/>
                    <a:pt x="0" y="1304"/>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4" name="Freeform 48">
              <a:extLst>
                <a:ext uri="{FF2B5EF4-FFF2-40B4-BE49-F238E27FC236}">
                  <a16:creationId xmlns:a16="http://schemas.microsoft.com/office/drawing/2014/main" id="{11B21F7D-43E7-42C6-B96C-841C5DE9C714}"/>
                </a:ext>
              </a:extLst>
            </p:cNvPr>
            <p:cNvSpPr>
              <a:spLocks/>
            </p:cNvSpPr>
            <p:nvPr/>
          </p:nvSpPr>
          <p:spPr bwMode="auto">
            <a:xfrm>
              <a:off x="8356791" y="4309049"/>
              <a:ext cx="55205" cy="67515"/>
            </a:xfrm>
            <a:custGeom>
              <a:avLst/>
              <a:gdLst>
                <a:gd name="T0" fmla="*/ 12 w 13"/>
                <a:gd name="T1" fmla="*/ 0 h 15"/>
                <a:gd name="T2" fmla="*/ 12 w 13"/>
                <a:gd name="T3" fmla="*/ 8 h 15"/>
                <a:gd name="T4" fmla="*/ 10 w 13"/>
                <a:gd name="T5" fmla="*/ 13 h 15"/>
                <a:gd name="T6" fmla="*/ 2 w 13"/>
                <a:gd name="T7" fmla="*/ 14 h 15"/>
                <a:gd name="T8" fmla="*/ 0 w 13"/>
                <a:gd name="T9" fmla="*/ 15 h 15"/>
              </a:gdLst>
              <a:ahLst/>
              <a:cxnLst>
                <a:cxn ang="0">
                  <a:pos x="T0" y="T1"/>
                </a:cxn>
                <a:cxn ang="0">
                  <a:pos x="T2" y="T3"/>
                </a:cxn>
                <a:cxn ang="0">
                  <a:pos x="T4" y="T5"/>
                </a:cxn>
                <a:cxn ang="0">
                  <a:pos x="T6" y="T7"/>
                </a:cxn>
                <a:cxn ang="0">
                  <a:pos x="T8" y="T9"/>
                </a:cxn>
              </a:cxnLst>
              <a:rect l="0" t="0" r="r" b="b"/>
              <a:pathLst>
                <a:path w="13" h="15">
                  <a:moveTo>
                    <a:pt x="12" y="0"/>
                  </a:moveTo>
                  <a:cubicBezTo>
                    <a:pt x="12" y="3"/>
                    <a:pt x="13" y="6"/>
                    <a:pt x="12" y="8"/>
                  </a:cubicBezTo>
                  <a:cubicBezTo>
                    <a:pt x="11" y="10"/>
                    <a:pt x="10" y="11"/>
                    <a:pt x="10" y="13"/>
                  </a:cubicBezTo>
                  <a:cubicBezTo>
                    <a:pt x="8" y="13"/>
                    <a:pt x="5" y="13"/>
                    <a:pt x="2" y="14"/>
                  </a:cubicBezTo>
                  <a:cubicBezTo>
                    <a:pt x="1" y="14"/>
                    <a:pt x="1" y="15"/>
                    <a:pt x="0" y="15"/>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5" name="Freeform 49">
              <a:extLst>
                <a:ext uri="{FF2B5EF4-FFF2-40B4-BE49-F238E27FC236}">
                  <a16:creationId xmlns:a16="http://schemas.microsoft.com/office/drawing/2014/main" id="{F727AD05-AF67-4E88-B49D-FADE934FBD76}"/>
                </a:ext>
              </a:extLst>
            </p:cNvPr>
            <p:cNvSpPr>
              <a:spLocks/>
            </p:cNvSpPr>
            <p:nvPr/>
          </p:nvSpPr>
          <p:spPr bwMode="auto">
            <a:xfrm>
              <a:off x="8232990" y="3853629"/>
              <a:ext cx="217141" cy="309442"/>
            </a:xfrm>
            <a:custGeom>
              <a:avLst/>
              <a:gdLst>
                <a:gd name="T0" fmla="*/ 8 w 50"/>
                <a:gd name="T1" fmla="*/ 70 h 70"/>
                <a:gd name="T2" fmla="*/ 5 w 50"/>
                <a:gd name="T3" fmla="*/ 67 h 70"/>
                <a:gd name="T4" fmla="*/ 5 w 50"/>
                <a:gd name="T5" fmla="*/ 63 h 70"/>
                <a:gd name="T6" fmla="*/ 2 w 50"/>
                <a:gd name="T7" fmla="*/ 58 h 70"/>
                <a:gd name="T8" fmla="*/ 3 w 50"/>
                <a:gd name="T9" fmla="*/ 43 h 70"/>
                <a:gd name="T10" fmla="*/ 4 w 50"/>
                <a:gd name="T11" fmla="*/ 39 h 70"/>
                <a:gd name="T12" fmla="*/ 6 w 50"/>
                <a:gd name="T13" fmla="*/ 37 h 70"/>
                <a:gd name="T14" fmla="*/ 14 w 50"/>
                <a:gd name="T15" fmla="*/ 24 h 70"/>
                <a:gd name="T16" fmla="*/ 14 w 50"/>
                <a:gd name="T17" fmla="*/ 22 h 70"/>
                <a:gd name="T18" fmla="*/ 20 w 50"/>
                <a:gd name="T19" fmla="*/ 15 h 70"/>
                <a:gd name="T20" fmla="*/ 16 w 50"/>
                <a:gd name="T21" fmla="*/ 11 h 70"/>
                <a:gd name="T22" fmla="*/ 18 w 50"/>
                <a:gd name="T23" fmla="*/ 6 h 70"/>
                <a:gd name="T24" fmla="*/ 20 w 50"/>
                <a:gd name="T25" fmla="*/ 3 h 70"/>
                <a:gd name="T26" fmla="*/ 29 w 50"/>
                <a:gd name="T27" fmla="*/ 1 h 70"/>
                <a:gd name="T28" fmla="*/ 33 w 50"/>
                <a:gd name="T29" fmla="*/ 2 h 70"/>
                <a:gd name="T30" fmla="*/ 34 w 50"/>
                <a:gd name="T31" fmla="*/ 5 h 70"/>
                <a:gd name="T32" fmla="*/ 34 w 50"/>
                <a:gd name="T33" fmla="*/ 7 h 70"/>
                <a:gd name="T34" fmla="*/ 35 w 50"/>
                <a:gd name="T35" fmla="*/ 9 h 70"/>
                <a:gd name="T36" fmla="*/ 41 w 50"/>
                <a:gd name="T37" fmla="*/ 20 h 70"/>
                <a:gd name="T38" fmla="*/ 44 w 50"/>
                <a:gd name="T39" fmla="*/ 38 h 70"/>
                <a:gd name="T40" fmla="*/ 37 w 50"/>
                <a:gd name="T41" fmla="*/ 50 h 70"/>
                <a:gd name="T42" fmla="*/ 42 w 50"/>
                <a:gd name="T43" fmla="*/ 60 h 70"/>
                <a:gd name="T44" fmla="*/ 50 w 50"/>
                <a:gd name="T45"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70">
                  <a:moveTo>
                    <a:pt x="8" y="70"/>
                  </a:moveTo>
                  <a:cubicBezTo>
                    <a:pt x="7" y="70"/>
                    <a:pt x="6" y="68"/>
                    <a:pt x="5" y="67"/>
                  </a:cubicBezTo>
                  <a:cubicBezTo>
                    <a:pt x="5" y="65"/>
                    <a:pt x="5" y="64"/>
                    <a:pt x="5" y="63"/>
                  </a:cubicBezTo>
                  <a:cubicBezTo>
                    <a:pt x="4" y="61"/>
                    <a:pt x="3" y="59"/>
                    <a:pt x="2" y="58"/>
                  </a:cubicBezTo>
                  <a:cubicBezTo>
                    <a:pt x="0" y="53"/>
                    <a:pt x="3" y="48"/>
                    <a:pt x="3" y="43"/>
                  </a:cubicBezTo>
                  <a:cubicBezTo>
                    <a:pt x="3" y="42"/>
                    <a:pt x="3" y="40"/>
                    <a:pt x="4" y="39"/>
                  </a:cubicBezTo>
                  <a:cubicBezTo>
                    <a:pt x="4" y="38"/>
                    <a:pt x="5" y="38"/>
                    <a:pt x="6" y="37"/>
                  </a:cubicBezTo>
                  <a:cubicBezTo>
                    <a:pt x="10" y="34"/>
                    <a:pt x="14" y="29"/>
                    <a:pt x="14" y="24"/>
                  </a:cubicBezTo>
                  <a:cubicBezTo>
                    <a:pt x="14" y="23"/>
                    <a:pt x="14" y="22"/>
                    <a:pt x="14" y="22"/>
                  </a:cubicBezTo>
                  <a:cubicBezTo>
                    <a:pt x="15" y="19"/>
                    <a:pt x="20" y="18"/>
                    <a:pt x="20" y="15"/>
                  </a:cubicBezTo>
                  <a:cubicBezTo>
                    <a:pt x="19" y="13"/>
                    <a:pt x="16" y="13"/>
                    <a:pt x="16" y="11"/>
                  </a:cubicBezTo>
                  <a:cubicBezTo>
                    <a:pt x="15" y="9"/>
                    <a:pt x="17" y="7"/>
                    <a:pt x="18" y="6"/>
                  </a:cubicBezTo>
                  <a:cubicBezTo>
                    <a:pt x="19" y="5"/>
                    <a:pt x="19" y="4"/>
                    <a:pt x="20" y="3"/>
                  </a:cubicBezTo>
                  <a:cubicBezTo>
                    <a:pt x="22" y="0"/>
                    <a:pt x="26" y="1"/>
                    <a:pt x="29" y="1"/>
                  </a:cubicBezTo>
                  <a:cubicBezTo>
                    <a:pt x="30" y="1"/>
                    <a:pt x="32" y="1"/>
                    <a:pt x="33" y="2"/>
                  </a:cubicBezTo>
                  <a:cubicBezTo>
                    <a:pt x="34" y="3"/>
                    <a:pt x="35" y="4"/>
                    <a:pt x="34" y="5"/>
                  </a:cubicBezTo>
                  <a:cubicBezTo>
                    <a:pt x="34" y="6"/>
                    <a:pt x="34" y="6"/>
                    <a:pt x="34" y="7"/>
                  </a:cubicBezTo>
                  <a:cubicBezTo>
                    <a:pt x="34" y="7"/>
                    <a:pt x="34" y="8"/>
                    <a:pt x="35" y="9"/>
                  </a:cubicBezTo>
                  <a:cubicBezTo>
                    <a:pt x="37" y="13"/>
                    <a:pt x="39" y="17"/>
                    <a:pt x="41" y="20"/>
                  </a:cubicBezTo>
                  <a:cubicBezTo>
                    <a:pt x="43" y="26"/>
                    <a:pt x="46" y="32"/>
                    <a:pt x="44" y="38"/>
                  </a:cubicBezTo>
                  <a:cubicBezTo>
                    <a:pt x="42" y="42"/>
                    <a:pt x="38" y="45"/>
                    <a:pt x="37" y="50"/>
                  </a:cubicBezTo>
                  <a:cubicBezTo>
                    <a:pt x="37" y="54"/>
                    <a:pt x="39" y="57"/>
                    <a:pt x="42" y="60"/>
                  </a:cubicBezTo>
                  <a:cubicBezTo>
                    <a:pt x="44" y="63"/>
                    <a:pt x="48" y="65"/>
                    <a:pt x="50" y="6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6" name="Freeform 50">
              <a:extLst>
                <a:ext uri="{FF2B5EF4-FFF2-40B4-BE49-F238E27FC236}">
                  <a16:creationId xmlns:a16="http://schemas.microsoft.com/office/drawing/2014/main" id="{25A978E7-5D64-41C0-AC86-0FD9F1293157}"/>
                </a:ext>
              </a:extLst>
            </p:cNvPr>
            <p:cNvSpPr>
              <a:spLocks/>
            </p:cNvSpPr>
            <p:nvPr/>
          </p:nvSpPr>
          <p:spPr bwMode="auto">
            <a:xfrm>
              <a:off x="8328681" y="3883637"/>
              <a:ext cx="55205" cy="270059"/>
            </a:xfrm>
            <a:custGeom>
              <a:avLst/>
              <a:gdLst>
                <a:gd name="T0" fmla="*/ 13 w 13"/>
                <a:gd name="T1" fmla="*/ 0 h 61"/>
                <a:gd name="T2" fmla="*/ 0 w 13"/>
                <a:gd name="T3" fmla="*/ 19 h 61"/>
                <a:gd name="T4" fmla="*/ 0 w 13"/>
                <a:gd name="T5" fmla="*/ 21 h 61"/>
                <a:gd name="T6" fmla="*/ 1 w 13"/>
                <a:gd name="T7" fmla="*/ 23 h 61"/>
                <a:gd name="T8" fmla="*/ 7 w 13"/>
                <a:gd name="T9" fmla="*/ 33 h 61"/>
                <a:gd name="T10" fmla="*/ 8 w 13"/>
                <a:gd name="T11" fmla="*/ 38 h 61"/>
                <a:gd name="T12" fmla="*/ 5 w 13"/>
                <a:gd name="T13" fmla="*/ 42 h 61"/>
                <a:gd name="T14" fmla="*/ 6 w 13"/>
                <a:gd name="T15" fmla="*/ 50 h 61"/>
                <a:gd name="T16" fmla="*/ 7 w 13"/>
                <a:gd name="T17" fmla="*/ 56 h 61"/>
                <a:gd name="T18" fmla="*/ 4 w 13"/>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61">
                  <a:moveTo>
                    <a:pt x="13" y="0"/>
                  </a:moveTo>
                  <a:cubicBezTo>
                    <a:pt x="10" y="5"/>
                    <a:pt x="3" y="13"/>
                    <a:pt x="0" y="19"/>
                  </a:cubicBezTo>
                  <a:cubicBezTo>
                    <a:pt x="0" y="19"/>
                    <a:pt x="0" y="20"/>
                    <a:pt x="0" y="21"/>
                  </a:cubicBezTo>
                  <a:cubicBezTo>
                    <a:pt x="0" y="22"/>
                    <a:pt x="1" y="22"/>
                    <a:pt x="1" y="23"/>
                  </a:cubicBezTo>
                  <a:cubicBezTo>
                    <a:pt x="4" y="26"/>
                    <a:pt x="6" y="29"/>
                    <a:pt x="7" y="33"/>
                  </a:cubicBezTo>
                  <a:cubicBezTo>
                    <a:pt x="8" y="35"/>
                    <a:pt x="9" y="37"/>
                    <a:pt x="8" y="38"/>
                  </a:cubicBezTo>
                  <a:cubicBezTo>
                    <a:pt x="7" y="40"/>
                    <a:pt x="6" y="40"/>
                    <a:pt x="5" y="42"/>
                  </a:cubicBezTo>
                  <a:cubicBezTo>
                    <a:pt x="3" y="44"/>
                    <a:pt x="5" y="47"/>
                    <a:pt x="6" y="50"/>
                  </a:cubicBezTo>
                  <a:cubicBezTo>
                    <a:pt x="7" y="52"/>
                    <a:pt x="7" y="54"/>
                    <a:pt x="7" y="56"/>
                  </a:cubicBezTo>
                  <a:cubicBezTo>
                    <a:pt x="7" y="58"/>
                    <a:pt x="6" y="61"/>
                    <a:pt x="4" y="6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7" name="Freeform 51">
              <a:extLst>
                <a:ext uri="{FF2B5EF4-FFF2-40B4-BE49-F238E27FC236}">
                  <a16:creationId xmlns:a16="http://schemas.microsoft.com/office/drawing/2014/main" id="{C2ACDD65-7790-458C-8DC6-EACB012AE0EF}"/>
                </a:ext>
              </a:extLst>
            </p:cNvPr>
            <p:cNvSpPr>
              <a:spLocks/>
            </p:cNvSpPr>
            <p:nvPr/>
          </p:nvSpPr>
          <p:spPr bwMode="auto">
            <a:xfrm>
              <a:off x="8363644" y="3941774"/>
              <a:ext cx="46004" cy="91895"/>
            </a:xfrm>
            <a:custGeom>
              <a:avLst/>
              <a:gdLst>
                <a:gd name="T0" fmla="*/ 11 w 11"/>
                <a:gd name="T1" fmla="*/ 0 h 21"/>
                <a:gd name="T2" fmla="*/ 10 w 11"/>
                <a:gd name="T3" fmla="*/ 5 h 21"/>
                <a:gd name="T4" fmla="*/ 8 w 11"/>
                <a:gd name="T5" fmla="*/ 11 h 21"/>
                <a:gd name="T6" fmla="*/ 5 w 11"/>
                <a:gd name="T7" fmla="*/ 15 h 21"/>
                <a:gd name="T8" fmla="*/ 3 w 11"/>
                <a:gd name="T9" fmla="*/ 17 h 21"/>
                <a:gd name="T10" fmla="*/ 0 w 11"/>
                <a:gd name="T11" fmla="*/ 21 h 21"/>
              </a:gdLst>
              <a:ahLst/>
              <a:cxnLst>
                <a:cxn ang="0">
                  <a:pos x="T0" y="T1"/>
                </a:cxn>
                <a:cxn ang="0">
                  <a:pos x="T2" y="T3"/>
                </a:cxn>
                <a:cxn ang="0">
                  <a:pos x="T4" y="T5"/>
                </a:cxn>
                <a:cxn ang="0">
                  <a:pos x="T6" y="T7"/>
                </a:cxn>
                <a:cxn ang="0">
                  <a:pos x="T8" y="T9"/>
                </a:cxn>
                <a:cxn ang="0">
                  <a:pos x="T10" y="T11"/>
                </a:cxn>
              </a:cxnLst>
              <a:rect l="0" t="0" r="r" b="b"/>
              <a:pathLst>
                <a:path w="11" h="21">
                  <a:moveTo>
                    <a:pt x="11" y="0"/>
                  </a:moveTo>
                  <a:cubicBezTo>
                    <a:pt x="11" y="1"/>
                    <a:pt x="10" y="4"/>
                    <a:pt x="10" y="5"/>
                  </a:cubicBezTo>
                  <a:cubicBezTo>
                    <a:pt x="9" y="7"/>
                    <a:pt x="8" y="9"/>
                    <a:pt x="8" y="11"/>
                  </a:cubicBezTo>
                  <a:cubicBezTo>
                    <a:pt x="7" y="12"/>
                    <a:pt x="7" y="14"/>
                    <a:pt x="5" y="15"/>
                  </a:cubicBezTo>
                  <a:cubicBezTo>
                    <a:pt x="5" y="16"/>
                    <a:pt x="3" y="16"/>
                    <a:pt x="3" y="17"/>
                  </a:cubicBezTo>
                  <a:cubicBezTo>
                    <a:pt x="2" y="18"/>
                    <a:pt x="0" y="20"/>
                    <a:pt x="0" y="2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8" name="Freeform 52">
              <a:extLst>
                <a:ext uri="{FF2B5EF4-FFF2-40B4-BE49-F238E27FC236}">
                  <a16:creationId xmlns:a16="http://schemas.microsoft.com/office/drawing/2014/main" id="{9A5DBC44-CEF7-4C54-9F11-04B9B84CE378}"/>
                </a:ext>
              </a:extLst>
            </p:cNvPr>
            <p:cNvSpPr>
              <a:spLocks/>
            </p:cNvSpPr>
            <p:nvPr/>
          </p:nvSpPr>
          <p:spPr bwMode="auto">
            <a:xfrm>
              <a:off x="8345241" y="4052424"/>
              <a:ext cx="60726" cy="22505"/>
            </a:xfrm>
            <a:custGeom>
              <a:avLst/>
              <a:gdLst>
                <a:gd name="T0" fmla="*/ 0 w 14"/>
                <a:gd name="T1" fmla="*/ 5 h 5"/>
                <a:gd name="T2" fmla="*/ 7 w 14"/>
                <a:gd name="T3" fmla="*/ 2 h 5"/>
                <a:gd name="T4" fmla="*/ 14 w 14"/>
                <a:gd name="T5" fmla="*/ 0 h 5"/>
              </a:gdLst>
              <a:ahLst/>
              <a:cxnLst>
                <a:cxn ang="0">
                  <a:pos x="T0" y="T1"/>
                </a:cxn>
                <a:cxn ang="0">
                  <a:pos x="T2" y="T3"/>
                </a:cxn>
                <a:cxn ang="0">
                  <a:pos x="T4" y="T5"/>
                </a:cxn>
              </a:cxnLst>
              <a:rect l="0" t="0" r="r" b="b"/>
              <a:pathLst>
                <a:path w="14" h="5">
                  <a:moveTo>
                    <a:pt x="0" y="5"/>
                  </a:moveTo>
                  <a:cubicBezTo>
                    <a:pt x="2" y="4"/>
                    <a:pt x="5" y="2"/>
                    <a:pt x="7" y="2"/>
                  </a:cubicBezTo>
                  <a:cubicBezTo>
                    <a:pt x="9" y="2"/>
                    <a:pt x="13" y="2"/>
                    <a:pt x="14"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9" name="Freeform 53">
              <a:extLst>
                <a:ext uri="{FF2B5EF4-FFF2-40B4-BE49-F238E27FC236}">
                  <a16:creationId xmlns:a16="http://schemas.microsoft.com/office/drawing/2014/main" id="{3DFC562D-6965-45E9-AF30-FEC962A46B78}"/>
                </a:ext>
              </a:extLst>
            </p:cNvPr>
            <p:cNvSpPr>
              <a:spLocks/>
            </p:cNvSpPr>
            <p:nvPr/>
          </p:nvSpPr>
          <p:spPr bwMode="auto">
            <a:xfrm>
              <a:off x="8389486" y="3458657"/>
              <a:ext cx="2022190" cy="1349554"/>
            </a:xfrm>
            <a:custGeom>
              <a:avLst/>
              <a:gdLst>
                <a:gd name="T0" fmla="*/ 0 w 462"/>
                <a:gd name="T1" fmla="*/ 183 h 273"/>
                <a:gd name="T2" fmla="*/ 123 w 462"/>
                <a:gd name="T3" fmla="*/ 219 h 273"/>
                <a:gd name="T4" fmla="*/ 155 w 462"/>
                <a:gd name="T5" fmla="*/ 258 h 273"/>
                <a:gd name="T6" fmla="*/ 181 w 462"/>
                <a:gd name="T7" fmla="*/ 273 h 273"/>
                <a:gd name="T8" fmla="*/ 269 w 462"/>
                <a:gd name="T9" fmla="*/ 147 h 273"/>
                <a:gd name="T10" fmla="*/ 308 w 462"/>
                <a:gd name="T11" fmla="*/ 123 h 273"/>
                <a:gd name="T12" fmla="*/ 325 w 462"/>
                <a:gd name="T13" fmla="*/ 122 h 273"/>
                <a:gd name="T14" fmla="*/ 396 w 462"/>
                <a:gd name="T15" fmla="*/ 90 h 273"/>
                <a:gd name="T16" fmla="*/ 448 w 462"/>
                <a:gd name="T17" fmla="*/ 51 h 273"/>
                <a:gd name="T18" fmla="*/ 462 w 462"/>
                <a:gd name="T19" fmla="*/ 46 h 273"/>
                <a:gd name="T20" fmla="*/ 448 w 462"/>
                <a:gd name="T21" fmla="*/ 3 h 273"/>
                <a:gd name="T22" fmla="*/ 384 w 462"/>
                <a:gd name="T23" fmla="*/ 48 h 273"/>
                <a:gd name="T24" fmla="*/ 377 w 462"/>
                <a:gd name="T25" fmla="*/ 47 h 273"/>
                <a:gd name="T26" fmla="*/ 366 w 462"/>
                <a:gd name="T27" fmla="*/ 35 h 273"/>
                <a:gd name="T28" fmla="*/ 368 w 462"/>
                <a:gd name="T29" fmla="*/ 0 h 273"/>
                <a:gd name="T30" fmla="*/ 350 w 462"/>
                <a:gd name="T31" fmla="*/ 35 h 273"/>
                <a:gd name="T32" fmla="*/ 297 w 462"/>
                <a:gd name="T33" fmla="*/ 102 h 273"/>
                <a:gd name="T34" fmla="*/ 287 w 462"/>
                <a:gd name="T35" fmla="*/ 109 h 273"/>
                <a:gd name="T36" fmla="*/ 262 w 462"/>
                <a:gd name="T37" fmla="*/ 118 h 273"/>
                <a:gd name="T38" fmla="*/ 257 w 462"/>
                <a:gd name="T39" fmla="*/ 114 h 273"/>
                <a:gd name="T40" fmla="*/ 263 w 462"/>
                <a:gd name="T41" fmla="*/ 121 h 273"/>
                <a:gd name="T42" fmla="*/ 266 w 462"/>
                <a:gd name="T43" fmla="*/ 131 h 273"/>
                <a:gd name="T44" fmla="*/ 274 w 462"/>
                <a:gd name="T45" fmla="*/ 140 h 273"/>
                <a:gd name="T46" fmla="*/ 271 w 462"/>
                <a:gd name="T47" fmla="*/ 145 h 273"/>
                <a:gd name="T48" fmla="*/ 281 w 462"/>
                <a:gd name="T49" fmla="*/ 156 h 273"/>
                <a:gd name="T50" fmla="*/ 307 w 462"/>
                <a:gd name="T51" fmla="*/ 136 h 273"/>
                <a:gd name="T52" fmla="*/ 323 w 462"/>
                <a:gd name="T53" fmla="*/ 138 h 273"/>
                <a:gd name="T54" fmla="*/ 350 w 462"/>
                <a:gd name="T55" fmla="*/ 125 h 273"/>
                <a:gd name="T56" fmla="*/ 402 w 462"/>
                <a:gd name="T57" fmla="*/ 103 h 273"/>
                <a:gd name="T58" fmla="*/ 422 w 462"/>
                <a:gd name="T59" fmla="*/ 91 h 273"/>
                <a:gd name="T60" fmla="*/ 443 w 462"/>
                <a:gd name="T61" fmla="*/ 86 h 273"/>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897 w 10321"/>
                <a:gd name="connsiteY15" fmla="*/ 1834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7544 w 10321"/>
                <a:gd name="connsiteY16" fmla="*/ 1932 h 10552"/>
                <a:gd name="connsiteX17" fmla="*/ 6750 w 10321"/>
                <a:gd name="connsiteY17" fmla="*/ 4288 h 10552"/>
                <a:gd name="connsiteX18" fmla="*/ 6533 w 10321"/>
                <a:gd name="connsiteY18" fmla="*/ 4545 h 10552"/>
                <a:gd name="connsiteX19" fmla="*/ 5992 w 10321"/>
                <a:gd name="connsiteY19" fmla="*/ 4874 h 10552"/>
                <a:gd name="connsiteX20" fmla="*/ 5884 w 10321"/>
                <a:gd name="connsiteY20" fmla="*/ 4728 h 10552"/>
                <a:gd name="connsiteX21" fmla="*/ 6014 w 10321"/>
                <a:gd name="connsiteY21" fmla="*/ 4984 h 10552"/>
                <a:gd name="connsiteX22" fmla="*/ 6079 w 10321"/>
                <a:gd name="connsiteY22" fmla="*/ 5351 h 10552"/>
                <a:gd name="connsiteX23" fmla="*/ 6252 w 10321"/>
                <a:gd name="connsiteY23" fmla="*/ 5680 h 10552"/>
                <a:gd name="connsiteX24" fmla="*/ 6187 w 10321"/>
                <a:gd name="connsiteY24" fmla="*/ 5863 h 10552"/>
                <a:gd name="connsiteX25" fmla="*/ 6403 w 10321"/>
                <a:gd name="connsiteY25" fmla="*/ 6266 h 10552"/>
                <a:gd name="connsiteX26" fmla="*/ 6966 w 10321"/>
                <a:gd name="connsiteY26" fmla="*/ 5534 h 10552"/>
                <a:gd name="connsiteX27" fmla="*/ 7312 w 10321"/>
                <a:gd name="connsiteY27" fmla="*/ 5607 h 10552"/>
                <a:gd name="connsiteX28" fmla="*/ 7897 w 10321"/>
                <a:gd name="connsiteY28" fmla="*/ 5131 h 10552"/>
                <a:gd name="connsiteX29" fmla="*/ 9022 w 10321"/>
                <a:gd name="connsiteY29" fmla="*/ 4325 h 10552"/>
                <a:gd name="connsiteX30" fmla="*/ 9455 w 10321"/>
                <a:gd name="connsiteY30" fmla="*/ 3885 h 10552"/>
                <a:gd name="connsiteX31" fmla="*/ 9910 w 10321"/>
                <a:gd name="connsiteY31" fmla="*/ 3702 h 10552"/>
                <a:gd name="connsiteX0" fmla="*/ 0 w 10139"/>
                <a:gd name="connsiteY0" fmla="*/ 6742 h 10552"/>
                <a:gd name="connsiteX1" fmla="*/ 2983 w 10139"/>
                <a:gd name="connsiteY1" fmla="*/ 8574 h 10552"/>
                <a:gd name="connsiteX2" fmla="*/ 3676 w 10139"/>
                <a:gd name="connsiteY2" fmla="*/ 10003 h 10552"/>
                <a:gd name="connsiteX3" fmla="*/ 4239 w 10139"/>
                <a:gd name="connsiteY3" fmla="*/ 10552 h 10552"/>
                <a:gd name="connsiteX4" fmla="*/ 6144 w 10139"/>
                <a:gd name="connsiteY4" fmla="*/ 5937 h 10552"/>
                <a:gd name="connsiteX5" fmla="*/ 6988 w 10139"/>
                <a:gd name="connsiteY5" fmla="*/ 5057 h 10552"/>
                <a:gd name="connsiteX6" fmla="*/ 7356 w 10139"/>
                <a:gd name="connsiteY6" fmla="*/ 5021 h 10552"/>
                <a:gd name="connsiteX7" fmla="*/ 8892 w 10139"/>
                <a:gd name="connsiteY7" fmla="*/ 3849 h 10552"/>
                <a:gd name="connsiteX8" fmla="*/ 10018 w 10139"/>
                <a:gd name="connsiteY8" fmla="*/ 2420 h 10552"/>
                <a:gd name="connsiteX9" fmla="*/ 10083 w 10139"/>
                <a:gd name="connsiteY9" fmla="*/ 1803 h 10552"/>
                <a:gd name="connsiteX10" fmla="*/ 10018 w 10139"/>
                <a:gd name="connsiteY10" fmla="*/ 662 h 10552"/>
                <a:gd name="connsiteX11" fmla="*/ 8633 w 10139"/>
                <a:gd name="connsiteY11" fmla="*/ 2310 h 10552"/>
                <a:gd name="connsiteX12" fmla="*/ 8481 w 10139"/>
                <a:gd name="connsiteY12" fmla="*/ 2274 h 10552"/>
                <a:gd name="connsiteX13" fmla="*/ 8243 w 10139"/>
                <a:gd name="connsiteY13" fmla="*/ 1834 h 10552"/>
                <a:gd name="connsiteX14" fmla="*/ 7716 w 10139"/>
                <a:gd name="connsiteY14" fmla="*/ 0 h 10552"/>
                <a:gd name="connsiteX15" fmla="*/ 7695 w 10139"/>
                <a:gd name="connsiteY15" fmla="*/ 1755 h 10552"/>
                <a:gd name="connsiteX16" fmla="*/ 7544 w 10139"/>
                <a:gd name="connsiteY16" fmla="*/ 1932 h 10552"/>
                <a:gd name="connsiteX17" fmla="*/ 6750 w 10139"/>
                <a:gd name="connsiteY17" fmla="*/ 4288 h 10552"/>
                <a:gd name="connsiteX18" fmla="*/ 6533 w 10139"/>
                <a:gd name="connsiteY18" fmla="*/ 4545 h 10552"/>
                <a:gd name="connsiteX19" fmla="*/ 5992 w 10139"/>
                <a:gd name="connsiteY19" fmla="*/ 4874 h 10552"/>
                <a:gd name="connsiteX20" fmla="*/ 5884 w 10139"/>
                <a:gd name="connsiteY20" fmla="*/ 4728 h 10552"/>
                <a:gd name="connsiteX21" fmla="*/ 6014 w 10139"/>
                <a:gd name="connsiteY21" fmla="*/ 4984 h 10552"/>
                <a:gd name="connsiteX22" fmla="*/ 6079 w 10139"/>
                <a:gd name="connsiteY22" fmla="*/ 5351 h 10552"/>
                <a:gd name="connsiteX23" fmla="*/ 6252 w 10139"/>
                <a:gd name="connsiteY23" fmla="*/ 5680 h 10552"/>
                <a:gd name="connsiteX24" fmla="*/ 6187 w 10139"/>
                <a:gd name="connsiteY24" fmla="*/ 5863 h 10552"/>
                <a:gd name="connsiteX25" fmla="*/ 6403 w 10139"/>
                <a:gd name="connsiteY25" fmla="*/ 6266 h 10552"/>
                <a:gd name="connsiteX26" fmla="*/ 6966 w 10139"/>
                <a:gd name="connsiteY26" fmla="*/ 5534 h 10552"/>
                <a:gd name="connsiteX27" fmla="*/ 7312 w 10139"/>
                <a:gd name="connsiteY27" fmla="*/ 5607 h 10552"/>
                <a:gd name="connsiteX28" fmla="*/ 7897 w 10139"/>
                <a:gd name="connsiteY28" fmla="*/ 5131 h 10552"/>
                <a:gd name="connsiteX29" fmla="*/ 9022 w 10139"/>
                <a:gd name="connsiteY29" fmla="*/ 4325 h 10552"/>
                <a:gd name="connsiteX30" fmla="*/ 9455 w 10139"/>
                <a:gd name="connsiteY30" fmla="*/ 3885 h 10552"/>
                <a:gd name="connsiteX31" fmla="*/ 9910 w 10139"/>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892 w 10156"/>
                <a:gd name="connsiteY7" fmla="*/ 3849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372 w 10156"/>
                <a:gd name="connsiteY30" fmla="*/ 3747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8963 w 10156"/>
                <a:gd name="connsiteY29" fmla="*/ 4167 h 10552"/>
                <a:gd name="connsiteX30" fmla="*/ 9372 w 10156"/>
                <a:gd name="connsiteY30" fmla="*/ 3747 h 10552"/>
                <a:gd name="connsiteX31" fmla="*/ 9528 w 10156"/>
                <a:gd name="connsiteY31" fmla="*/ 3608 h 10552"/>
                <a:gd name="connsiteX32" fmla="*/ 9910 w 10156"/>
                <a:gd name="connsiteY32" fmla="*/ 3702 h 10552"/>
                <a:gd name="connsiteX0" fmla="*/ 0 w 10091"/>
                <a:gd name="connsiteY0" fmla="*/ 7364 h 11174"/>
                <a:gd name="connsiteX1" fmla="*/ 2983 w 10091"/>
                <a:gd name="connsiteY1" fmla="*/ 9196 h 11174"/>
                <a:gd name="connsiteX2" fmla="*/ 3676 w 10091"/>
                <a:gd name="connsiteY2" fmla="*/ 10625 h 11174"/>
                <a:gd name="connsiteX3" fmla="*/ 4239 w 10091"/>
                <a:gd name="connsiteY3" fmla="*/ 11174 h 11174"/>
                <a:gd name="connsiteX4" fmla="*/ 6144 w 10091"/>
                <a:gd name="connsiteY4" fmla="*/ 6559 h 11174"/>
                <a:gd name="connsiteX5" fmla="*/ 6988 w 10091"/>
                <a:gd name="connsiteY5" fmla="*/ 5679 h 11174"/>
                <a:gd name="connsiteX6" fmla="*/ 7356 w 10091"/>
                <a:gd name="connsiteY6" fmla="*/ 5643 h 11174"/>
                <a:gd name="connsiteX7" fmla="*/ 8773 w 10091"/>
                <a:gd name="connsiteY7" fmla="*/ 4156 h 11174"/>
                <a:gd name="connsiteX8" fmla="*/ 9804 w 10091"/>
                <a:gd name="connsiteY8" fmla="*/ 2589 h 11174"/>
                <a:gd name="connsiteX9" fmla="*/ 10083 w 10091"/>
                <a:gd name="connsiteY9" fmla="*/ 2425 h 11174"/>
                <a:gd name="connsiteX10" fmla="*/ 9566 w 10091"/>
                <a:gd name="connsiteY10" fmla="*/ 2 h 11174"/>
                <a:gd name="connsiteX11" fmla="*/ 8633 w 10091"/>
                <a:gd name="connsiteY11" fmla="*/ 2932 h 11174"/>
                <a:gd name="connsiteX12" fmla="*/ 8481 w 10091"/>
                <a:gd name="connsiteY12" fmla="*/ 2896 h 11174"/>
                <a:gd name="connsiteX13" fmla="*/ 8243 w 10091"/>
                <a:gd name="connsiteY13" fmla="*/ 2456 h 11174"/>
                <a:gd name="connsiteX14" fmla="*/ 7716 w 10091"/>
                <a:gd name="connsiteY14" fmla="*/ 622 h 11174"/>
                <a:gd name="connsiteX15" fmla="*/ 7695 w 10091"/>
                <a:gd name="connsiteY15" fmla="*/ 2377 h 11174"/>
                <a:gd name="connsiteX16" fmla="*/ 7544 w 10091"/>
                <a:gd name="connsiteY16" fmla="*/ 2554 h 11174"/>
                <a:gd name="connsiteX17" fmla="*/ 6750 w 10091"/>
                <a:gd name="connsiteY17" fmla="*/ 4910 h 11174"/>
                <a:gd name="connsiteX18" fmla="*/ 6533 w 10091"/>
                <a:gd name="connsiteY18" fmla="*/ 5167 h 11174"/>
                <a:gd name="connsiteX19" fmla="*/ 5992 w 10091"/>
                <a:gd name="connsiteY19" fmla="*/ 5496 h 11174"/>
                <a:gd name="connsiteX20" fmla="*/ 5884 w 10091"/>
                <a:gd name="connsiteY20" fmla="*/ 5350 h 11174"/>
                <a:gd name="connsiteX21" fmla="*/ 6014 w 10091"/>
                <a:gd name="connsiteY21" fmla="*/ 5606 h 11174"/>
                <a:gd name="connsiteX22" fmla="*/ 6079 w 10091"/>
                <a:gd name="connsiteY22" fmla="*/ 5973 h 11174"/>
                <a:gd name="connsiteX23" fmla="*/ 6252 w 10091"/>
                <a:gd name="connsiteY23" fmla="*/ 6302 h 11174"/>
                <a:gd name="connsiteX24" fmla="*/ 6187 w 10091"/>
                <a:gd name="connsiteY24" fmla="*/ 6485 h 11174"/>
                <a:gd name="connsiteX25" fmla="*/ 6403 w 10091"/>
                <a:gd name="connsiteY25" fmla="*/ 6888 h 11174"/>
                <a:gd name="connsiteX26" fmla="*/ 6966 w 10091"/>
                <a:gd name="connsiteY26" fmla="*/ 6156 h 11174"/>
                <a:gd name="connsiteX27" fmla="*/ 7312 w 10091"/>
                <a:gd name="connsiteY27" fmla="*/ 6229 h 11174"/>
                <a:gd name="connsiteX28" fmla="*/ 7897 w 10091"/>
                <a:gd name="connsiteY28" fmla="*/ 5753 h 11174"/>
                <a:gd name="connsiteX29" fmla="*/ 8963 w 10091"/>
                <a:gd name="connsiteY29" fmla="*/ 4789 h 11174"/>
                <a:gd name="connsiteX30" fmla="*/ 9372 w 10091"/>
                <a:gd name="connsiteY30" fmla="*/ 4369 h 11174"/>
                <a:gd name="connsiteX31" fmla="*/ 9528 w 10091"/>
                <a:gd name="connsiteY31" fmla="*/ 4230 h 11174"/>
                <a:gd name="connsiteX32" fmla="*/ 9910 w 10091"/>
                <a:gd name="connsiteY32" fmla="*/ 4324 h 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91" h="11174">
                  <a:moveTo>
                    <a:pt x="0" y="7364"/>
                  </a:moveTo>
                  <a:cubicBezTo>
                    <a:pt x="2555" y="8762"/>
                    <a:pt x="2370" y="8653"/>
                    <a:pt x="2983" y="9196"/>
                  </a:cubicBezTo>
                  <a:cubicBezTo>
                    <a:pt x="3596" y="9740"/>
                    <a:pt x="3676" y="10625"/>
                    <a:pt x="3676" y="10625"/>
                  </a:cubicBezTo>
                  <a:lnTo>
                    <a:pt x="4239" y="11174"/>
                  </a:lnTo>
                  <a:cubicBezTo>
                    <a:pt x="4239" y="11174"/>
                    <a:pt x="5667" y="10698"/>
                    <a:pt x="6144" y="6559"/>
                  </a:cubicBezTo>
                  <a:lnTo>
                    <a:pt x="6988" y="5679"/>
                  </a:lnTo>
                  <a:cubicBezTo>
                    <a:pt x="7111" y="5667"/>
                    <a:pt x="7059" y="5897"/>
                    <a:pt x="7356" y="5643"/>
                  </a:cubicBezTo>
                  <a:cubicBezTo>
                    <a:pt x="7653" y="5389"/>
                    <a:pt x="8365" y="4665"/>
                    <a:pt x="8773" y="4156"/>
                  </a:cubicBezTo>
                  <a:cubicBezTo>
                    <a:pt x="9181" y="3647"/>
                    <a:pt x="9586" y="2877"/>
                    <a:pt x="9804" y="2589"/>
                  </a:cubicBezTo>
                  <a:cubicBezTo>
                    <a:pt x="10022" y="2301"/>
                    <a:pt x="10123" y="2856"/>
                    <a:pt x="10083" y="2425"/>
                  </a:cubicBezTo>
                  <a:cubicBezTo>
                    <a:pt x="10043" y="1994"/>
                    <a:pt x="9808" y="-82"/>
                    <a:pt x="9566" y="2"/>
                  </a:cubicBezTo>
                  <a:cubicBezTo>
                    <a:pt x="9324" y="86"/>
                    <a:pt x="8814" y="2450"/>
                    <a:pt x="8633" y="2932"/>
                  </a:cubicBezTo>
                  <a:cubicBezTo>
                    <a:pt x="8452" y="3414"/>
                    <a:pt x="8532" y="2908"/>
                    <a:pt x="8481" y="2896"/>
                  </a:cubicBezTo>
                  <a:cubicBezTo>
                    <a:pt x="8402" y="2749"/>
                    <a:pt x="8371" y="2835"/>
                    <a:pt x="8243" y="2456"/>
                  </a:cubicBezTo>
                  <a:cubicBezTo>
                    <a:pt x="8115" y="2077"/>
                    <a:pt x="7807" y="635"/>
                    <a:pt x="7716" y="622"/>
                  </a:cubicBezTo>
                  <a:cubicBezTo>
                    <a:pt x="7625" y="609"/>
                    <a:pt x="7724" y="2055"/>
                    <a:pt x="7695" y="2377"/>
                  </a:cubicBezTo>
                  <a:cubicBezTo>
                    <a:pt x="7666" y="2699"/>
                    <a:pt x="7702" y="2132"/>
                    <a:pt x="7544" y="2554"/>
                  </a:cubicBezTo>
                  <a:cubicBezTo>
                    <a:pt x="7387" y="2976"/>
                    <a:pt x="6918" y="4475"/>
                    <a:pt x="6750" y="4910"/>
                  </a:cubicBezTo>
                  <a:cubicBezTo>
                    <a:pt x="6582" y="5345"/>
                    <a:pt x="6605" y="5081"/>
                    <a:pt x="6533" y="5167"/>
                  </a:cubicBezTo>
                  <a:lnTo>
                    <a:pt x="5992" y="5496"/>
                  </a:lnTo>
                  <a:lnTo>
                    <a:pt x="5884" y="5350"/>
                  </a:lnTo>
                  <a:lnTo>
                    <a:pt x="6014" y="5606"/>
                  </a:lnTo>
                  <a:cubicBezTo>
                    <a:pt x="6036" y="5728"/>
                    <a:pt x="6057" y="5851"/>
                    <a:pt x="6079" y="5973"/>
                  </a:cubicBezTo>
                  <a:lnTo>
                    <a:pt x="6252" y="6302"/>
                  </a:lnTo>
                  <a:cubicBezTo>
                    <a:pt x="6230" y="6363"/>
                    <a:pt x="6209" y="6424"/>
                    <a:pt x="6187" y="6485"/>
                  </a:cubicBezTo>
                  <a:lnTo>
                    <a:pt x="6403" y="6888"/>
                  </a:lnTo>
                  <a:lnTo>
                    <a:pt x="6966" y="6156"/>
                  </a:lnTo>
                  <a:lnTo>
                    <a:pt x="7312" y="6229"/>
                  </a:lnTo>
                  <a:cubicBezTo>
                    <a:pt x="7312" y="6229"/>
                    <a:pt x="7637" y="6119"/>
                    <a:pt x="7897" y="5753"/>
                  </a:cubicBezTo>
                  <a:cubicBezTo>
                    <a:pt x="8156" y="5350"/>
                    <a:pt x="8162" y="4972"/>
                    <a:pt x="8963" y="4789"/>
                  </a:cubicBezTo>
                  <a:cubicBezTo>
                    <a:pt x="9288" y="4752"/>
                    <a:pt x="9372" y="4369"/>
                    <a:pt x="9372" y="4369"/>
                  </a:cubicBezTo>
                  <a:cubicBezTo>
                    <a:pt x="9408" y="4336"/>
                    <a:pt x="9492" y="4263"/>
                    <a:pt x="9528" y="4230"/>
                  </a:cubicBezTo>
                  <a:lnTo>
                    <a:pt x="9910" y="4324"/>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0" name="Freeform 54">
              <a:extLst>
                <a:ext uri="{FF2B5EF4-FFF2-40B4-BE49-F238E27FC236}">
                  <a16:creationId xmlns:a16="http://schemas.microsoft.com/office/drawing/2014/main" id="{3232243F-71BA-429C-B1AB-FE6BDCCACA5F}"/>
                </a:ext>
              </a:extLst>
            </p:cNvPr>
            <p:cNvSpPr>
              <a:spLocks/>
            </p:cNvSpPr>
            <p:nvPr/>
          </p:nvSpPr>
          <p:spPr bwMode="auto">
            <a:xfrm>
              <a:off x="9462618" y="3420216"/>
              <a:ext cx="1055874" cy="753235"/>
            </a:xfrm>
            <a:custGeom>
              <a:avLst/>
              <a:gdLst>
                <a:gd name="T0" fmla="*/ 190 w 212"/>
                <a:gd name="T1" fmla="*/ 15 h 135"/>
                <a:gd name="T2" fmla="*/ 201 w 212"/>
                <a:gd name="T3" fmla="*/ 17 h 135"/>
                <a:gd name="T4" fmla="*/ 208 w 212"/>
                <a:gd name="T5" fmla="*/ 24 h 135"/>
                <a:gd name="T6" fmla="*/ 212 w 212"/>
                <a:gd name="T7" fmla="*/ 28 h 135"/>
                <a:gd name="T8" fmla="*/ 212 w 212"/>
                <a:gd name="T9" fmla="*/ 31 h 135"/>
                <a:gd name="T10" fmla="*/ 210 w 212"/>
                <a:gd name="T11" fmla="*/ 42 h 135"/>
                <a:gd name="T12" fmla="*/ 175 w 212"/>
                <a:gd name="T13" fmla="*/ 33 h 135"/>
                <a:gd name="T14" fmla="*/ 166 w 212"/>
                <a:gd name="T15" fmla="*/ 28 h 135"/>
                <a:gd name="T16" fmla="*/ 156 w 212"/>
                <a:gd name="T17" fmla="*/ 20 h 135"/>
                <a:gd name="T18" fmla="*/ 155 w 212"/>
                <a:gd name="T19" fmla="*/ 19 h 135"/>
                <a:gd name="T20" fmla="*/ 157 w 212"/>
                <a:gd name="T21" fmla="*/ 14 h 135"/>
                <a:gd name="T22" fmla="*/ 171 w 212"/>
                <a:gd name="T23" fmla="*/ 9 h 135"/>
                <a:gd name="T24" fmla="*/ 174 w 212"/>
                <a:gd name="T25" fmla="*/ 6 h 135"/>
                <a:gd name="T26" fmla="*/ 176 w 212"/>
                <a:gd name="T27" fmla="*/ 8 h 135"/>
                <a:gd name="T28" fmla="*/ 183 w 212"/>
                <a:gd name="T29" fmla="*/ 14 h 135"/>
                <a:gd name="T30" fmla="*/ 185 w 212"/>
                <a:gd name="T31" fmla="*/ 3 h 135"/>
                <a:gd name="T32" fmla="*/ 196 w 212"/>
                <a:gd name="T33" fmla="*/ 3 h 135"/>
                <a:gd name="T34" fmla="*/ 198 w 212"/>
                <a:gd name="T35" fmla="*/ 5 h 135"/>
                <a:gd name="T36" fmla="*/ 197 w 212"/>
                <a:gd name="T37" fmla="*/ 11 h 135"/>
                <a:gd name="T38" fmla="*/ 188 w 212"/>
                <a:gd name="T39" fmla="*/ 16 h 135"/>
                <a:gd name="T40" fmla="*/ 181 w 212"/>
                <a:gd name="T41" fmla="*/ 14 h 135"/>
                <a:gd name="T42" fmla="*/ 179 w 212"/>
                <a:gd name="T43" fmla="*/ 15 h 135"/>
                <a:gd name="T44" fmla="*/ 137 w 212"/>
                <a:gd name="T45" fmla="*/ 64 h 135"/>
                <a:gd name="T46" fmla="*/ 106 w 212"/>
                <a:gd name="T47" fmla="*/ 85 h 135"/>
                <a:gd name="T48" fmla="*/ 102 w 212"/>
                <a:gd name="T49" fmla="*/ 90 h 135"/>
                <a:gd name="T50" fmla="*/ 98 w 212"/>
                <a:gd name="T51" fmla="*/ 93 h 135"/>
                <a:gd name="T52" fmla="*/ 58 w 212"/>
                <a:gd name="T53" fmla="*/ 100 h 135"/>
                <a:gd name="T54" fmla="*/ 50 w 212"/>
                <a:gd name="T55" fmla="*/ 103 h 135"/>
                <a:gd name="T56" fmla="*/ 51 w 212"/>
                <a:gd name="T57" fmla="*/ 108 h 135"/>
                <a:gd name="T58" fmla="*/ 48 w 212"/>
                <a:gd name="T59" fmla="*/ 126 h 135"/>
                <a:gd name="T60" fmla="*/ 30 w 212"/>
                <a:gd name="T61" fmla="*/ 134 h 135"/>
                <a:gd name="T62" fmla="*/ 10 w 212"/>
                <a:gd name="T63" fmla="*/ 133 h 135"/>
                <a:gd name="T64" fmla="*/ 0 w 212"/>
                <a:gd name="T65" fmla="*/ 130 h 135"/>
                <a:gd name="connsiteX0" fmla="*/ 10023 w 11061"/>
                <a:gd name="connsiteY0" fmla="*/ 1030 h 9875"/>
                <a:gd name="connsiteX1" fmla="*/ 10542 w 11061"/>
                <a:gd name="connsiteY1" fmla="*/ 1178 h 9875"/>
                <a:gd name="connsiteX2" fmla="*/ 10872 w 11061"/>
                <a:gd name="connsiteY2" fmla="*/ 1697 h 9875"/>
                <a:gd name="connsiteX3" fmla="*/ 11061 w 11061"/>
                <a:gd name="connsiteY3" fmla="*/ 1993 h 9875"/>
                <a:gd name="connsiteX4" fmla="*/ 11061 w 11061"/>
                <a:gd name="connsiteY4" fmla="*/ 2215 h 9875"/>
                <a:gd name="connsiteX5" fmla="*/ 10967 w 11061"/>
                <a:gd name="connsiteY5" fmla="*/ 3030 h 9875"/>
                <a:gd name="connsiteX6" fmla="*/ 9316 w 11061"/>
                <a:gd name="connsiteY6" fmla="*/ 2363 h 9875"/>
                <a:gd name="connsiteX7" fmla="*/ 8891 w 11061"/>
                <a:gd name="connsiteY7" fmla="*/ 1993 h 9875"/>
                <a:gd name="connsiteX8" fmla="*/ 8419 w 11061"/>
                <a:gd name="connsiteY8" fmla="*/ 1400 h 9875"/>
                <a:gd name="connsiteX9" fmla="*/ 8372 w 11061"/>
                <a:gd name="connsiteY9" fmla="*/ 1326 h 9875"/>
                <a:gd name="connsiteX10" fmla="*/ 8467 w 11061"/>
                <a:gd name="connsiteY10" fmla="*/ 956 h 9875"/>
                <a:gd name="connsiteX11" fmla="*/ 9127 w 11061"/>
                <a:gd name="connsiteY11" fmla="*/ 586 h 9875"/>
                <a:gd name="connsiteX12" fmla="*/ 9269 w 11061"/>
                <a:gd name="connsiteY12" fmla="*/ 363 h 9875"/>
                <a:gd name="connsiteX13" fmla="*/ 9363 w 11061"/>
                <a:gd name="connsiteY13" fmla="*/ 512 h 9875"/>
                <a:gd name="connsiteX14" fmla="*/ 9693 w 11061"/>
                <a:gd name="connsiteY14" fmla="*/ 956 h 9875"/>
                <a:gd name="connsiteX15" fmla="*/ 9787 w 11061"/>
                <a:gd name="connsiteY15" fmla="*/ 141 h 9875"/>
                <a:gd name="connsiteX16" fmla="*/ 10306 w 11061"/>
                <a:gd name="connsiteY16" fmla="*/ 141 h 9875"/>
                <a:gd name="connsiteX17" fmla="*/ 10401 w 11061"/>
                <a:gd name="connsiteY17" fmla="*/ 289 h 9875"/>
                <a:gd name="connsiteX18" fmla="*/ 10353 w 11061"/>
                <a:gd name="connsiteY18" fmla="*/ 734 h 9875"/>
                <a:gd name="connsiteX19" fmla="*/ 9929 w 11061"/>
                <a:gd name="connsiteY19" fmla="*/ 1104 h 9875"/>
                <a:gd name="connsiteX20" fmla="*/ 9599 w 11061"/>
                <a:gd name="connsiteY20" fmla="*/ 956 h 9875"/>
                <a:gd name="connsiteX21" fmla="*/ 9504 w 11061"/>
                <a:gd name="connsiteY21" fmla="*/ 1030 h 9875"/>
                <a:gd name="connsiteX22" fmla="*/ 7523 w 11061"/>
                <a:gd name="connsiteY22" fmla="*/ 4660 h 9875"/>
                <a:gd name="connsiteX23" fmla="*/ 6061 w 11061"/>
                <a:gd name="connsiteY23" fmla="*/ 6215 h 9875"/>
                <a:gd name="connsiteX24" fmla="*/ 5872 w 11061"/>
                <a:gd name="connsiteY24" fmla="*/ 6586 h 9875"/>
                <a:gd name="connsiteX25" fmla="*/ 5684 w 11061"/>
                <a:gd name="connsiteY25" fmla="*/ 6808 h 9875"/>
                <a:gd name="connsiteX26" fmla="*/ 3797 w 11061"/>
                <a:gd name="connsiteY26" fmla="*/ 7326 h 9875"/>
                <a:gd name="connsiteX27" fmla="*/ 3419 w 11061"/>
                <a:gd name="connsiteY27" fmla="*/ 7549 h 9875"/>
                <a:gd name="connsiteX28" fmla="*/ 3467 w 11061"/>
                <a:gd name="connsiteY28" fmla="*/ 7919 h 9875"/>
                <a:gd name="connsiteX29" fmla="*/ 3325 w 11061"/>
                <a:gd name="connsiteY29" fmla="*/ 9252 h 9875"/>
                <a:gd name="connsiteX30" fmla="*/ 2476 w 11061"/>
                <a:gd name="connsiteY30" fmla="*/ 9845 h 9875"/>
                <a:gd name="connsiteX31" fmla="*/ 1533 w 11061"/>
                <a:gd name="connsiteY31" fmla="*/ 9771 h 9875"/>
                <a:gd name="connsiteX32" fmla="*/ 0 w 11061"/>
                <a:gd name="connsiteY32" fmla="*/ 9349 h 9875"/>
                <a:gd name="connsiteX0" fmla="*/ 9507 w 10445"/>
                <a:gd name="connsiteY0" fmla="*/ 1043 h 10001"/>
                <a:gd name="connsiteX1" fmla="*/ 9976 w 10445"/>
                <a:gd name="connsiteY1" fmla="*/ 1193 h 10001"/>
                <a:gd name="connsiteX2" fmla="*/ 10274 w 10445"/>
                <a:gd name="connsiteY2" fmla="*/ 1718 h 10001"/>
                <a:gd name="connsiteX3" fmla="*/ 10445 w 10445"/>
                <a:gd name="connsiteY3" fmla="*/ 2018 h 10001"/>
                <a:gd name="connsiteX4" fmla="*/ 10445 w 10445"/>
                <a:gd name="connsiteY4" fmla="*/ 2243 h 10001"/>
                <a:gd name="connsiteX5" fmla="*/ 10360 w 10445"/>
                <a:gd name="connsiteY5" fmla="*/ 3068 h 10001"/>
                <a:gd name="connsiteX6" fmla="*/ 8867 w 10445"/>
                <a:gd name="connsiteY6" fmla="*/ 2393 h 10001"/>
                <a:gd name="connsiteX7" fmla="*/ 8483 w 10445"/>
                <a:gd name="connsiteY7" fmla="*/ 2018 h 10001"/>
                <a:gd name="connsiteX8" fmla="*/ 8056 w 10445"/>
                <a:gd name="connsiteY8" fmla="*/ 1418 h 10001"/>
                <a:gd name="connsiteX9" fmla="*/ 8014 w 10445"/>
                <a:gd name="connsiteY9" fmla="*/ 1343 h 10001"/>
                <a:gd name="connsiteX10" fmla="*/ 8100 w 10445"/>
                <a:gd name="connsiteY10" fmla="*/ 968 h 10001"/>
                <a:gd name="connsiteX11" fmla="*/ 8697 w 10445"/>
                <a:gd name="connsiteY11" fmla="*/ 593 h 10001"/>
                <a:gd name="connsiteX12" fmla="*/ 8825 w 10445"/>
                <a:gd name="connsiteY12" fmla="*/ 368 h 10001"/>
                <a:gd name="connsiteX13" fmla="*/ 8910 w 10445"/>
                <a:gd name="connsiteY13" fmla="*/ 518 h 10001"/>
                <a:gd name="connsiteX14" fmla="*/ 9208 w 10445"/>
                <a:gd name="connsiteY14" fmla="*/ 968 h 10001"/>
                <a:gd name="connsiteX15" fmla="*/ 9293 w 10445"/>
                <a:gd name="connsiteY15" fmla="*/ 143 h 10001"/>
                <a:gd name="connsiteX16" fmla="*/ 9762 w 10445"/>
                <a:gd name="connsiteY16" fmla="*/ 143 h 10001"/>
                <a:gd name="connsiteX17" fmla="*/ 9848 w 10445"/>
                <a:gd name="connsiteY17" fmla="*/ 293 h 10001"/>
                <a:gd name="connsiteX18" fmla="*/ 9805 w 10445"/>
                <a:gd name="connsiteY18" fmla="*/ 743 h 10001"/>
                <a:gd name="connsiteX19" fmla="*/ 9422 w 10445"/>
                <a:gd name="connsiteY19" fmla="*/ 1118 h 10001"/>
                <a:gd name="connsiteX20" fmla="*/ 9123 w 10445"/>
                <a:gd name="connsiteY20" fmla="*/ 968 h 10001"/>
                <a:gd name="connsiteX21" fmla="*/ 9037 w 10445"/>
                <a:gd name="connsiteY21" fmla="*/ 1043 h 10001"/>
                <a:gd name="connsiteX22" fmla="*/ 7246 w 10445"/>
                <a:gd name="connsiteY22" fmla="*/ 4719 h 10001"/>
                <a:gd name="connsiteX23" fmla="*/ 5925 w 10445"/>
                <a:gd name="connsiteY23" fmla="*/ 6294 h 10001"/>
                <a:gd name="connsiteX24" fmla="*/ 5754 w 10445"/>
                <a:gd name="connsiteY24" fmla="*/ 6669 h 10001"/>
                <a:gd name="connsiteX25" fmla="*/ 5584 w 10445"/>
                <a:gd name="connsiteY25" fmla="*/ 6894 h 10001"/>
                <a:gd name="connsiteX26" fmla="*/ 3878 w 10445"/>
                <a:gd name="connsiteY26" fmla="*/ 7419 h 10001"/>
                <a:gd name="connsiteX27" fmla="*/ 3536 w 10445"/>
                <a:gd name="connsiteY27" fmla="*/ 7645 h 10001"/>
                <a:gd name="connsiteX28" fmla="*/ 3579 w 10445"/>
                <a:gd name="connsiteY28" fmla="*/ 8019 h 10001"/>
                <a:gd name="connsiteX29" fmla="*/ 3451 w 10445"/>
                <a:gd name="connsiteY29" fmla="*/ 9369 h 10001"/>
                <a:gd name="connsiteX30" fmla="*/ 2683 w 10445"/>
                <a:gd name="connsiteY30" fmla="*/ 9970 h 10001"/>
                <a:gd name="connsiteX31" fmla="*/ 1831 w 10445"/>
                <a:gd name="connsiteY31" fmla="*/ 9895 h 10001"/>
                <a:gd name="connsiteX32" fmla="*/ 0 w 10445"/>
                <a:gd name="connsiteY32" fmla="*/ 8820 h 10001"/>
                <a:gd name="connsiteX0" fmla="*/ 9554 w 10492"/>
                <a:gd name="connsiteY0" fmla="*/ 1043 h 10001"/>
                <a:gd name="connsiteX1" fmla="*/ 10023 w 10492"/>
                <a:gd name="connsiteY1" fmla="*/ 1193 h 10001"/>
                <a:gd name="connsiteX2" fmla="*/ 10321 w 10492"/>
                <a:gd name="connsiteY2" fmla="*/ 1718 h 10001"/>
                <a:gd name="connsiteX3" fmla="*/ 10492 w 10492"/>
                <a:gd name="connsiteY3" fmla="*/ 2018 h 10001"/>
                <a:gd name="connsiteX4" fmla="*/ 10492 w 10492"/>
                <a:gd name="connsiteY4" fmla="*/ 2243 h 10001"/>
                <a:gd name="connsiteX5" fmla="*/ 10407 w 10492"/>
                <a:gd name="connsiteY5" fmla="*/ 3068 h 10001"/>
                <a:gd name="connsiteX6" fmla="*/ 8914 w 10492"/>
                <a:gd name="connsiteY6" fmla="*/ 2393 h 10001"/>
                <a:gd name="connsiteX7" fmla="*/ 8530 w 10492"/>
                <a:gd name="connsiteY7" fmla="*/ 2018 h 10001"/>
                <a:gd name="connsiteX8" fmla="*/ 8103 w 10492"/>
                <a:gd name="connsiteY8" fmla="*/ 1418 h 10001"/>
                <a:gd name="connsiteX9" fmla="*/ 8061 w 10492"/>
                <a:gd name="connsiteY9" fmla="*/ 1343 h 10001"/>
                <a:gd name="connsiteX10" fmla="*/ 8147 w 10492"/>
                <a:gd name="connsiteY10" fmla="*/ 968 h 10001"/>
                <a:gd name="connsiteX11" fmla="*/ 8744 w 10492"/>
                <a:gd name="connsiteY11" fmla="*/ 593 h 10001"/>
                <a:gd name="connsiteX12" fmla="*/ 8872 w 10492"/>
                <a:gd name="connsiteY12" fmla="*/ 368 h 10001"/>
                <a:gd name="connsiteX13" fmla="*/ 8957 w 10492"/>
                <a:gd name="connsiteY13" fmla="*/ 518 h 10001"/>
                <a:gd name="connsiteX14" fmla="*/ 9255 w 10492"/>
                <a:gd name="connsiteY14" fmla="*/ 968 h 10001"/>
                <a:gd name="connsiteX15" fmla="*/ 9340 w 10492"/>
                <a:gd name="connsiteY15" fmla="*/ 143 h 10001"/>
                <a:gd name="connsiteX16" fmla="*/ 9809 w 10492"/>
                <a:gd name="connsiteY16" fmla="*/ 143 h 10001"/>
                <a:gd name="connsiteX17" fmla="*/ 9895 w 10492"/>
                <a:gd name="connsiteY17" fmla="*/ 293 h 10001"/>
                <a:gd name="connsiteX18" fmla="*/ 9852 w 10492"/>
                <a:gd name="connsiteY18" fmla="*/ 743 h 10001"/>
                <a:gd name="connsiteX19" fmla="*/ 9469 w 10492"/>
                <a:gd name="connsiteY19" fmla="*/ 1118 h 10001"/>
                <a:gd name="connsiteX20" fmla="*/ 9170 w 10492"/>
                <a:gd name="connsiteY20" fmla="*/ 968 h 10001"/>
                <a:gd name="connsiteX21" fmla="*/ 9084 w 10492"/>
                <a:gd name="connsiteY21" fmla="*/ 1043 h 10001"/>
                <a:gd name="connsiteX22" fmla="*/ 7293 w 10492"/>
                <a:gd name="connsiteY22" fmla="*/ 4719 h 10001"/>
                <a:gd name="connsiteX23" fmla="*/ 5972 w 10492"/>
                <a:gd name="connsiteY23" fmla="*/ 6294 h 10001"/>
                <a:gd name="connsiteX24" fmla="*/ 5801 w 10492"/>
                <a:gd name="connsiteY24" fmla="*/ 6669 h 10001"/>
                <a:gd name="connsiteX25" fmla="*/ 5631 w 10492"/>
                <a:gd name="connsiteY25" fmla="*/ 6894 h 10001"/>
                <a:gd name="connsiteX26" fmla="*/ 3925 w 10492"/>
                <a:gd name="connsiteY26" fmla="*/ 7419 h 10001"/>
                <a:gd name="connsiteX27" fmla="*/ 3583 w 10492"/>
                <a:gd name="connsiteY27" fmla="*/ 7645 h 10001"/>
                <a:gd name="connsiteX28" fmla="*/ 3626 w 10492"/>
                <a:gd name="connsiteY28" fmla="*/ 8019 h 10001"/>
                <a:gd name="connsiteX29" fmla="*/ 3498 w 10492"/>
                <a:gd name="connsiteY29" fmla="*/ 9369 h 10001"/>
                <a:gd name="connsiteX30" fmla="*/ 2730 w 10492"/>
                <a:gd name="connsiteY30" fmla="*/ 9970 h 10001"/>
                <a:gd name="connsiteX31" fmla="*/ 1878 w 10492"/>
                <a:gd name="connsiteY31" fmla="*/ 9895 h 10001"/>
                <a:gd name="connsiteX32" fmla="*/ 0 w 10492"/>
                <a:gd name="connsiteY32" fmla="*/ 8173 h 10001"/>
                <a:gd name="connsiteX0" fmla="*/ 9648 w 10586"/>
                <a:gd name="connsiteY0" fmla="*/ 1043 h 10001"/>
                <a:gd name="connsiteX1" fmla="*/ 10117 w 10586"/>
                <a:gd name="connsiteY1" fmla="*/ 1193 h 10001"/>
                <a:gd name="connsiteX2" fmla="*/ 10415 w 10586"/>
                <a:gd name="connsiteY2" fmla="*/ 1718 h 10001"/>
                <a:gd name="connsiteX3" fmla="*/ 10586 w 10586"/>
                <a:gd name="connsiteY3" fmla="*/ 2018 h 10001"/>
                <a:gd name="connsiteX4" fmla="*/ 10586 w 10586"/>
                <a:gd name="connsiteY4" fmla="*/ 2243 h 10001"/>
                <a:gd name="connsiteX5" fmla="*/ 10501 w 10586"/>
                <a:gd name="connsiteY5" fmla="*/ 3068 h 10001"/>
                <a:gd name="connsiteX6" fmla="*/ 9008 w 10586"/>
                <a:gd name="connsiteY6" fmla="*/ 2393 h 10001"/>
                <a:gd name="connsiteX7" fmla="*/ 8624 w 10586"/>
                <a:gd name="connsiteY7" fmla="*/ 2018 h 10001"/>
                <a:gd name="connsiteX8" fmla="*/ 8197 w 10586"/>
                <a:gd name="connsiteY8" fmla="*/ 1418 h 10001"/>
                <a:gd name="connsiteX9" fmla="*/ 8155 w 10586"/>
                <a:gd name="connsiteY9" fmla="*/ 1343 h 10001"/>
                <a:gd name="connsiteX10" fmla="*/ 8241 w 10586"/>
                <a:gd name="connsiteY10" fmla="*/ 968 h 10001"/>
                <a:gd name="connsiteX11" fmla="*/ 8838 w 10586"/>
                <a:gd name="connsiteY11" fmla="*/ 593 h 10001"/>
                <a:gd name="connsiteX12" fmla="*/ 8966 w 10586"/>
                <a:gd name="connsiteY12" fmla="*/ 368 h 10001"/>
                <a:gd name="connsiteX13" fmla="*/ 9051 w 10586"/>
                <a:gd name="connsiteY13" fmla="*/ 518 h 10001"/>
                <a:gd name="connsiteX14" fmla="*/ 9349 w 10586"/>
                <a:gd name="connsiteY14" fmla="*/ 968 h 10001"/>
                <a:gd name="connsiteX15" fmla="*/ 9434 w 10586"/>
                <a:gd name="connsiteY15" fmla="*/ 143 h 10001"/>
                <a:gd name="connsiteX16" fmla="*/ 9903 w 10586"/>
                <a:gd name="connsiteY16" fmla="*/ 143 h 10001"/>
                <a:gd name="connsiteX17" fmla="*/ 9989 w 10586"/>
                <a:gd name="connsiteY17" fmla="*/ 293 h 10001"/>
                <a:gd name="connsiteX18" fmla="*/ 9946 w 10586"/>
                <a:gd name="connsiteY18" fmla="*/ 743 h 10001"/>
                <a:gd name="connsiteX19" fmla="*/ 9563 w 10586"/>
                <a:gd name="connsiteY19" fmla="*/ 1118 h 10001"/>
                <a:gd name="connsiteX20" fmla="*/ 9264 w 10586"/>
                <a:gd name="connsiteY20" fmla="*/ 968 h 10001"/>
                <a:gd name="connsiteX21" fmla="*/ 9178 w 10586"/>
                <a:gd name="connsiteY21" fmla="*/ 1043 h 10001"/>
                <a:gd name="connsiteX22" fmla="*/ 7387 w 10586"/>
                <a:gd name="connsiteY22" fmla="*/ 4719 h 10001"/>
                <a:gd name="connsiteX23" fmla="*/ 6066 w 10586"/>
                <a:gd name="connsiteY23" fmla="*/ 6294 h 10001"/>
                <a:gd name="connsiteX24" fmla="*/ 5895 w 10586"/>
                <a:gd name="connsiteY24" fmla="*/ 6669 h 10001"/>
                <a:gd name="connsiteX25" fmla="*/ 5725 w 10586"/>
                <a:gd name="connsiteY25" fmla="*/ 6894 h 10001"/>
                <a:gd name="connsiteX26" fmla="*/ 4019 w 10586"/>
                <a:gd name="connsiteY26" fmla="*/ 7419 h 10001"/>
                <a:gd name="connsiteX27" fmla="*/ 3677 w 10586"/>
                <a:gd name="connsiteY27" fmla="*/ 7645 h 10001"/>
                <a:gd name="connsiteX28" fmla="*/ 3720 w 10586"/>
                <a:gd name="connsiteY28" fmla="*/ 8019 h 10001"/>
                <a:gd name="connsiteX29" fmla="*/ 3592 w 10586"/>
                <a:gd name="connsiteY29" fmla="*/ 9369 h 10001"/>
                <a:gd name="connsiteX30" fmla="*/ 2824 w 10586"/>
                <a:gd name="connsiteY30" fmla="*/ 9970 h 10001"/>
                <a:gd name="connsiteX31" fmla="*/ 1972 w 10586"/>
                <a:gd name="connsiteY31" fmla="*/ 9895 h 10001"/>
                <a:gd name="connsiteX32" fmla="*/ 0 w 10586"/>
                <a:gd name="connsiteY32" fmla="*/ 8739 h 10001"/>
                <a:gd name="connsiteX0" fmla="*/ 9437 w 10375"/>
                <a:gd name="connsiteY0" fmla="*/ 1043 h 10001"/>
                <a:gd name="connsiteX1" fmla="*/ 9906 w 10375"/>
                <a:gd name="connsiteY1" fmla="*/ 1193 h 10001"/>
                <a:gd name="connsiteX2" fmla="*/ 10204 w 10375"/>
                <a:gd name="connsiteY2" fmla="*/ 1718 h 10001"/>
                <a:gd name="connsiteX3" fmla="*/ 10375 w 10375"/>
                <a:gd name="connsiteY3" fmla="*/ 2018 h 10001"/>
                <a:gd name="connsiteX4" fmla="*/ 10375 w 10375"/>
                <a:gd name="connsiteY4" fmla="*/ 2243 h 10001"/>
                <a:gd name="connsiteX5" fmla="*/ 10290 w 10375"/>
                <a:gd name="connsiteY5" fmla="*/ 3068 h 10001"/>
                <a:gd name="connsiteX6" fmla="*/ 8797 w 10375"/>
                <a:gd name="connsiteY6" fmla="*/ 2393 h 10001"/>
                <a:gd name="connsiteX7" fmla="*/ 8413 w 10375"/>
                <a:gd name="connsiteY7" fmla="*/ 2018 h 10001"/>
                <a:gd name="connsiteX8" fmla="*/ 7986 w 10375"/>
                <a:gd name="connsiteY8" fmla="*/ 1418 h 10001"/>
                <a:gd name="connsiteX9" fmla="*/ 7944 w 10375"/>
                <a:gd name="connsiteY9" fmla="*/ 1343 h 10001"/>
                <a:gd name="connsiteX10" fmla="*/ 8030 w 10375"/>
                <a:gd name="connsiteY10" fmla="*/ 968 h 10001"/>
                <a:gd name="connsiteX11" fmla="*/ 8627 w 10375"/>
                <a:gd name="connsiteY11" fmla="*/ 593 h 10001"/>
                <a:gd name="connsiteX12" fmla="*/ 8755 w 10375"/>
                <a:gd name="connsiteY12" fmla="*/ 368 h 10001"/>
                <a:gd name="connsiteX13" fmla="*/ 8840 w 10375"/>
                <a:gd name="connsiteY13" fmla="*/ 518 h 10001"/>
                <a:gd name="connsiteX14" fmla="*/ 9138 w 10375"/>
                <a:gd name="connsiteY14" fmla="*/ 968 h 10001"/>
                <a:gd name="connsiteX15" fmla="*/ 9223 w 10375"/>
                <a:gd name="connsiteY15" fmla="*/ 143 h 10001"/>
                <a:gd name="connsiteX16" fmla="*/ 9692 w 10375"/>
                <a:gd name="connsiteY16" fmla="*/ 143 h 10001"/>
                <a:gd name="connsiteX17" fmla="*/ 9778 w 10375"/>
                <a:gd name="connsiteY17" fmla="*/ 293 h 10001"/>
                <a:gd name="connsiteX18" fmla="*/ 9735 w 10375"/>
                <a:gd name="connsiteY18" fmla="*/ 743 h 10001"/>
                <a:gd name="connsiteX19" fmla="*/ 9352 w 10375"/>
                <a:gd name="connsiteY19" fmla="*/ 1118 h 10001"/>
                <a:gd name="connsiteX20" fmla="*/ 9053 w 10375"/>
                <a:gd name="connsiteY20" fmla="*/ 968 h 10001"/>
                <a:gd name="connsiteX21" fmla="*/ 8967 w 10375"/>
                <a:gd name="connsiteY21" fmla="*/ 1043 h 10001"/>
                <a:gd name="connsiteX22" fmla="*/ 7176 w 10375"/>
                <a:gd name="connsiteY22" fmla="*/ 4719 h 10001"/>
                <a:gd name="connsiteX23" fmla="*/ 5855 w 10375"/>
                <a:gd name="connsiteY23" fmla="*/ 6294 h 10001"/>
                <a:gd name="connsiteX24" fmla="*/ 5684 w 10375"/>
                <a:gd name="connsiteY24" fmla="*/ 6669 h 10001"/>
                <a:gd name="connsiteX25" fmla="*/ 5514 w 10375"/>
                <a:gd name="connsiteY25" fmla="*/ 6894 h 10001"/>
                <a:gd name="connsiteX26" fmla="*/ 3808 w 10375"/>
                <a:gd name="connsiteY26" fmla="*/ 7419 h 10001"/>
                <a:gd name="connsiteX27" fmla="*/ 3466 w 10375"/>
                <a:gd name="connsiteY27" fmla="*/ 7645 h 10001"/>
                <a:gd name="connsiteX28" fmla="*/ 3509 w 10375"/>
                <a:gd name="connsiteY28" fmla="*/ 8019 h 10001"/>
                <a:gd name="connsiteX29" fmla="*/ 3381 w 10375"/>
                <a:gd name="connsiteY29" fmla="*/ 9369 h 10001"/>
                <a:gd name="connsiteX30" fmla="*/ 2613 w 10375"/>
                <a:gd name="connsiteY30" fmla="*/ 9970 h 10001"/>
                <a:gd name="connsiteX31" fmla="*/ 1761 w 10375"/>
                <a:gd name="connsiteY31" fmla="*/ 9895 h 10001"/>
                <a:gd name="connsiteX32" fmla="*/ 0 w 10375"/>
                <a:gd name="connsiteY32" fmla="*/ 8132 h 10001"/>
                <a:gd name="connsiteX0" fmla="*/ 9437 w 10375"/>
                <a:gd name="connsiteY0" fmla="*/ 1043 h 10389"/>
                <a:gd name="connsiteX1" fmla="*/ 9906 w 10375"/>
                <a:gd name="connsiteY1" fmla="*/ 1193 h 10389"/>
                <a:gd name="connsiteX2" fmla="*/ 10204 w 10375"/>
                <a:gd name="connsiteY2" fmla="*/ 1718 h 10389"/>
                <a:gd name="connsiteX3" fmla="*/ 10375 w 10375"/>
                <a:gd name="connsiteY3" fmla="*/ 2018 h 10389"/>
                <a:gd name="connsiteX4" fmla="*/ 10375 w 10375"/>
                <a:gd name="connsiteY4" fmla="*/ 2243 h 10389"/>
                <a:gd name="connsiteX5" fmla="*/ 10290 w 10375"/>
                <a:gd name="connsiteY5" fmla="*/ 3068 h 10389"/>
                <a:gd name="connsiteX6" fmla="*/ 8797 w 10375"/>
                <a:gd name="connsiteY6" fmla="*/ 2393 h 10389"/>
                <a:gd name="connsiteX7" fmla="*/ 8413 w 10375"/>
                <a:gd name="connsiteY7" fmla="*/ 2018 h 10389"/>
                <a:gd name="connsiteX8" fmla="*/ 7986 w 10375"/>
                <a:gd name="connsiteY8" fmla="*/ 1418 h 10389"/>
                <a:gd name="connsiteX9" fmla="*/ 7944 w 10375"/>
                <a:gd name="connsiteY9" fmla="*/ 1343 h 10389"/>
                <a:gd name="connsiteX10" fmla="*/ 8030 w 10375"/>
                <a:gd name="connsiteY10" fmla="*/ 968 h 10389"/>
                <a:gd name="connsiteX11" fmla="*/ 8627 w 10375"/>
                <a:gd name="connsiteY11" fmla="*/ 593 h 10389"/>
                <a:gd name="connsiteX12" fmla="*/ 8755 w 10375"/>
                <a:gd name="connsiteY12" fmla="*/ 368 h 10389"/>
                <a:gd name="connsiteX13" fmla="*/ 8840 w 10375"/>
                <a:gd name="connsiteY13" fmla="*/ 518 h 10389"/>
                <a:gd name="connsiteX14" fmla="*/ 9138 w 10375"/>
                <a:gd name="connsiteY14" fmla="*/ 968 h 10389"/>
                <a:gd name="connsiteX15" fmla="*/ 9223 w 10375"/>
                <a:gd name="connsiteY15" fmla="*/ 143 h 10389"/>
                <a:gd name="connsiteX16" fmla="*/ 9692 w 10375"/>
                <a:gd name="connsiteY16" fmla="*/ 143 h 10389"/>
                <a:gd name="connsiteX17" fmla="*/ 9778 w 10375"/>
                <a:gd name="connsiteY17" fmla="*/ 293 h 10389"/>
                <a:gd name="connsiteX18" fmla="*/ 9735 w 10375"/>
                <a:gd name="connsiteY18" fmla="*/ 743 h 10389"/>
                <a:gd name="connsiteX19" fmla="*/ 9352 w 10375"/>
                <a:gd name="connsiteY19" fmla="*/ 1118 h 10389"/>
                <a:gd name="connsiteX20" fmla="*/ 9053 w 10375"/>
                <a:gd name="connsiteY20" fmla="*/ 968 h 10389"/>
                <a:gd name="connsiteX21" fmla="*/ 8967 w 10375"/>
                <a:gd name="connsiteY21" fmla="*/ 1043 h 10389"/>
                <a:gd name="connsiteX22" fmla="*/ 7176 w 10375"/>
                <a:gd name="connsiteY22" fmla="*/ 4719 h 10389"/>
                <a:gd name="connsiteX23" fmla="*/ 5855 w 10375"/>
                <a:gd name="connsiteY23" fmla="*/ 6294 h 10389"/>
                <a:gd name="connsiteX24" fmla="*/ 5684 w 10375"/>
                <a:gd name="connsiteY24" fmla="*/ 6669 h 10389"/>
                <a:gd name="connsiteX25" fmla="*/ 5514 w 10375"/>
                <a:gd name="connsiteY25" fmla="*/ 6894 h 10389"/>
                <a:gd name="connsiteX26" fmla="*/ 3808 w 10375"/>
                <a:gd name="connsiteY26" fmla="*/ 7419 h 10389"/>
                <a:gd name="connsiteX27" fmla="*/ 3466 w 10375"/>
                <a:gd name="connsiteY27" fmla="*/ 7645 h 10389"/>
                <a:gd name="connsiteX28" fmla="*/ 3509 w 10375"/>
                <a:gd name="connsiteY28" fmla="*/ 8019 h 10389"/>
                <a:gd name="connsiteX29" fmla="*/ 3381 w 10375"/>
                <a:gd name="connsiteY29" fmla="*/ 9369 h 10389"/>
                <a:gd name="connsiteX30" fmla="*/ 2613 w 10375"/>
                <a:gd name="connsiteY30" fmla="*/ 9970 h 10389"/>
                <a:gd name="connsiteX31" fmla="*/ 1738 w 10375"/>
                <a:gd name="connsiteY31" fmla="*/ 10380 h 10389"/>
                <a:gd name="connsiteX32" fmla="*/ 0 w 10375"/>
                <a:gd name="connsiteY32" fmla="*/ 8132 h 10389"/>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0 w 10375"/>
                <a:gd name="connsiteY32" fmla="*/ 8132 h 10380"/>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402 w 10375"/>
                <a:gd name="connsiteY32" fmla="*/ 9142 h 10380"/>
                <a:gd name="connsiteX33" fmla="*/ 0 w 10375"/>
                <a:gd name="connsiteY33" fmla="*/ 8132 h 10380"/>
                <a:gd name="connsiteX0" fmla="*/ 9437 w 10375"/>
                <a:gd name="connsiteY0" fmla="*/ 1779 h 11116"/>
                <a:gd name="connsiteX1" fmla="*/ 9906 w 10375"/>
                <a:gd name="connsiteY1" fmla="*/ 1929 h 11116"/>
                <a:gd name="connsiteX2" fmla="*/ 10204 w 10375"/>
                <a:gd name="connsiteY2" fmla="*/ 2454 h 11116"/>
                <a:gd name="connsiteX3" fmla="*/ 10375 w 10375"/>
                <a:gd name="connsiteY3" fmla="*/ 2754 h 11116"/>
                <a:gd name="connsiteX4" fmla="*/ 10375 w 10375"/>
                <a:gd name="connsiteY4" fmla="*/ 2979 h 11116"/>
                <a:gd name="connsiteX5" fmla="*/ 10290 w 10375"/>
                <a:gd name="connsiteY5" fmla="*/ 3804 h 11116"/>
                <a:gd name="connsiteX6" fmla="*/ 8797 w 10375"/>
                <a:gd name="connsiteY6" fmla="*/ 3129 h 11116"/>
                <a:gd name="connsiteX7" fmla="*/ 8413 w 10375"/>
                <a:gd name="connsiteY7" fmla="*/ 2754 h 11116"/>
                <a:gd name="connsiteX8" fmla="*/ 7986 w 10375"/>
                <a:gd name="connsiteY8" fmla="*/ 2154 h 11116"/>
                <a:gd name="connsiteX9" fmla="*/ 7944 w 10375"/>
                <a:gd name="connsiteY9" fmla="*/ 2079 h 11116"/>
                <a:gd name="connsiteX10" fmla="*/ 8030 w 10375"/>
                <a:gd name="connsiteY10" fmla="*/ 1704 h 11116"/>
                <a:gd name="connsiteX11" fmla="*/ 8627 w 10375"/>
                <a:gd name="connsiteY11" fmla="*/ 1329 h 11116"/>
                <a:gd name="connsiteX12" fmla="*/ 8755 w 10375"/>
                <a:gd name="connsiteY12" fmla="*/ 1104 h 11116"/>
                <a:gd name="connsiteX13" fmla="*/ 8840 w 10375"/>
                <a:gd name="connsiteY13" fmla="*/ 1254 h 11116"/>
                <a:gd name="connsiteX14" fmla="*/ 9138 w 10375"/>
                <a:gd name="connsiteY14" fmla="*/ 1704 h 11116"/>
                <a:gd name="connsiteX15" fmla="*/ 9223 w 10375"/>
                <a:gd name="connsiteY15" fmla="*/ 879 h 11116"/>
                <a:gd name="connsiteX16" fmla="*/ 9692 w 10375"/>
                <a:gd name="connsiteY16" fmla="*/ 879 h 11116"/>
                <a:gd name="connsiteX17" fmla="*/ 9778 w 10375"/>
                <a:gd name="connsiteY17" fmla="*/ 1029 h 11116"/>
                <a:gd name="connsiteX18" fmla="*/ 9735 w 10375"/>
                <a:gd name="connsiteY18" fmla="*/ 1479 h 11116"/>
                <a:gd name="connsiteX19" fmla="*/ 9352 w 10375"/>
                <a:gd name="connsiteY19" fmla="*/ 1854 h 11116"/>
                <a:gd name="connsiteX20" fmla="*/ 9053 w 10375"/>
                <a:gd name="connsiteY20" fmla="*/ 1704 h 11116"/>
                <a:gd name="connsiteX21" fmla="*/ 7844 w 10375"/>
                <a:gd name="connsiteY21" fmla="*/ 0 h 11116"/>
                <a:gd name="connsiteX22" fmla="*/ 7176 w 10375"/>
                <a:gd name="connsiteY22" fmla="*/ 5455 h 11116"/>
                <a:gd name="connsiteX23" fmla="*/ 5855 w 10375"/>
                <a:gd name="connsiteY23" fmla="*/ 7030 h 11116"/>
                <a:gd name="connsiteX24" fmla="*/ 5684 w 10375"/>
                <a:gd name="connsiteY24" fmla="*/ 7405 h 11116"/>
                <a:gd name="connsiteX25" fmla="*/ 5514 w 10375"/>
                <a:gd name="connsiteY25" fmla="*/ 7630 h 11116"/>
                <a:gd name="connsiteX26" fmla="*/ 3808 w 10375"/>
                <a:gd name="connsiteY26" fmla="*/ 8155 h 11116"/>
                <a:gd name="connsiteX27" fmla="*/ 3466 w 10375"/>
                <a:gd name="connsiteY27" fmla="*/ 8381 h 11116"/>
                <a:gd name="connsiteX28" fmla="*/ 3509 w 10375"/>
                <a:gd name="connsiteY28" fmla="*/ 8755 h 11116"/>
                <a:gd name="connsiteX29" fmla="*/ 3381 w 10375"/>
                <a:gd name="connsiteY29" fmla="*/ 10105 h 11116"/>
                <a:gd name="connsiteX30" fmla="*/ 2613 w 10375"/>
                <a:gd name="connsiteY30" fmla="*/ 10706 h 11116"/>
                <a:gd name="connsiteX31" fmla="*/ 1738 w 10375"/>
                <a:gd name="connsiteY31" fmla="*/ 11116 h 11116"/>
                <a:gd name="connsiteX32" fmla="*/ 402 w 10375"/>
                <a:gd name="connsiteY32" fmla="*/ 9878 h 11116"/>
                <a:gd name="connsiteX33" fmla="*/ 0 w 10375"/>
                <a:gd name="connsiteY33" fmla="*/ 8868 h 11116"/>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9053 w 10375"/>
                <a:gd name="connsiteY20" fmla="*/ 3378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375" h="12790">
                  <a:moveTo>
                    <a:pt x="9460" y="3008"/>
                  </a:moveTo>
                  <a:cubicBezTo>
                    <a:pt x="9545" y="3008"/>
                    <a:pt x="9821" y="3603"/>
                    <a:pt x="9906" y="3603"/>
                  </a:cubicBezTo>
                  <a:cubicBezTo>
                    <a:pt x="9948" y="3828"/>
                    <a:pt x="10077" y="3979"/>
                    <a:pt x="10204" y="4128"/>
                  </a:cubicBezTo>
                  <a:cubicBezTo>
                    <a:pt x="10290" y="4203"/>
                    <a:pt x="10375" y="4353"/>
                    <a:pt x="10375" y="4428"/>
                  </a:cubicBezTo>
                  <a:lnTo>
                    <a:pt x="10375" y="4653"/>
                  </a:lnTo>
                  <a:cubicBezTo>
                    <a:pt x="10290" y="4954"/>
                    <a:pt x="10056" y="4572"/>
                    <a:pt x="10056" y="4871"/>
                  </a:cubicBezTo>
                  <a:cubicBezTo>
                    <a:pt x="9544" y="4647"/>
                    <a:pt x="9150" y="4463"/>
                    <a:pt x="8680" y="4237"/>
                  </a:cubicBezTo>
                  <a:cubicBezTo>
                    <a:pt x="8467" y="4162"/>
                    <a:pt x="8542" y="4728"/>
                    <a:pt x="8413" y="4428"/>
                  </a:cubicBezTo>
                  <a:cubicBezTo>
                    <a:pt x="8328" y="4203"/>
                    <a:pt x="8139" y="3867"/>
                    <a:pt x="8080" y="3707"/>
                  </a:cubicBezTo>
                  <a:cubicBezTo>
                    <a:pt x="8021" y="3547"/>
                    <a:pt x="8061" y="3545"/>
                    <a:pt x="8061" y="3470"/>
                  </a:cubicBezTo>
                  <a:cubicBezTo>
                    <a:pt x="7976" y="3395"/>
                    <a:pt x="7944" y="3453"/>
                    <a:pt x="8030" y="3378"/>
                  </a:cubicBezTo>
                  <a:cubicBezTo>
                    <a:pt x="8243" y="3228"/>
                    <a:pt x="8265" y="2893"/>
                    <a:pt x="8393" y="2518"/>
                  </a:cubicBezTo>
                  <a:cubicBezTo>
                    <a:pt x="8435" y="2443"/>
                    <a:pt x="8669" y="2854"/>
                    <a:pt x="8755" y="2778"/>
                  </a:cubicBezTo>
                  <a:cubicBezTo>
                    <a:pt x="8797" y="2778"/>
                    <a:pt x="8770" y="2490"/>
                    <a:pt x="8770" y="2564"/>
                  </a:cubicBezTo>
                  <a:cubicBezTo>
                    <a:pt x="8855" y="2714"/>
                    <a:pt x="8889" y="2743"/>
                    <a:pt x="8974" y="2893"/>
                  </a:cubicBezTo>
                  <a:cubicBezTo>
                    <a:pt x="8889" y="2668"/>
                    <a:pt x="8675" y="231"/>
                    <a:pt x="8802" y="6"/>
                  </a:cubicBezTo>
                  <a:cubicBezTo>
                    <a:pt x="8931" y="-144"/>
                    <a:pt x="9565" y="2328"/>
                    <a:pt x="9692" y="2553"/>
                  </a:cubicBezTo>
                  <a:cubicBezTo>
                    <a:pt x="9735" y="2553"/>
                    <a:pt x="9778" y="2628"/>
                    <a:pt x="9778" y="2703"/>
                  </a:cubicBezTo>
                  <a:cubicBezTo>
                    <a:pt x="9821" y="2854"/>
                    <a:pt x="9778" y="3003"/>
                    <a:pt x="9735" y="3153"/>
                  </a:cubicBezTo>
                  <a:cubicBezTo>
                    <a:pt x="9607" y="3303"/>
                    <a:pt x="9475" y="2921"/>
                    <a:pt x="9305" y="2921"/>
                  </a:cubicBezTo>
                  <a:cubicBezTo>
                    <a:pt x="9220" y="2846"/>
                    <a:pt x="8249" y="958"/>
                    <a:pt x="8164" y="1033"/>
                  </a:cubicBezTo>
                  <a:cubicBezTo>
                    <a:pt x="8122" y="1033"/>
                    <a:pt x="8333" y="906"/>
                    <a:pt x="8476" y="1634"/>
                  </a:cubicBezTo>
                  <a:cubicBezTo>
                    <a:pt x="7880" y="2909"/>
                    <a:pt x="7944" y="6229"/>
                    <a:pt x="7176" y="7129"/>
                  </a:cubicBezTo>
                  <a:cubicBezTo>
                    <a:pt x="6751" y="7579"/>
                    <a:pt x="6153" y="7878"/>
                    <a:pt x="5855" y="8704"/>
                  </a:cubicBezTo>
                  <a:cubicBezTo>
                    <a:pt x="5812" y="8854"/>
                    <a:pt x="5770" y="9004"/>
                    <a:pt x="5684" y="9079"/>
                  </a:cubicBezTo>
                  <a:cubicBezTo>
                    <a:pt x="5641" y="9154"/>
                    <a:pt x="5556" y="9229"/>
                    <a:pt x="5514" y="9304"/>
                  </a:cubicBezTo>
                  <a:cubicBezTo>
                    <a:pt x="5002" y="9754"/>
                    <a:pt x="4404" y="9904"/>
                    <a:pt x="3808" y="9829"/>
                  </a:cubicBezTo>
                  <a:cubicBezTo>
                    <a:pt x="3679" y="9754"/>
                    <a:pt x="3466" y="9829"/>
                    <a:pt x="3466" y="10055"/>
                  </a:cubicBezTo>
                  <a:cubicBezTo>
                    <a:pt x="3466" y="10204"/>
                    <a:pt x="3509" y="10279"/>
                    <a:pt x="3509" y="10429"/>
                  </a:cubicBezTo>
                  <a:cubicBezTo>
                    <a:pt x="3637" y="10879"/>
                    <a:pt x="3552" y="11404"/>
                    <a:pt x="3381" y="11779"/>
                  </a:cubicBezTo>
                  <a:cubicBezTo>
                    <a:pt x="3168" y="12155"/>
                    <a:pt x="2912" y="12380"/>
                    <a:pt x="2613" y="12380"/>
                  </a:cubicBezTo>
                  <a:cubicBezTo>
                    <a:pt x="2315" y="12455"/>
                    <a:pt x="1989" y="12703"/>
                    <a:pt x="1738" y="12790"/>
                  </a:cubicBezTo>
                  <a:cubicBezTo>
                    <a:pt x="1424" y="12632"/>
                    <a:pt x="692" y="11927"/>
                    <a:pt x="402" y="11552"/>
                  </a:cubicBezTo>
                  <a:cubicBezTo>
                    <a:pt x="112" y="11177"/>
                    <a:pt x="122" y="10690"/>
                    <a:pt x="0" y="1054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1" name="Freeform 55">
              <a:extLst>
                <a:ext uri="{FF2B5EF4-FFF2-40B4-BE49-F238E27FC236}">
                  <a16:creationId xmlns:a16="http://schemas.microsoft.com/office/drawing/2014/main" id="{008153C5-FBAA-4300-8538-E3E6AE97A269}"/>
                </a:ext>
              </a:extLst>
            </p:cNvPr>
            <p:cNvSpPr>
              <a:spLocks/>
            </p:cNvSpPr>
            <p:nvPr/>
          </p:nvSpPr>
          <p:spPr bwMode="auto">
            <a:xfrm>
              <a:off x="10266237" y="3528751"/>
              <a:ext cx="165616" cy="13128"/>
            </a:xfrm>
            <a:custGeom>
              <a:avLst/>
              <a:gdLst>
                <a:gd name="T0" fmla="*/ 0 w 38"/>
                <a:gd name="T1" fmla="*/ 0 h 3"/>
                <a:gd name="T2" fmla="*/ 38 w 38"/>
                <a:gd name="T3" fmla="*/ 3 h 3"/>
              </a:gdLst>
              <a:ahLst/>
              <a:cxnLst>
                <a:cxn ang="0">
                  <a:pos x="T0" y="T1"/>
                </a:cxn>
                <a:cxn ang="0">
                  <a:pos x="T2" y="T3"/>
                </a:cxn>
              </a:cxnLst>
              <a:rect l="0" t="0" r="r" b="b"/>
              <a:pathLst>
                <a:path w="38" h="3">
                  <a:moveTo>
                    <a:pt x="0" y="0"/>
                  </a:moveTo>
                  <a:cubicBezTo>
                    <a:pt x="9" y="1"/>
                    <a:pt x="29" y="2"/>
                    <a:pt x="38" y="3"/>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2" name="Freeform 56">
              <a:extLst>
                <a:ext uri="{FF2B5EF4-FFF2-40B4-BE49-F238E27FC236}">
                  <a16:creationId xmlns:a16="http://schemas.microsoft.com/office/drawing/2014/main" id="{30122FB9-8D5F-4B0B-B80E-9D6BB06CE117}"/>
                </a:ext>
              </a:extLst>
            </p:cNvPr>
            <p:cNvSpPr>
              <a:spLocks/>
            </p:cNvSpPr>
            <p:nvPr/>
          </p:nvSpPr>
          <p:spPr bwMode="auto">
            <a:xfrm>
              <a:off x="10261299" y="3535032"/>
              <a:ext cx="433850" cy="935627"/>
            </a:xfrm>
            <a:custGeom>
              <a:avLst/>
              <a:gdLst>
                <a:gd name="T0" fmla="*/ 2 w 85"/>
                <a:gd name="T1" fmla="*/ 0 h 174"/>
                <a:gd name="T2" fmla="*/ 6 w 85"/>
                <a:gd name="T3" fmla="*/ 16 h 174"/>
                <a:gd name="T4" fmla="*/ 8 w 85"/>
                <a:gd name="T5" fmla="*/ 18 h 174"/>
                <a:gd name="T6" fmla="*/ 8 w 85"/>
                <a:gd name="T7" fmla="*/ 21 h 174"/>
                <a:gd name="T8" fmla="*/ 7 w 85"/>
                <a:gd name="T9" fmla="*/ 44 h 174"/>
                <a:gd name="T10" fmla="*/ 8 w 85"/>
                <a:gd name="T11" fmla="*/ 50 h 174"/>
                <a:gd name="T12" fmla="*/ 12 w 85"/>
                <a:gd name="T13" fmla="*/ 53 h 174"/>
                <a:gd name="T14" fmla="*/ 12 w 85"/>
                <a:gd name="T15" fmla="*/ 68 h 174"/>
                <a:gd name="T16" fmla="*/ 17 w 85"/>
                <a:gd name="T17" fmla="*/ 77 h 174"/>
                <a:gd name="T18" fmla="*/ 19 w 85"/>
                <a:gd name="T19" fmla="*/ 97 h 174"/>
                <a:gd name="T20" fmla="*/ 23 w 85"/>
                <a:gd name="T21" fmla="*/ 101 h 174"/>
                <a:gd name="T22" fmla="*/ 25 w 85"/>
                <a:gd name="T23" fmla="*/ 110 h 174"/>
                <a:gd name="T24" fmla="*/ 33 w 85"/>
                <a:gd name="T25" fmla="*/ 130 h 174"/>
                <a:gd name="T26" fmla="*/ 34 w 85"/>
                <a:gd name="T27" fmla="*/ 132 h 174"/>
                <a:gd name="T28" fmla="*/ 39 w 85"/>
                <a:gd name="T29" fmla="*/ 133 h 174"/>
                <a:gd name="T30" fmla="*/ 47 w 85"/>
                <a:gd name="T31" fmla="*/ 138 h 174"/>
                <a:gd name="T32" fmla="*/ 49 w 85"/>
                <a:gd name="T33" fmla="*/ 148 h 174"/>
                <a:gd name="T34" fmla="*/ 50 w 85"/>
                <a:gd name="T35" fmla="*/ 157 h 174"/>
                <a:gd name="T36" fmla="*/ 64 w 85"/>
                <a:gd name="T37" fmla="*/ 171 h 174"/>
                <a:gd name="T38" fmla="*/ 85 w 85"/>
                <a:gd name="T39" fmla="*/ 173 h 174"/>
                <a:gd name="connsiteX0" fmla="*/ 52 w 9882"/>
                <a:gd name="connsiteY0" fmla="*/ 0 h 10286"/>
                <a:gd name="connsiteX1" fmla="*/ 588 w 9882"/>
                <a:gd name="connsiteY1" fmla="*/ 1229 h 10286"/>
                <a:gd name="connsiteX2" fmla="*/ 823 w 9882"/>
                <a:gd name="connsiteY2" fmla="*/ 1343 h 10286"/>
                <a:gd name="connsiteX3" fmla="*/ 823 w 9882"/>
                <a:gd name="connsiteY3" fmla="*/ 1516 h 10286"/>
                <a:gd name="connsiteX4" fmla="*/ 706 w 9882"/>
                <a:gd name="connsiteY4" fmla="*/ 2838 h 10286"/>
                <a:gd name="connsiteX5" fmla="*/ 823 w 9882"/>
                <a:gd name="connsiteY5" fmla="*/ 3183 h 10286"/>
                <a:gd name="connsiteX6" fmla="*/ 1294 w 9882"/>
                <a:gd name="connsiteY6" fmla="*/ 3355 h 10286"/>
                <a:gd name="connsiteX7" fmla="*/ 1294 w 9882"/>
                <a:gd name="connsiteY7" fmla="*/ 4217 h 10286"/>
                <a:gd name="connsiteX8" fmla="*/ 1882 w 9882"/>
                <a:gd name="connsiteY8" fmla="*/ 4734 h 10286"/>
                <a:gd name="connsiteX9" fmla="*/ 2117 w 9882"/>
                <a:gd name="connsiteY9" fmla="*/ 5884 h 10286"/>
                <a:gd name="connsiteX10" fmla="*/ 2588 w 9882"/>
                <a:gd name="connsiteY10" fmla="*/ 6114 h 10286"/>
                <a:gd name="connsiteX11" fmla="*/ 2823 w 9882"/>
                <a:gd name="connsiteY11" fmla="*/ 6631 h 10286"/>
                <a:gd name="connsiteX12" fmla="*/ 3764 w 9882"/>
                <a:gd name="connsiteY12" fmla="*/ 7780 h 10286"/>
                <a:gd name="connsiteX13" fmla="*/ 3882 w 9882"/>
                <a:gd name="connsiteY13" fmla="*/ 7895 h 10286"/>
                <a:gd name="connsiteX14" fmla="*/ 4470 w 9882"/>
                <a:gd name="connsiteY14" fmla="*/ 7953 h 10286"/>
                <a:gd name="connsiteX15" fmla="*/ 5411 w 9882"/>
                <a:gd name="connsiteY15" fmla="*/ 8240 h 10286"/>
                <a:gd name="connsiteX16" fmla="*/ 5647 w 9882"/>
                <a:gd name="connsiteY16" fmla="*/ 8815 h 10286"/>
                <a:gd name="connsiteX17" fmla="*/ 5764 w 9882"/>
                <a:gd name="connsiteY17" fmla="*/ 9332 h 10286"/>
                <a:gd name="connsiteX18" fmla="*/ 7411 w 9882"/>
                <a:gd name="connsiteY18" fmla="*/ 10137 h 10286"/>
                <a:gd name="connsiteX19" fmla="*/ 9882 w 9882"/>
                <a:gd name="connsiteY19" fmla="*/ 10252 h 10286"/>
                <a:gd name="connsiteX0" fmla="*/ 25 w 11020"/>
                <a:gd name="connsiteY0" fmla="*/ 0 h 11801"/>
                <a:gd name="connsiteX1" fmla="*/ 1615 w 11020"/>
                <a:gd name="connsiteY1" fmla="*/ 2997 h 11801"/>
                <a:gd name="connsiteX2" fmla="*/ 1853 w 11020"/>
                <a:gd name="connsiteY2" fmla="*/ 3108 h 11801"/>
                <a:gd name="connsiteX3" fmla="*/ 1853 w 11020"/>
                <a:gd name="connsiteY3" fmla="*/ 3276 h 11801"/>
                <a:gd name="connsiteX4" fmla="*/ 1734 w 11020"/>
                <a:gd name="connsiteY4" fmla="*/ 4561 h 11801"/>
                <a:gd name="connsiteX5" fmla="*/ 1853 w 11020"/>
                <a:gd name="connsiteY5" fmla="*/ 4896 h 11801"/>
                <a:gd name="connsiteX6" fmla="*/ 2329 w 11020"/>
                <a:gd name="connsiteY6" fmla="*/ 5064 h 11801"/>
                <a:gd name="connsiteX7" fmla="*/ 2329 w 11020"/>
                <a:gd name="connsiteY7" fmla="*/ 5902 h 11801"/>
                <a:gd name="connsiteX8" fmla="*/ 2924 w 11020"/>
                <a:gd name="connsiteY8" fmla="*/ 6404 h 11801"/>
                <a:gd name="connsiteX9" fmla="*/ 3162 w 11020"/>
                <a:gd name="connsiteY9" fmla="*/ 7522 h 11801"/>
                <a:gd name="connsiteX10" fmla="*/ 3639 w 11020"/>
                <a:gd name="connsiteY10" fmla="*/ 7746 h 11801"/>
                <a:gd name="connsiteX11" fmla="*/ 3877 w 11020"/>
                <a:gd name="connsiteY11" fmla="*/ 8249 h 11801"/>
                <a:gd name="connsiteX12" fmla="*/ 4829 w 11020"/>
                <a:gd name="connsiteY12" fmla="*/ 9366 h 11801"/>
                <a:gd name="connsiteX13" fmla="*/ 4948 w 11020"/>
                <a:gd name="connsiteY13" fmla="*/ 9477 h 11801"/>
                <a:gd name="connsiteX14" fmla="*/ 5543 w 11020"/>
                <a:gd name="connsiteY14" fmla="*/ 9534 h 11801"/>
                <a:gd name="connsiteX15" fmla="*/ 6496 w 11020"/>
                <a:gd name="connsiteY15" fmla="*/ 9813 h 11801"/>
                <a:gd name="connsiteX16" fmla="*/ 6734 w 11020"/>
                <a:gd name="connsiteY16" fmla="*/ 10372 h 11801"/>
                <a:gd name="connsiteX17" fmla="*/ 6853 w 11020"/>
                <a:gd name="connsiteY17" fmla="*/ 10875 h 11801"/>
                <a:gd name="connsiteX18" fmla="*/ 8519 w 11020"/>
                <a:gd name="connsiteY18" fmla="*/ 11657 h 11801"/>
                <a:gd name="connsiteX19" fmla="*/ 11020 w 11020"/>
                <a:gd name="connsiteY19" fmla="*/ 11769 h 11801"/>
                <a:gd name="connsiteX0" fmla="*/ 17 w 11929"/>
                <a:gd name="connsiteY0" fmla="*/ 0 h 11801"/>
                <a:gd name="connsiteX1" fmla="*/ 2524 w 11929"/>
                <a:gd name="connsiteY1" fmla="*/ 2997 h 11801"/>
                <a:gd name="connsiteX2" fmla="*/ 2762 w 11929"/>
                <a:gd name="connsiteY2" fmla="*/ 3108 h 11801"/>
                <a:gd name="connsiteX3" fmla="*/ 2762 w 11929"/>
                <a:gd name="connsiteY3" fmla="*/ 3276 h 11801"/>
                <a:gd name="connsiteX4" fmla="*/ 2643 w 11929"/>
                <a:gd name="connsiteY4" fmla="*/ 4561 h 11801"/>
                <a:gd name="connsiteX5" fmla="*/ 2762 w 11929"/>
                <a:gd name="connsiteY5" fmla="*/ 4896 h 11801"/>
                <a:gd name="connsiteX6" fmla="*/ 3238 w 11929"/>
                <a:gd name="connsiteY6" fmla="*/ 5064 h 11801"/>
                <a:gd name="connsiteX7" fmla="*/ 3238 w 11929"/>
                <a:gd name="connsiteY7" fmla="*/ 5902 h 11801"/>
                <a:gd name="connsiteX8" fmla="*/ 3833 w 11929"/>
                <a:gd name="connsiteY8" fmla="*/ 6404 h 11801"/>
                <a:gd name="connsiteX9" fmla="*/ 4071 w 11929"/>
                <a:gd name="connsiteY9" fmla="*/ 7522 h 11801"/>
                <a:gd name="connsiteX10" fmla="*/ 4548 w 11929"/>
                <a:gd name="connsiteY10" fmla="*/ 7746 h 11801"/>
                <a:gd name="connsiteX11" fmla="*/ 4786 w 11929"/>
                <a:gd name="connsiteY11" fmla="*/ 8249 h 11801"/>
                <a:gd name="connsiteX12" fmla="*/ 5738 w 11929"/>
                <a:gd name="connsiteY12" fmla="*/ 9366 h 11801"/>
                <a:gd name="connsiteX13" fmla="*/ 5857 w 11929"/>
                <a:gd name="connsiteY13" fmla="*/ 9477 h 11801"/>
                <a:gd name="connsiteX14" fmla="*/ 6452 w 11929"/>
                <a:gd name="connsiteY14" fmla="*/ 9534 h 11801"/>
                <a:gd name="connsiteX15" fmla="*/ 7405 w 11929"/>
                <a:gd name="connsiteY15" fmla="*/ 9813 h 11801"/>
                <a:gd name="connsiteX16" fmla="*/ 7643 w 11929"/>
                <a:gd name="connsiteY16" fmla="*/ 10372 h 11801"/>
                <a:gd name="connsiteX17" fmla="*/ 7762 w 11929"/>
                <a:gd name="connsiteY17" fmla="*/ 10875 h 11801"/>
                <a:gd name="connsiteX18" fmla="*/ 9428 w 11929"/>
                <a:gd name="connsiteY18" fmla="*/ 11657 h 11801"/>
                <a:gd name="connsiteX19" fmla="*/ 11929 w 11929"/>
                <a:gd name="connsiteY19" fmla="*/ 11769 h 1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29" h="11801">
                  <a:moveTo>
                    <a:pt x="17" y="0"/>
                  </a:moveTo>
                  <a:cubicBezTo>
                    <a:pt x="-221" y="335"/>
                    <a:pt x="2067" y="2479"/>
                    <a:pt x="2524" y="2997"/>
                  </a:cubicBezTo>
                  <a:cubicBezTo>
                    <a:pt x="2982" y="3515"/>
                    <a:pt x="2643" y="3052"/>
                    <a:pt x="2762" y="3108"/>
                  </a:cubicBezTo>
                  <a:lnTo>
                    <a:pt x="2762" y="3276"/>
                  </a:lnTo>
                  <a:cubicBezTo>
                    <a:pt x="2762" y="3723"/>
                    <a:pt x="2762" y="4169"/>
                    <a:pt x="2643" y="4561"/>
                  </a:cubicBezTo>
                  <a:cubicBezTo>
                    <a:pt x="2643" y="4673"/>
                    <a:pt x="2643" y="4785"/>
                    <a:pt x="2762" y="4896"/>
                  </a:cubicBezTo>
                  <a:cubicBezTo>
                    <a:pt x="2881" y="4952"/>
                    <a:pt x="3119" y="5008"/>
                    <a:pt x="3238" y="5064"/>
                  </a:cubicBezTo>
                  <a:cubicBezTo>
                    <a:pt x="3476" y="5343"/>
                    <a:pt x="3119" y="5623"/>
                    <a:pt x="3238" y="5902"/>
                  </a:cubicBezTo>
                  <a:cubicBezTo>
                    <a:pt x="3357" y="6069"/>
                    <a:pt x="3714" y="6237"/>
                    <a:pt x="3833" y="6404"/>
                  </a:cubicBezTo>
                  <a:cubicBezTo>
                    <a:pt x="4191" y="6740"/>
                    <a:pt x="3714" y="7187"/>
                    <a:pt x="4071" y="7522"/>
                  </a:cubicBezTo>
                  <a:cubicBezTo>
                    <a:pt x="4191" y="7578"/>
                    <a:pt x="4428" y="7634"/>
                    <a:pt x="4548" y="7746"/>
                  </a:cubicBezTo>
                  <a:cubicBezTo>
                    <a:pt x="4786" y="7913"/>
                    <a:pt x="4786" y="8080"/>
                    <a:pt x="4786" y="8249"/>
                  </a:cubicBezTo>
                  <a:cubicBezTo>
                    <a:pt x="5024" y="8639"/>
                    <a:pt x="5381" y="9030"/>
                    <a:pt x="5738" y="9366"/>
                  </a:cubicBezTo>
                  <a:cubicBezTo>
                    <a:pt x="5738" y="9422"/>
                    <a:pt x="5738" y="9477"/>
                    <a:pt x="5857" y="9477"/>
                  </a:cubicBezTo>
                  <a:cubicBezTo>
                    <a:pt x="6095" y="9534"/>
                    <a:pt x="6334" y="9534"/>
                    <a:pt x="6452" y="9534"/>
                  </a:cubicBezTo>
                  <a:cubicBezTo>
                    <a:pt x="6929" y="9534"/>
                    <a:pt x="7167" y="9646"/>
                    <a:pt x="7405" y="9813"/>
                  </a:cubicBezTo>
                  <a:cubicBezTo>
                    <a:pt x="7524" y="9980"/>
                    <a:pt x="7524" y="10204"/>
                    <a:pt x="7643" y="10372"/>
                  </a:cubicBezTo>
                  <a:cubicBezTo>
                    <a:pt x="7643" y="10539"/>
                    <a:pt x="7643" y="10707"/>
                    <a:pt x="7762" y="10875"/>
                  </a:cubicBezTo>
                  <a:cubicBezTo>
                    <a:pt x="8001" y="11210"/>
                    <a:pt x="8715" y="11545"/>
                    <a:pt x="9428" y="11657"/>
                  </a:cubicBezTo>
                  <a:cubicBezTo>
                    <a:pt x="10262" y="11824"/>
                    <a:pt x="11095" y="11824"/>
                    <a:pt x="11929" y="11769"/>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3" name="Freeform 57">
              <a:extLst>
                <a:ext uri="{FF2B5EF4-FFF2-40B4-BE49-F238E27FC236}">
                  <a16:creationId xmlns:a16="http://schemas.microsoft.com/office/drawing/2014/main" id="{E17EF765-DBFB-42FE-ACE4-5596A794A423}"/>
                </a:ext>
              </a:extLst>
            </p:cNvPr>
            <p:cNvSpPr>
              <a:spLocks/>
            </p:cNvSpPr>
            <p:nvPr/>
          </p:nvSpPr>
          <p:spPr bwMode="auto">
            <a:xfrm>
              <a:off x="9789781" y="4202456"/>
              <a:ext cx="888807" cy="234427"/>
            </a:xfrm>
            <a:custGeom>
              <a:avLst/>
              <a:gdLst>
                <a:gd name="T0" fmla="*/ 0 w 205"/>
                <a:gd name="T1" fmla="*/ 0 h 53"/>
                <a:gd name="T2" fmla="*/ 19 w 205"/>
                <a:gd name="T3" fmla="*/ 4 h 53"/>
                <a:gd name="T4" fmla="*/ 39 w 205"/>
                <a:gd name="T5" fmla="*/ 10 h 53"/>
                <a:gd name="T6" fmla="*/ 53 w 205"/>
                <a:gd name="T7" fmla="*/ 11 h 53"/>
                <a:gd name="T8" fmla="*/ 75 w 205"/>
                <a:gd name="T9" fmla="*/ 18 h 53"/>
                <a:gd name="T10" fmla="*/ 127 w 205"/>
                <a:gd name="T11" fmla="*/ 38 h 53"/>
                <a:gd name="T12" fmla="*/ 170 w 205"/>
                <a:gd name="T13" fmla="*/ 47 h 53"/>
                <a:gd name="T14" fmla="*/ 178 w 205"/>
                <a:gd name="T15" fmla="*/ 47 h 53"/>
                <a:gd name="T16" fmla="*/ 205 w 205"/>
                <a:gd name="T17" fmla="*/ 5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53">
                  <a:moveTo>
                    <a:pt x="0" y="0"/>
                  </a:moveTo>
                  <a:cubicBezTo>
                    <a:pt x="6" y="3"/>
                    <a:pt x="13" y="3"/>
                    <a:pt x="19" y="4"/>
                  </a:cubicBezTo>
                  <a:cubicBezTo>
                    <a:pt x="26" y="5"/>
                    <a:pt x="32" y="9"/>
                    <a:pt x="39" y="10"/>
                  </a:cubicBezTo>
                  <a:cubicBezTo>
                    <a:pt x="44" y="11"/>
                    <a:pt x="48" y="11"/>
                    <a:pt x="53" y="11"/>
                  </a:cubicBezTo>
                  <a:cubicBezTo>
                    <a:pt x="61" y="12"/>
                    <a:pt x="68" y="15"/>
                    <a:pt x="75" y="18"/>
                  </a:cubicBezTo>
                  <a:cubicBezTo>
                    <a:pt x="93" y="25"/>
                    <a:pt x="110" y="31"/>
                    <a:pt x="127" y="38"/>
                  </a:cubicBezTo>
                  <a:cubicBezTo>
                    <a:pt x="141" y="43"/>
                    <a:pt x="155" y="49"/>
                    <a:pt x="170" y="47"/>
                  </a:cubicBezTo>
                  <a:cubicBezTo>
                    <a:pt x="173" y="47"/>
                    <a:pt x="175" y="47"/>
                    <a:pt x="178" y="47"/>
                  </a:cubicBezTo>
                  <a:cubicBezTo>
                    <a:pt x="187" y="47"/>
                    <a:pt x="197" y="53"/>
                    <a:pt x="205" y="5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4" name="Freeform 58">
              <a:extLst>
                <a:ext uri="{FF2B5EF4-FFF2-40B4-BE49-F238E27FC236}">
                  <a16:creationId xmlns:a16="http://schemas.microsoft.com/office/drawing/2014/main" id="{D3EF8ABB-5D47-4BD7-A4AF-CD1F2A84C3DC}"/>
                </a:ext>
              </a:extLst>
            </p:cNvPr>
            <p:cNvSpPr>
              <a:spLocks/>
            </p:cNvSpPr>
            <p:nvPr/>
          </p:nvSpPr>
          <p:spPr bwMode="auto">
            <a:xfrm>
              <a:off x="9790060" y="4132070"/>
              <a:ext cx="33123" cy="256931"/>
            </a:xfrm>
            <a:custGeom>
              <a:avLst/>
              <a:gdLst>
                <a:gd name="T0" fmla="*/ 5 w 8"/>
                <a:gd name="T1" fmla="*/ 0 h 58"/>
                <a:gd name="T2" fmla="*/ 8 w 8"/>
                <a:gd name="T3" fmla="*/ 30 h 58"/>
                <a:gd name="T4" fmla="*/ 0 w 8"/>
                <a:gd name="T5" fmla="*/ 58 h 58"/>
              </a:gdLst>
              <a:ahLst/>
              <a:cxnLst>
                <a:cxn ang="0">
                  <a:pos x="T0" y="T1"/>
                </a:cxn>
                <a:cxn ang="0">
                  <a:pos x="T2" y="T3"/>
                </a:cxn>
                <a:cxn ang="0">
                  <a:pos x="T4" y="T5"/>
                </a:cxn>
              </a:cxnLst>
              <a:rect l="0" t="0" r="r" b="b"/>
              <a:pathLst>
                <a:path w="8" h="58">
                  <a:moveTo>
                    <a:pt x="5" y="0"/>
                  </a:moveTo>
                  <a:cubicBezTo>
                    <a:pt x="4" y="10"/>
                    <a:pt x="8" y="20"/>
                    <a:pt x="8" y="30"/>
                  </a:cubicBezTo>
                  <a:cubicBezTo>
                    <a:pt x="8" y="40"/>
                    <a:pt x="5" y="50"/>
                    <a:pt x="0" y="5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5" name="Freeform 59">
              <a:extLst>
                <a:ext uri="{FF2B5EF4-FFF2-40B4-BE49-F238E27FC236}">
                  <a16:creationId xmlns:a16="http://schemas.microsoft.com/office/drawing/2014/main" id="{FBBDD547-7319-413A-B1E5-C5F2C04FEF19}"/>
                </a:ext>
              </a:extLst>
            </p:cNvPr>
            <p:cNvSpPr>
              <a:spLocks/>
            </p:cNvSpPr>
            <p:nvPr/>
          </p:nvSpPr>
          <p:spPr bwMode="auto">
            <a:xfrm>
              <a:off x="9207493" y="4290614"/>
              <a:ext cx="1346403" cy="1757244"/>
            </a:xfrm>
            <a:custGeom>
              <a:avLst/>
              <a:gdLst>
                <a:gd name="T0" fmla="*/ 131 w 327"/>
                <a:gd name="T1" fmla="*/ 0 h 377"/>
                <a:gd name="T2" fmla="*/ 105 w 327"/>
                <a:gd name="T3" fmla="*/ 7 h 377"/>
                <a:gd name="T4" fmla="*/ 83 w 327"/>
                <a:gd name="T5" fmla="*/ 17 h 377"/>
                <a:gd name="T6" fmla="*/ 74 w 327"/>
                <a:gd name="T7" fmla="*/ 22 h 377"/>
                <a:gd name="T8" fmla="*/ 61 w 327"/>
                <a:gd name="T9" fmla="*/ 40 h 377"/>
                <a:gd name="T10" fmla="*/ 56 w 327"/>
                <a:gd name="T11" fmla="*/ 44 h 377"/>
                <a:gd name="T12" fmla="*/ 52 w 327"/>
                <a:gd name="T13" fmla="*/ 55 h 377"/>
                <a:gd name="T14" fmla="*/ 37 w 327"/>
                <a:gd name="T15" fmla="*/ 64 h 377"/>
                <a:gd name="T16" fmla="*/ 13 w 327"/>
                <a:gd name="T17" fmla="*/ 82 h 377"/>
                <a:gd name="T18" fmla="*/ 6 w 327"/>
                <a:gd name="T19" fmla="*/ 85 h 377"/>
                <a:gd name="T20" fmla="*/ 0 w 327"/>
                <a:gd name="T21" fmla="*/ 103 h 377"/>
                <a:gd name="T22" fmla="*/ 5 w 327"/>
                <a:gd name="T23" fmla="*/ 105 h 377"/>
                <a:gd name="T24" fmla="*/ 22 w 327"/>
                <a:gd name="T25" fmla="*/ 117 h 377"/>
                <a:gd name="T26" fmla="*/ 26 w 327"/>
                <a:gd name="T27" fmla="*/ 139 h 377"/>
                <a:gd name="T28" fmla="*/ 25 w 327"/>
                <a:gd name="T29" fmla="*/ 152 h 377"/>
                <a:gd name="T30" fmla="*/ 23 w 327"/>
                <a:gd name="T31" fmla="*/ 154 h 377"/>
                <a:gd name="T32" fmla="*/ 21 w 327"/>
                <a:gd name="T33" fmla="*/ 151 h 377"/>
                <a:gd name="T34" fmla="*/ 15 w 327"/>
                <a:gd name="T35" fmla="*/ 151 h 377"/>
                <a:gd name="T36" fmla="*/ 13 w 327"/>
                <a:gd name="T37" fmla="*/ 157 h 377"/>
                <a:gd name="T38" fmla="*/ 11 w 327"/>
                <a:gd name="T39" fmla="*/ 160 h 377"/>
                <a:gd name="T40" fmla="*/ 10 w 327"/>
                <a:gd name="T41" fmla="*/ 164 h 377"/>
                <a:gd name="T42" fmla="*/ 10 w 327"/>
                <a:gd name="T43" fmla="*/ 177 h 377"/>
                <a:gd name="T44" fmla="*/ 11 w 327"/>
                <a:gd name="T45" fmla="*/ 185 h 377"/>
                <a:gd name="T46" fmla="*/ 14 w 327"/>
                <a:gd name="T47" fmla="*/ 192 h 377"/>
                <a:gd name="T48" fmla="*/ 16 w 327"/>
                <a:gd name="T49" fmla="*/ 213 h 377"/>
                <a:gd name="T50" fmla="*/ 26 w 327"/>
                <a:gd name="T51" fmla="*/ 245 h 377"/>
                <a:gd name="T52" fmla="*/ 45 w 327"/>
                <a:gd name="T53" fmla="*/ 309 h 377"/>
                <a:gd name="T54" fmla="*/ 51 w 327"/>
                <a:gd name="T55" fmla="*/ 321 h 377"/>
                <a:gd name="T56" fmla="*/ 60 w 327"/>
                <a:gd name="T57" fmla="*/ 332 h 377"/>
                <a:gd name="T58" fmla="*/ 68 w 327"/>
                <a:gd name="T59" fmla="*/ 344 h 377"/>
                <a:gd name="T60" fmla="*/ 84 w 327"/>
                <a:gd name="T61" fmla="*/ 356 h 377"/>
                <a:gd name="T62" fmla="*/ 106 w 327"/>
                <a:gd name="T63" fmla="*/ 361 h 377"/>
                <a:gd name="T64" fmla="*/ 180 w 327"/>
                <a:gd name="T65" fmla="*/ 350 h 377"/>
                <a:gd name="T66" fmla="*/ 196 w 327"/>
                <a:gd name="T67" fmla="*/ 346 h 377"/>
                <a:gd name="T68" fmla="*/ 216 w 327"/>
                <a:gd name="T69" fmla="*/ 346 h 377"/>
                <a:gd name="T70" fmla="*/ 242 w 327"/>
                <a:gd name="T71" fmla="*/ 348 h 377"/>
                <a:gd name="T72" fmla="*/ 258 w 327"/>
                <a:gd name="T73" fmla="*/ 350 h 377"/>
                <a:gd name="T74" fmla="*/ 272 w 327"/>
                <a:gd name="T75" fmla="*/ 361 h 377"/>
                <a:gd name="T76" fmla="*/ 327 w 327"/>
                <a:gd name="T77" fmla="*/ 377 h 377"/>
                <a:gd name="connsiteX0" fmla="*/ 3268 w 10000"/>
                <a:gd name="connsiteY0" fmla="*/ 0 h 10528"/>
                <a:gd name="connsiteX1" fmla="*/ 3211 w 10000"/>
                <a:gd name="connsiteY1" fmla="*/ 714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 name="connsiteX0" fmla="*/ 3268 w 10000"/>
                <a:gd name="connsiteY0" fmla="*/ 0 h 10528"/>
                <a:gd name="connsiteX1" fmla="*/ 3060 w 10000"/>
                <a:gd name="connsiteY1" fmla="*/ 586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000" h="10528">
                  <a:moveTo>
                    <a:pt x="3268" y="0"/>
                  </a:moveTo>
                  <a:cubicBezTo>
                    <a:pt x="2993" y="0"/>
                    <a:pt x="3335" y="506"/>
                    <a:pt x="3060" y="586"/>
                  </a:cubicBezTo>
                  <a:cubicBezTo>
                    <a:pt x="2846" y="692"/>
                    <a:pt x="2752" y="899"/>
                    <a:pt x="2538" y="979"/>
                  </a:cubicBezTo>
                  <a:cubicBezTo>
                    <a:pt x="2446" y="1032"/>
                    <a:pt x="2355" y="1059"/>
                    <a:pt x="2263" y="1112"/>
                  </a:cubicBezTo>
                  <a:cubicBezTo>
                    <a:pt x="2080" y="1244"/>
                    <a:pt x="2018" y="1456"/>
                    <a:pt x="1865" y="1589"/>
                  </a:cubicBezTo>
                  <a:cubicBezTo>
                    <a:pt x="1804" y="1642"/>
                    <a:pt x="1743" y="1669"/>
                    <a:pt x="1713" y="1695"/>
                  </a:cubicBezTo>
                  <a:cubicBezTo>
                    <a:pt x="1651" y="1775"/>
                    <a:pt x="1651" y="1881"/>
                    <a:pt x="1590" y="1987"/>
                  </a:cubicBezTo>
                  <a:cubicBezTo>
                    <a:pt x="1498" y="2120"/>
                    <a:pt x="1284" y="2146"/>
                    <a:pt x="1131" y="2226"/>
                  </a:cubicBezTo>
                  <a:cubicBezTo>
                    <a:pt x="856" y="2332"/>
                    <a:pt x="673" y="2597"/>
                    <a:pt x="398" y="2703"/>
                  </a:cubicBezTo>
                  <a:cubicBezTo>
                    <a:pt x="306" y="2730"/>
                    <a:pt x="245" y="2730"/>
                    <a:pt x="183" y="2783"/>
                  </a:cubicBezTo>
                  <a:cubicBezTo>
                    <a:pt x="31" y="2915"/>
                    <a:pt x="122" y="3127"/>
                    <a:pt x="0" y="3260"/>
                  </a:cubicBezTo>
                  <a:cubicBezTo>
                    <a:pt x="31" y="3313"/>
                    <a:pt x="92" y="3313"/>
                    <a:pt x="153" y="3313"/>
                  </a:cubicBezTo>
                  <a:cubicBezTo>
                    <a:pt x="398" y="3313"/>
                    <a:pt x="581" y="3446"/>
                    <a:pt x="673" y="3631"/>
                  </a:cubicBezTo>
                  <a:cubicBezTo>
                    <a:pt x="765" y="3817"/>
                    <a:pt x="795" y="4029"/>
                    <a:pt x="795" y="4215"/>
                  </a:cubicBezTo>
                  <a:cubicBezTo>
                    <a:pt x="795" y="4321"/>
                    <a:pt x="795" y="4427"/>
                    <a:pt x="765" y="4560"/>
                  </a:cubicBezTo>
                  <a:cubicBezTo>
                    <a:pt x="765" y="4560"/>
                    <a:pt x="734" y="4613"/>
                    <a:pt x="703" y="4613"/>
                  </a:cubicBezTo>
                  <a:cubicBezTo>
                    <a:pt x="673" y="4613"/>
                    <a:pt x="673" y="4560"/>
                    <a:pt x="642" y="4533"/>
                  </a:cubicBezTo>
                  <a:cubicBezTo>
                    <a:pt x="612" y="4480"/>
                    <a:pt x="489" y="4480"/>
                    <a:pt x="459" y="4533"/>
                  </a:cubicBezTo>
                  <a:cubicBezTo>
                    <a:pt x="428" y="4586"/>
                    <a:pt x="428" y="4639"/>
                    <a:pt x="398" y="4692"/>
                  </a:cubicBezTo>
                  <a:cubicBezTo>
                    <a:pt x="398" y="4719"/>
                    <a:pt x="336" y="4746"/>
                    <a:pt x="336" y="4772"/>
                  </a:cubicBezTo>
                  <a:cubicBezTo>
                    <a:pt x="306" y="4799"/>
                    <a:pt x="306" y="4852"/>
                    <a:pt x="306" y="4878"/>
                  </a:cubicBezTo>
                  <a:lnTo>
                    <a:pt x="306" y="5223"/>
                  </a:lnTo>
                  <a:cubicBezTo>
                    <a:pt x="306" y="5276"/>
                    <a:pt x="306" y="5356"/>
                    <a:pt x="336" y="5435"/>
                  </a:cubicBezTo>
                  <a:cubicBezTo>
                    <a:pt x="367" y="5488"/>
                    <a:pt x="398" y="5568"/>
                    <a:pt x="428" y="5621"/>
                  </a:cubicBezTo>
                  <a:cubicBezTo>
                    <a:pt x="489" y="5807"/>
                    <a:pt x="489" y="5992"/>
                    <a:pt x="489" y="6178"/>
                  </a:cubicBezTo>
                  <a:cubicBezTo>
                    <a:pt x="520" y="6470"/>
                    <a:pt x="642" y="6761"/>
                    <a:pt x="795" y="7027"/>
                  </a:cubicBezTo>
                  <a:cubicBezTo>
                    <a:pt x="1070" y="7557"/>
                    <a:pt x="1162" y="8167"/>
                    <a:pt x="1376" y="8724"/>
                  </a:cubicBezTo>
                  <a:cubicBezTo>
                    <a:pt x="1407" y="8830"/>
                    <a:pt x="1468" y="8963"/>
                    <a:pt x="1560" y="9043"/>
                  </a:cubicBezTo>
                  <a:cubicBezTo>
                    <a:pt x="1651" y="9149"/>
                    <a:pt x="1774" y="9228"/>
                    <a:pt x="1835" y="9334"/>
                  </a:cubicBezTo>
                  <a:cubicBezTo>
                    <a:pt x="1896" y="9414"/>
                    <a:pt x="2049" y="9600"/>
                    <a:pt x="2080" y="9653"/>
                  </a:cubicBezTo>
                  <a:cubicBezTo>
                    <a:pt x="2202" y="9838"/>
                    <a:pt x="2324" y="9891"/>
                    <a:pt x="2569" y="9971"/>
                  </a:cubicBezTo>
                  <a:cubicBezTo>
                    <a:pt x="2844" y="10051"/>
                    <a:pt x="2966" y="10130"/>
                    <a:pt x="3242" y="10104"/>
                  </a:cubicBezTo>
                  <a:cubicBezTo>
                    <a:pt x="3945" y="9944"/>
                    <a:pt x="4771" y="9971"/>
                    <a:pt x="5505" y="9812"/>
                  </a:cubicBezTo>
                  <a:cubicBezTo>
                    <a:pt x="5657" y="9759"/>
                    <a:pt x="5810" y="9732"/>
                    <a:pt x="5994" y="9706"/>
                  </a:cubicBezTo>
                  <a:cubicBezTo>
                    <a:pt x="6177" y="9679"/>
                    <a:pt x="6391" y="9706"/>
                    <a:pt x="6606" y="9706"/>
                  </a:cubicBezTo>
                  <a:cubicBezTo>
                    <a:pt x="6881" y="9732"/>
                    <a:pt x="7125" y="9732"/>
                    <a:pt x="7401" y="9759"/>
                  </a:cubicBezTo>
                  <a:cubicBezTo>
                    <a:pt x="7523" y="9759"/>
                    <a:pt x="7768" y="9785"/>
                    <a:pt x="7890" y="9812"/>
                  </a:cubicBezTo>
                  <a:cubicBezTo>
                    <a:pt x="7982" y="9838"/>
                    <a:pt x="8226" y="10051"/>
                    <a:pt x="8318" y="10104"/>
                  </a:cubicBezTo>
                  <a:cubicBezTo>
                    <a:pt x="8960" y="10395"/>
                    <a:pt x="9297" y="10448"/>
                    <a:pt x="10000" y="1052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6" name="Freeform 60">
              <a:extLst>
                <a:ext uri="{FF2B5EF4-FFF2-40B4-BE49-F238E27FC236}">
                  <a16:creationId xmlns:a16="http://schemas.microsoft.com/office/drawing/2014/main" id="{075C8633-B8FA-4A28-B437-BAE3EF108EF5}"/>
                </a:ext>
              </a:extLst>
            </p:cNvPr>
            <p:cNvSpPr>
              <a:spLocks/>
            </p:cNvSpPr>
            <p:nvPr/>
          </p:nvSpPr>
          <p:spPr bwMode="auto">
            <a:xfrm>
              <a:off x="10504572" y="5752876"/>
              <a:ext cx="198739" cy="279437"/>
            </a:xfrm>
            <a:custGeom>
              <a:avLst/>
              <a:gdLst>
                <a:gd name="T0" fmla="*/ 3 w 46"/>
                <a:gd name="T1" fmla="*/ 48 h 63"/>
                <a:gd name="T2" fmla="*/ 5 w 46"/>
                <a:gd name="T3" fmla="*/ 40 h 63"/>
                <a:gd name="T4" fmla="*/ 12 w 46"/>
                <a:gd name="T5" fmla="*/ 39 h 63"/>
                <a:gd name="T6" fmla="*/ 13 w 46"/>
                <a:gd name="T7" fmla="*/ 36 h 63"/>
                <a:gd name="T8" fmla="*/ 19 w 46"/>
                <a:gd name="T9" fmla="*/ 11 h 63"/>
                <a:gd name="T10" fmla="*/ 21 w 46"/>
                <a:gd name="T11" fmla="*/ 9 h 63"/>
                <a:gd name="T12" fmla="*/ 24 w 46"/>
                <a:gd name="T13" fmla="*/ 9 h 63"/>
                <a:gd name="T14" fmla="*/ 29 w 46"/>
                <a:gd name="T15" fmla="*/ 3 h 63"/>
                <a:gd name="T16" fmla="*/ 35 w 46"/>
                <a:gd name="T17" fmla="*/ 0 h 63"/>
                <a:gd name="T18" fmla="*/ 43 w 46"/>
                <a:gd name="T19" fmla="*/ 1 h 63"/>
                <a:gd name="T20" fmla="*/ 45 w 46"/>
                <a:gd name="T21" fmla="*/ 8 h 63"/>
                <a:gd name="T22" fmla="*/ 42 w 46"/>
                <a:gd name="T23" fmla="*/ 12 h 63"/>
                <a:gd name="T24" fmla="*/ 41 w 46"/>
                <a:gd name="T25" fmla="*/ 27 h 63"/>
                <a:gd name="T26" fmla="*/ 36 w 46"/>
                <a:gd name="T27" fmla="*/ 40 h 63"/>
                <a:gd name="T28" fmla="*/ 29 w 46"/>
                <a:gd name="T29" fmla="*/ 49 h 63"/>
                <a:gd name="T30" fmla="*/ 26 w 46"/>
                <a:gd name="T31" fmla="*/ 56 h 63"/>
                <a:gd name="T32" fmla="*/ 11 w 46"/>
                <a:gd name="T33" fmla="*/ 61 h 63"/>
                <a:gd name="T34" fmla="*/ 1 w 46"/>
                <a:gd name="T35" fmla="*/ 57 h 63"/>
                <a:gd name="T36" fmla="*/ 3 w 46"/>
                <a:gd name="T37" fmla="*/ 4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63">
                  <a:moveTo>
                    <a:pt x="3" y="48"/>
                  </a:moveTo>
                  <a:cubicBezTo>
                    <a:pt x="6" y="46"/>
                    <a:pt x="3" y="42"/>
                    <a:pt x="5" y="40"/>
                  </a:cubicBezTo>
                  <a:cubicBezTo>
                    <a:pt x="7" y="38"/>
                    <a:pt x="11" y="41"/>
                    <a:pt x="12" y="39"/>
                  </a:cubicBezTo>
                  <a:cubicBezTo>
                    <a:pt x="13" y="38"/>
                    <a:pt x="13" y="37"/>
                    <a:pt x="13" y="36"/>
                  </a:cubicBezTo>
                  <a:cubicBezTo>
                    <a:pt x="14" y="28"/>
                    <a:pt x="16" y="19"/>
                    <a:pt x="19" y="11"/>
                  </a:cubicBezTo>
                  <a:cubicBezTo>
                    <a:pt x="20" y="10"/>
                    <a:pt x="20" y="9"/>
                    <a:pt x="21" y="9"/>
                  </a:cubicBezTo>
                  <a:cubicBezTo>
                    <a:pt x="22" y="8"/>
                    <a:pt x="23" y="9"/>
                    <a:pt x="24" y="9"/>
                  </a:cubicBezTo>
                  <a:cubicBezTo>
                    <a:pt x="27" y="8"/>
                    <a:pt x="27" y="5"/>
                    <a:pt x="29" y="3"/>
                  </a:cubicBezTo>
                  <a:cubicBezTo>
                    <a:pt x="31" y="1"/>
                    <a:pt x="33" y="1"/>
                    <a:pt x="35" y="0"/>
                  </a:cubicBezTo>
                  <a:cubicBezTo>
                    <a:pt x="38" y="0"/>
                    <a:pt x="41" y="0"/>
                    <a:pt x="43" y="1"/>
                  </a:cubicBezTo>
                  <a:cubicBezTo>
                    <a:pt x="45" y="3"/>
                    <a:pt x="46" y="5"/>
                    <a:pt x="45" y="8"/>
                  </a:cubicBezTo>
                  <a:cubicBezTo>
                    <a:pt x="45" y="10"/>
                    <a:pt x="43" y="11"/>
                    <a:pt x="42" y="12"/>
                  </a:cubicBezTo>
                  <a:cubicBezTo>
                    <a:pt x="39" y="16"/>
                    <a:pt x="41" y="22"/>
                    <a:pt x="41" y="27"/>
                  </a:cubicBezTo>
                  <a:cubicBezTo>
                    <a:pt x="41" y="32"/>
                    <a:pt x="39" y="37"/>
                    <a:pt x="36" y="40"/>
                  </a:cubicBezTo>
                  <a:cubicBezTo>
                    <a:pt x="34" y="43"/>
                    <a:pt x="31" y="46"/>
                    <a:pt x="29" y="49"/>
                  </a:cubicBezTo>
                  <a:cubicBezTo>
                    <a:pt x="28" y="51"/>
                    <a:pt x="27" y="54"/>
                    <a:pt x="26" y="56"/>
                  </a:cubicBezTo>
                  <a:cubicBezTo>
                    <a:pt x="23" y="61"/>
                    <a:pt x="16" y="63"/>
                    <a:pt x="11" y="61"/>
                  </a:cubicBezTo>
                  <a:cubicBezTo>
                    <a:pt x="9" y="60"/>
                    <a:pt x="1" y="58"/>
                    <a:pt x="1" y="57"/>
                  </a:cubicBezTo>
                  <a:cubicBezTo>
                    <a:pt x="0" y="55"/>
                    <a:pt x="2" y="49"/>
                    <a:pt x="3" y="48"/>
                  </a:cubicBezTo>
                  <a:close/>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7" name="Freeform 61">
              <a:extLst>
                <a:ext uri="{FF2B5EF4-FFF2-40B4-BE49-F238E27FC236}">
                  <a16:creationId xmlns:a16="http://schemas.microsoft.com/office/drawing/2014/main" id="{D0BB0448-EF8C-4ECC-AB5B-D5A9ADDD4047}"/>
                </a:ext>
              </a:extLst>
            </p:cNvPr>
            <p:cNvSpPr>
              <a:spLocks/>
            </p:cNvSpPr>
            <p:nvPr/>
          </p:nvSpPr>
          <p:spPr bwMode="auto">
            <a:xfrm>
              <a:off x="10688109" y="5485237"/>
              <a:ext cx="824401" cy="677023"/>
            </a:xfrm>
            <a:custGeom>
              <a:avLst/>
              <a:gdLst>
                <a:gd name="T0" fmla="*/ 190 w 190"/>
                <a:gd name="T1" fmla="*/ 0 h 153"/>
                <a:gd name="T2" fmla="*/ 87 w 190"/>
                <a:gd name="T3" fmla="*/ 96 h 153"/>
                <a:gd name="T4" fmla="*/ 35 w 190"/>
                <a:gd name="T5" fmla="*/ 123 h 153"/>
                <a:gd name="T6" fmla="*/ 0 w 190"/>
                <a:gd name="T7" fmla="*/ 124 h 153"/>
                <a:gd name="T8" fmla="*/ 23 w 190"/>
                <a:gd name="T9" fmla="*/ 135 h 153"/>
                <a:gd name="T10" fmla="*/ 112 w 190"/>
                <a:gd name="T11" fmla="*/ 150 h 153"/>
                <a:gd name="T12" fmla="*/ 159 w 190"/>
                <a:gd name="T13" fmla="*/ 153 h 153"/>
                <a:gd name="T14" fmla="*/ 173 w 190"/>
                <a:gd name="T15" fmla="*/ 146 h 153"/>
                <a:gd name="T16" fmla="*/ 190 w 190"/>
                <a:gd name="T17" fmla="*/ 8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153">
                  <a:moveTo>
                    <a:pt x="190" y="0"/>
                  </a:moveTo>
                  <a:cubicBezTo>
                    <a:pt x="87" y="96"/>
                    <a:pt x="87" y="96"/>
                    <a:pt x="87" y="96"/>
                  </a:cubicBezTo>
                  <a:cubicBezTo>
                    <a:pt x="35" y="123"/>
                    <a:pt x="35" y="123"/>
                    <a:pt x="35" y="123"/>
                  </a:cubicBezTo>
                  <a:cubicBezTo>
                    <a:pt x="23" y="122"/>
                    <a:pt x="12" y="123"/>
                    <a:pt x="0" y="124"/>
                  </a:cubicBezTo>
                  <a:cubicBezTo>
                    <a:pt x="23" y="135"/>
                    <a:pt x="23" y="135"/>
                    <a:pt x="23" y="135"/>
                  </a:cubicBezTo>
                  <a:cubicBezTo>
                    <a:pt x="112" y="150"/>
                    <a:pt x="112" y="150"/>
                    <a:pt x="112" y="150"/>
                  </a:cubicBezTo>
                  <a:cubicBezTo>
                    <a:pt x="159" y="153"/>
                    <a:pt x="159" y="153"/>
                    <a:pt x="159" y="153"/>
                  </a:cubicBezTo>
                  <a:cubicBezTo>
                    <a:pt x="173" y="146"/>
                    <a:pt x="173" y="146"/>
                    <a:pt x="173" y="146"/>
                  </a:cubicBezTo>
                  <a:cubicBezTo>
                    <a:pt x="190" y="84"/>
                    <a:pt x="190" y="84"/>
                    <a:pt x="190" y="84"/>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8" name="Freeform 62">
              <a:extLst>
                <a:ext uri="{FF2B5EF4-FFF2-40B4-BE49-F238E27FC236}">
                  <a16:creationId xmlns:a16="http://schemas.microsoft.com/office/drawing/2014/main" id="{A6B5715B-DAB5-42E4-B1E8-152F6BBC3442}"/>
                </a:ext>
              </a:extLst>
            </p:cNvPr>
            <p:cNvSpPr>
              <a:spLocks/>
            </p:cNvSpPr>
            <p:nvPr/>
          </p:nvSpPr>
          <p:spPr bwMode="auto">
            <a:xfrm>
              <a:off x="10663135" y="6042234"/>
              <a:ext cx="869296" cy="146282"/>
            </a:xfrm>
            <a:custGeom>
              <a:avLst/>
              <a:gdLst>
                <a:gd name="T0" fmla="*/ 0 w 424"/>
                <a:gd name="T1" fmla="*/ 0 h 78"/>
                <a:gd name="T2" fmla="*/ 66 w 424"/>
                <a:gd name="T3" fmla="*/ 36 h 78"/>
                <a:gd name="T4" fmla="*/ 377 w 424"/>
                <a:gd name="T5" fmla="*/ 78 h 78"/>
                <a:gd name="T6" fmla="*/ 413 w 424"/>
                <a:gd name="T7" fmla="*/ 71 h 78"/>
                <a:gd name="T8" fmla="*/ 424 w 424"/>
                <a:gd name="T9" fmla="*/ 38 h 78"/>
              </a:gdLst>
              <a:ahLst/>
              <a:cxnLst>
                <a:cxn ang="0">
                  <a:pos x="T0" y="T1"/>
                </a:cxn>
                <a:cxn ang="0">
                  <a:pos x="T2" y="T3"/>
                </a:cxn>
                <a:cxn ang="0">
                  <a:pos x="T4" y="T5"/>
                </a:cxn>
                <a:cxn ang="0">
                  <a:pos x="T6" y="T7"/>
                </a:cxn>
                <a:cxn ang="0">
                  <a:pos x="T8" y="T9"/>
                </a:cxn>
              </a:cxnLst>
              <a:rect l="0" t="0" r="r" b="b"/>
              <a:pathLst>
                <a:path w="424" h="78">
                  <a:moveTo>
                    <a:pt x="0" y="0"/>
                  </a:moveTo>
                  <a:lnTo>
                    <a:pt x="66" y="36"/>
                  </a:lnTo>
                  <a:lnTo>
                    <a:pt x="377" y="78"/>
                  </a:lnTo>
                  <a:lnTo>
                    <a:pt x="413" y="71"/>
                  </a:lnTo>
                  <a:lnTo>
                    <a:pt x="424" y="38"/>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9" name="Freeform 63">
              <a:extLst>
                <a:ext uri="{FF2B5EF4-FFF2-40B4-BE49-F238E27FC236}">
                  <a16:creationId xmlns:a16="http://schemas.microsoft.com/office/drawing/2014/main" id="{0AA12A71-9953-4F82-A563-E7E49623C974}"/>
                </a:ext>
              </a:extLst>
            </p:cNvPr>
            <p:cNvSpPr>
              <a:spLocks/>
            </p:cNvSpPr>
            <p:nvPr/>
          </p:nvSpPr>
          <p:spPr bwMode="auto">
            <a:xfrm>
              <a:off x="10492610" y="3692914"/>
              <a:ext cx="697548" cy="2336190"/>
            </a:xfrm>
            <a:custGeom>
              <a:avLst/>
              <a:gdLst>
                <a:gd name="T0" fmla="*/ 139 w 370"/>
                <a:gd name="T1" fmla="*/ 1219 h 1219"/>
                <a:gd name="T2" fmla="*/ 189 w 370"/>
                <a:gd name="T3" fmla="*/ 1210 h 1219"/>
                <a:gd name="T4" fmla="*/ 200 w 370"/>
                <a:gd name="T5" fmla="*/ 1153 h 1219"/>
                <a:gd name="T6" fmla="*/ 196 w 370"/>
                <a:gd name="T7" fmla="*/ 1068 h 1219"/>
                <a:gd name="T8" fmla="*/ 238 w 370"/>
                <a:gd name="T9" fmla="*/ 1023 h 1219"/>
                <a:gd name="T10" fmla="*/ 257 w 370"/>
                <a:gd name="T11" fmla="*/ 917 h 1219"/>
                <a:gd name="T12" fmla="*/ 285 w 370"/>
                <a:gd name="T13" fmla="*/ 903 h 1219"/>
                <a:gd name="T14" fmla="*/ 365 w 370"/>
                <a:gd name="T15" fmla="*/ 795 h 1219"/>
                <a:gd name="T16" fmla="*/ 370 w 370"/>
                <a:gd name="T17" fmla="*/ 780 h 1219"/>
                <a:gd name="T18" fmla="*/ 370 w 370"/>
                <a:gd name="T19" fmla="*/ 769 h 1219"/>
                <a:gd name="T20" fmla="*/ 146 w 370"/>
                <a:gd name="T21" fmla="*/ 403 h 1219"/>
                <a:gd name="T22" fmla="*/ 109 w 370"/>
                <a:gd name="T23" fmla="*/ 389 h 1219"/>
                <a:gd name="T24" fmla="*/ 92 w 370"/>
                <a:gd name="T25" fmla="*/ 361 h 1219"/>
                <a:gd name="T26" fmla="*/ 104 w 370"/>
                <a:gd name="T27" fmla="*/ 306 h 1219"/>
                <a:gd name="T28" fmla="*/ 97 w 370"/>
                <a:gd name="T29" fmla="*/ 221 h 1219"/>
                <a:gd name="T30" fmla="*/ 54 w 370"/>
                <a:gd name="T31" fmla="*/ 144 h 1219"/>
                <a:gd name="T32" fmla="*/ 57 w 370"/>
                <a:gd name="T33" fmla="*/ 113 h 1219"/>
                <a:gd name="T34" fmla="*/ 0 w 370"/>
                <a:gd name="T35" fmla="*/ 0 h 1219"/>
                <a:gd name="connsiteX0" fmla="*/ 4002 w 10245"/>
                <a:gd name="connsiteY0" fmla="*/ 10219 h 10219"/>
                <a:gd name="connsiteX1" fmla="*/ 5353 w 10245"/>
                <a:gd name="connsiteY1" fmla="*/ 10145 h 10219"/>
                <a:gd name="connsiteX2" fmla="*/ 5650 w 10245"/>
                <a:gd name="connsiteY2" fmla="*/ 9678 h 10219"/>
                <a:gd name="connsiteX3" fmla="*/ 5542 w 10245"/>
                <a:gd name="connsiteY3" fmla="*/ 8980 h 10219"/>
                <a:gd name="connsiteX4" fmla="*/ 6677 w 10245"/>
                <a:gd name="connsiteY4" fmla="*/ 8611 h 10219"/>
                <a:gd name="connsiteX5" fmla="*/ 7191 w 10245"/>
                <a:gd name="connsiteY5" fmla="*/ 7742 h 10219"/>
                <a:gd name="connsiteX6" fmla="*/ 7948 w 10245"/>
                <a:gd name="connsiteY6" fmla="*/ 7627 h 10219"/>
                <a:gd name="connsiteX7" fmla="*/ 10110 w 10245"/>
                <a:gd name="connsiteY7" fmla="*/ 6741 h 10219"/>
                <a:gd name="connsiteX8" fmla="*/ 10245 w 10245"/>
                <a:gd name="connsiteY8" fmla="*/ 6618 h 10219"/>
                <a:gd name="connsiteX9" fmla="*/ 10245 w 10245"/>
                <a:gd name="connsiteY9" fmla="*/ 6527 h 10219"/>
                <a:gd name="connsiteX10" fmla="*/ 4191 w 10245"/>
                <a:gd name="connsiteY10" fmla="*/ 3525 h 10219"/>
                <a:gd name="connsiteX11" fmla="*/ 3191 w 10245"/>
                <a:gd name="connsiteY11" fmla="*/ 3410 h 10219"/>
                <a:gd name="connsiteX12" fmla="*/ 2731 w 10245"/>
                <a:gd name="connsiteY12" fmla="*/ 3180 h 10219"/>
                <a:gd name="connsiteX13" fmla="*/ 3056 w 10245"/>
                <a:gd name="connsiteY13" fmla="*/ 2729 h 10219"/>
                <a:gd name="connsiteX14" fmla="*/ 2867 w 10245"/>
                <a:gd name="connsiteY14" fmla="*/ 2032 h 10219"/>
                <a:gd name="connsiteX15" fmla="*/ 1704 w 10245"/>
                <a:gd name="connsiteY15" fmla="*/ 1400 h 10219"/>
                <a:gd name="connsiteX16" fmla="*/ 1786 w 10245"/>
                <a:gd name="connsiteY16" fmla="*/ 1146 h 10219"/>
                <a:gd name="connsiteX17" fmla="*/ 0 w 10245"/>
                <a:gd name="connsiteY17" fmla="*/ 0 h 1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45" h="10219">
                  <a:moveTo>
                    <a:pt x="4002" y="10219"/>
                  </a:moveTo>
                  <a:lnTo>
                    <a:pt x="5353" y="10145"/>
                  </a:lnTo>
                  <a:lnTo>
                    <a:pt x="5650" y="9678"/>
                  </a:lnTo>
                  <a:lnTo>
                    <a:pt x="5542" y="8980"/>
                  </a:lnTo>
                  <a:lnTo>
                    <a:pt x="6677" y="8611"/>
                  </a:lnTo>
                  <a:lnTo>
                    <a:pt x="7191" y="7742"/>
                  </a:lnTo>
                  <a:lnTo>
                    <a:pt x="7948" y="7627"/>
                  </a:lnTo>
                  <a:lnTo>
                    <a:pt x="10110" y="6741"/>
                  </a:lnTo>
                  <a:lnTo>
                    <a:pt x="10245" y="6618"/>
                  </a:lnTo>
                  <a:lnTo>
                    <a:pt x="10245" y="6527"/>
                  </a:lnTo>
                  <a:lnTo>
                    <a:pt x="4191" y="3525"/>
                  </a:lnTo>
                  <a:lnTo>
                    <a:pt x="3191" y="3410"/>
                  </a:lnTo>
                  <a:lnTo>
                    <a:pt x="2731" y="3180"/>
                  </a:lnTo>
                  <a:lnTo>
                    <a:pt x="3056" y="2729"/>
                  </a:lnTo>
                  <a:lnTo>
                    <a:pt x="2867" y="2032"/>
                  </a:lnTo>
                  <a:lnTo>
                    <a:pt x="1704" y="1400"/>
                  </a:lnTo>
                  <a:cubicBezTo>
                    <a:pt x="1731" y="1315"/>
                    <a:pt x="1759" y="1231"/>
                    <a:pt x="1786" y="1146"/>
                  </a:cubicBezTo>
                  <a:cubicBezTo>
                    <a:pt x="1272" y="837"/>
                    <a:pt x="514" y="309"/>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0" name="Freeform 64">
              <a:extLst>
                <a:ext uri="{FF2B5EF4-FFF2-40B4-BE49-F238E27FC236}">
                  <a16:creationId xmlns:a16="http://schemas.microsoft.com/office/drawing/2014/main" id="{B02B970B-8C5F-4FC4-92B6-2C3129A03DD0}"/>
                </a:ext>
              </a:extLst>
            </p:cNvPr>
            <p:cNvSpPr>
              <a:spLocks/>
            </p:cNvSpPr>
            <p:nvPr/>
          </p:nvSpPr>
          <p:spPr bwMode="auto">
            <a:xfrm>
              <a:off x="10557137" y="4043045"/>
              <a:ext cx="1045221" cy="361954"/>
            </a:xfrm>
            <a:custGeom>
              <a:avLst/>
              <a:gdLst>
                <a:gd name="T0" fmla="*/ 0 w 241"/>
                <a:gd name="T1" fmla="*/ 82 h 82"/>
                <a:gd name="T2" fmla="*/ 13 w 241"/>
                <a:gd name="T3" fmla="*/ 69 h 82"/>
                <a:gd name="T4" fmla="*/ 38 w 241"/>
                <a:gd name="T5" fmla="*/ 61 h 82"/>
                <a:gd name="T6" fmla="*/ 65 w 241"/>
                <a:gd name="T7" fmla="*/ 63 h 82"/>
                <a:gd name="T8" fmla="*/ 71 w 241"/>
                <a:gd name="T9" fmla="*/ 61 h 82"/>
                <a:gd name="T10" fmla="*/ 76 w 241"/>
                <a:gd name="T11" fmla="*/ 58 h 82"/>
                <a:gd name="T12" fmla="*/ 87 w 241"/>
                <a:gd name="T13" fmla="*/ 55 h 82"/>
                <a:gd name="T14" fmla="*/ 142 w 241"/>
                <a:gd name="T15" fmla="*/ 47 h 82"/>
                <a:gd name="T16" fmla="*/ 155 w 241"/>
                <a:gd name="T17" fmla="*/ 47 h 82"/>
                <a:gd name="T18" fmla="*/ 186 w 241"/>
                <a:gd name="T19" fmla="*/ 29 h 82"/>
                <a:gd name="T20" fmla="*/ 208 w 241"/>
                <a:gd name="T21" fmla="*/ 10 h 82"/>
                <a:gd name="T22" fmla="*/ 214 w 241"/>
                <a:gd name="T23" fmla="*/ 6 h 82"/>
                <a:gd name="T24" fmla="*/ 219 w 241"/>
                <a:gd name="T25" fmla="*/ 6 h 82"/>
                <a:gd name="T26" fmla="*/ 227 w 241"/>
                <a:gd name="T27" fmla="*/ 2 h 82"/>
                <a:gd name="T28" fmla="*/ 241 w 241"/>
                <a:gd name="T29" fmla="*/ 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1" h="82">
                  <a:moveTo>
                    <a:pt x="0" y="82"/>
                  </a:moveTo>
                  <a:cubicBezTo>
                    <a:pt x="7" y="82"/>
                    <a:pt x="9" y="74"/>
                    <a:pt x="13" y="69"/>
                  </a:cubicBezTo>
                  <a:cubicBezTo>
                    <a:pt x="19" y="62"/>
                    <a:pt x="29" y="60"/>
                    <a:pt x="38" y="61"/>
                  </a:cubicBezTo>
                  <a:cubicBezTo>
                    <a:pt x="47" y="62"/>
                    <a:pt x="56" y="64"/>
                    <a:pt x="65" y="63"/>
                  </a:cubicBezTo>
                  <a:cubicBezTo>
                    <a:pt x="67" y="62"/>
                    <a:pt x="69" y="62"/>
                    <a:pt x="71" y="61"/>
                  </a:cubicBezTo>
                  <a:cubicBezTo>
                    <a:pt x="73" y="60"/>
                    <a:pt x="75" y="59"/>
                    <a:pt x="76" y="58"/>
                  </a:cubicBezTo>
                  <a:cubicBezTo>
                    <a:pt x="80" y="57"/>
                    <a:pt x="83" y="56"/>
                    <a:pt x="87" y="55"/>
                  </a:cubicBezTo>
                  <a:cubicBezTo>
                    <a:pt x="105" y="51"/>
                    <a:pt x="124" y="47"/>
                    <a:pt x="142" y="47"/>
                  </a:cubicBezTo>
                  <a:cubicBezTo>
                    <a:pt x="146" y="47"/>
                    <a:pt x="151" y="48"/>
                    <a:pt x="155" y="47"/>
                  </a:cubicBezTo>
                  <a:cubicBezTo>
                    <a:pt x="167" y="45"/>
                    <a:pt x="177" y="37"/>
                    <a:pt x="186" y="29"/>
                  </a:cubicBezTo>
                  <a:cubicBezTo>
                    <a:pt x="193" y="23"/>
                    <a:pt x="201" y="16"/>
                    <a:pt x="208" y="10"/>
                  </a:cubicBezTo>
                  <a:cubicBezTo>
                    <a:pt x="210" y="8"/>
                    <a:pt x="212" y="7"/>
                    <a:pt x="214" y="6"/>
                  </a:cubicBezTo>
                  <a:cubicBezTo>
                    <a:pt x="216" y="6"/>
                    <a:pt x="217" y="6"/>
                    <a:pt x="219" y="6"/>
                  </a:cubicBezTo>
                  <a:cubicBezTo>
                    <a:pt x="222" y="5"/>
                    <a:pt x="224" y="2"/>
                    <a:pt x="227" y="2"/>
                  </a:cubicBezTo>
                  <a:cubicBezTo>
                    <a:pt x="233" y="0"/>
                    <a:pt x="235" y="8"/>
                    <a:pt x="241" y="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1" name="Freeform 65">
              <a:extLst>
                <a:ext uri="{FF2B5EF4-FFF2-40B4-BE49-F238E27FC236}">
                  <a16:creationId xmlns:a16="http://schemas.microsoft.com/office/drawing/2014/main" id="{8A4FC863-8A37-483F-9985-C03BA5A1B7D0}"/>
                </a:ext>
              </a:extLst>
            </p:cNvPr>
            <p:cNvSpPr>
              <a:spLocks/>
            </p:cNvSpPr>
            <p:nvPr/>
          </p:nvSpPr>
          <p:spPr bwMode="auto">
            <a:xfrm>
              <a:off x="6020684" y="2321229"/>
              <a:ext cx="1145003" cy="1252675"/>
            </a:xfrm>
            <a:custGeom>
              <a:avLst/>
              <a:gdLst>
                <a:gd name="T0" fmla="*/ 145 w 253"/>
                <a:gd name="T1" fmla="*/ 11 h 295"/>
                <a:gd name="T2" fmla="*/ 150 w 253"/>
                <a:gd name="T3" fmla="*/ 3 h 295"/>
                <a:gd name="T4" fmla="*/ 179 w 253"/>
                <a:gd name="T5" fmla="*/ 9 h 295"/>
                <a:gd name="T6" fmla="*/ 187 w 253"/>
                <a:gd name="T7" fmla="*/ 17 h 295"/>
                <a:gd name="T8" fmla="*/ 196 w 253"/>
                <a:gd name="T9" fmla="*/ 28 h 295"/>
                <a:gd name="T10" fmla="*/ 190 w 253"/>
                <a:gd name="T11" fmla="*/ 34 h 295"/>
                <a:gd name="T12" fmla="*/ 224 w 253"/>
                <a:gd name="T13" fmla="*/ 46 h 295"/>
                <a:gd name="T14" fmla="*/ 232 w 253"/>
                <a:gd name="T15" fmla="*/ 45 h 295"/>
                <a:gd name="T16" fmla="*/ 234 w 253"/>
                <a:gd name="T17" fmla="*/ 52 h 295"/>
                <a:gd name="T18" fmla="*/ 231 w 253"/>
                <a:gd name="T19" fmla="*/ 68 h 295"/>
                <a:gd name="T20" fmla="*/ 237 w 253"/>
                <a:gd name="T21" fmla="*/ 77 h 295"/>
                <a:gd name="T22" fmla="*/ 237 w 253"/>
                <a:gd name="T23" fmla="*/ 90 h 295"/>
                <a:gd name="T24" fmla="*/ 241 w 253"/>
                <a:gd name="T25" fmla="*/ 95 h 295"/>
                <a:gd name="T26" fmla="*/ 253 w 253"/>
                <a:gd name="T27" fmla="*/ 122 h 295"/>
                <a:gd name="T28" fmla="*/ 245 w 253"/>
                <a:gd name="T29" fmla="*/ 130 h 295"/>
                <a:gd name="T30" fmla="*/ 241 w 253"/>
                <a:gd name="T31" fmla="*/ 129 h 295"/>
                <a:gd name="T32" fmla="*/ 236 w 253"/>
                <a:gd name="T33" fmla="*/ 135 h 295"/>
                <a:gd name="T34" fmla="*/ 215 w 253"/>
                <a:gd name="T35" fmla="*/ 138 h 295"/>
                <a:gd name="T36" fmla="*/ 212 w 253"/>
                <a:gd name="T37" fmla="*/ 134 h 295"/>
                <a:gd name="T38" fmla="*/ 205 w 253"/>
                <a:gd name="T39" fmla="*/ 132 h 295"/>
                <a:gd name="T40" fmla="*/ 200 w 253"/>
                <a:gd name="T41" fmla="*/ 128 h 295"/>
                <a:gd name="T42" fmla="*/ 192 w 253"/>
                <a:gd name="T43" fmla="*/ 128 h 295"/>
                <a:gd name="T44" fmla="*/ 190 w 253"/>
                <a:gd name="T45" fmla="*/ 136 h 295"/>
                <a:gd name="T46" fmla="*/ 183 w 253"/>
                <a:gd name="T47" fmla="*/ 139 h 295"/>
                <a:gd name="T48" fmla="*/ 176 w 253"/>
                <a:gd name="T49" fmla="*/ 136 h 295"/>
                <a:gd name="T50" fmla="*/ 164 w 253"/>
                <a:gd name="T51" fmla="*/ 138 h 295"/>
                <a:gd name="T52" fmla="*/ 157 w 253"/>
                <a:gd name="T53" fmla="*/ 140 h 295"/>
                <a:gd name="T54" fmla="*/ 137 w 253"/>
                <a:gd name="T55" fmla="*/ 147 h 295"/>
                <a:gd name="T56" fmla="*/ 137 w 253"/>
                <a:gd name="T57" fmla="*/ 152 h 295"/>
                <a:gd name="T58" fmla="*/ 120 w 253"/>
                <a:gd name="T59" fmla="*/ 165 h 295"/>
                <a:gd name="T60" fmla="*/ 115 w 253"/>
                <a:gd name="T61" fmla="*/ 166 h 295"/>
                <a:gd name="T62" fmla="*/ 108 w 253"/>
                <a:gd name="T63" fmla="*/ 169 h 295"/>
                <a:gd name="T64" fmla="*/ 98 w 253"/>
                <a:gd name="T65" fmla="*/ 186 h 295"/>
                <a:gd name="T66" fmla="*/ 108 w 253"/>
                <a:gd name="T67" fmla="*/ 185 h 295"/>
                <a:gd name="T68" fmla="*/ 111 w 253"/>
                <a:gd name="T69" fmla="*/ 204 h 295"/>
                <a:gd name="T70" fmla="*/ 134 w 253"/>
                <a:gd name="T71" fmla="*/ 224 h 295"/>
                <a:gd name="T72" fmla="*/ 137 w 253"/>
                <a:gd name="T73" fmla="*/ 235 h 295"/>
                <a:gd name="T74" fmla="*/ 139 w 253"/>
                <a:gd name="T75" fmla="*/ 295 h 295"/>
                <a:gd name="T76" fmla="*/ 67 w 253"/>
                <a:gd name="T77" fmla="*/ 274 h 295"/>
                <a:gd name="T78" fmla="*/ 80 w 253"/>
                <a:gd name="T79" fmla="*/ 259 h 295"/>
                <a:gd name="T80" fmla="*/ 67 w 253"/>
                <a:gd name="T81" fmla="*/ 246 h 295"/>
                <a:gd name="T82" fmla="*/ 37 w 253"/>
                <a:gd name="T83" fmla="*/ 219 h 295"/>
                <a:gd name="T84" fmla="*/ 32 w 253"/>
                <a:gd name="T85" fmla="*/ 212 h 295"/>
                <a:gd name="T86" fmla="*/ 27 w 253"/>
                <a:gd name="T87" fmla="*/ 209 h 295"/>
                <a:gd name="T88" fmla="*/ 26 w 253"/>
                <a:gd name="T89" fmla="*/ 202 h 295"/>
                <a:gd name="T90" fmla="*/ 16 w 253"/>
                <a:gd name="T91" fmla="*/ 197 h 295"/>
                <a:gd name="T92" fmla="*/ 16 w 253"/>
                <a:gd name="T93" fmla="*/ 207 h 295"/>
                <a:gd name="T94" fmla="*/ 5 w 253"/>
                <a:gd name="T95" fmla="*/ 207 h 295"/>
                <a:gd name="T96" fmla="*/ 1 w 253"/>
                <a:gd name="T97" fmla="*/ 218 h 295"/>
                <a:gd name="connsiteX0" fmla="*/ 6171 w 10440"/>
                <a:gd name="connsiteY0" fmla="*/ 317 h 9944"/>
                <a:gd name="connsiteX1" fmla="*/ 6369 w 10440"/>
                <a:gd name="connsiteY1" fmla="*/ 46 h 9944"/>
                <a:gd name="connsiteX2" fmla="*/ 7515 w 10440"/>
                <a:gd name="connsiteY2" fmla="*/ 249 h 9944"/>
                <a:gd name="connsiteX3" fmla="*/ 7831 w 10440"/>
                <a:gd name="connsiteY3" fmla="*/ 520 h 9944"/>
                <a:gd name="connsiteX4" fmla="*/ 8187 w 10440"/>
                <a:gd name="connsiteY4" fmla="*/ 893 h 9944"/>
                <a:gd name="connsiteX5" fmla="*/ 7950 w 10440"/>
                <a:gd name="connsiteY5" fmla="*/ 1097 h 9944"/>
                <a:gd name="connsiteX6" fmla="*/ 9294 w 10440"/>
                <a:gd name="connsiteY6" fmla="*/ 1503 h 9944"/>
                <a:gd name="connsiteX7" fmla="*/ 9610 w 10440"/>
                <a:gd name="connsiteY7" fmla="*/ 1469 h 9944"/>
                <a:gd name="connsiteX8" fmla="*/ 9689 w 10440"/>
                <a:gd name="connsiteY8" fmla="*/ 1707 h 9944"/>
                <a:gd name="connsiteX9" fmla="*/ 9570 w 10440"/>
                <a:gd name="connsiteY9" fmla="*/ 2249 h 9944"/>
                <a:gd name="connsiteX10" fmla="*/ 9808 w 10440"/>
                <a:gd name="connsiteY10" fmla="*/ 2554 h 9944"/>
                <a:gd name="connsiteX11" fmla="*/ 9808 w 10440"/>
                <a:gd name="connsiteY11" fmla="*/ 2995 h 9944"/>
                <a:gd name="connsiteX12" fmla="*/ 9966 w 10440"/>
                <a:gd name="connsiteY12" fmla="*/ 3164 h 9944"/>
                <a:gd name="connsiteX13" fmla="*/ 10440 w 10440"/>
                <a:gd name="connsiteY13" fmla="*/ 4080 h 9944"/>
                <a:gd name="connsiteX14" fmla="*/ 10124 w 10440"/>
                <a:gd name="connsiteY14" fmla="*/ 4351 h 9944"/>
                <a:gd name="connsiteX15" fmla="*/ 9966 w 10440"/>
                <a:gd name="connsiteY15" fmla="*/ 4317 h 9944"/>
                <a:gd name="connsiteX16" fmla="*/ 9768 w 10440"/>
                <a:gd name="connsiteY16" fmla="*/ 4520 h 9944"/>
                <a:gd name="connsiteX17" fmla="*/ 8938 w 10440"/>
                <a:gd name="connsiteY17" fmla="*/ 4622 h 9944"/>
                <a:gd name="connsiteX18" fmla="*/ 8819 w 10440"/>
                <a:gd name="connsiteY18" fmla="*/ 4486 h 9944"/>
                <a:gd name="connsiteX19" fmla="*/ 8543 w 10440"/>
                <a:gd name="connsiteY19" fmla="*/ 4419 h 9944"/>
                <a:gd name="connsiteX20" fmla="*/ 8345 w 10440"/>
                <a:gd name="connsiteY20" fmla="*/ 4283 h 9944"/>
                <a:gd name="connsiteX21" fmla="*/ 8029 w 10440"/>
                <a:gd name="connsiteY21" fmla="*/ 4283 h 9944"/>
                <a:gd name="connsiteX22" fmla="*/ 7950 w 10440"/>
                <a:gd name="connsiteY22" fmla="*/ 4554 h 9944"/>
                <a:gd name="connsiteX23" fmla="*/ 7673 w 10440"/>
                <a:gd name="connsiteY23" fmla="*/ 4656 h 9944"/>
                <a:gd name="connsiteX24" fmla="*/ 7397 w 10440"/>
                <a:gd name="connsiteY24" fmla="*/ 4554 h 9944"/>
                <a:gd name="connsiteX25" fmla="*/ 6922 w 10440"/>
                <a:gd name="connsiteY25" fmla="*/ 4622 h 9944"/>
                <a:gd name="connsiteX26" fmla="*/ 6646 w 10440"/>
                <a:gd name="connsiteY26" fmla="*/ 4690 h 9944"/>
                <a:gd name="connsiteX27" fmla="*/ 5855 w 10440"/>
                <a:gd name="connsiteY27" fmla="*/ 4927 h 9944"/>
                <a:gd name="connsiteX28" fmla="*/ 5855 w 10440"/>
                <a:gd name="connsiteY28" fmla="*/ 5097 h 9944"/>
                <a:gd name="connsiteX29" fmla="*/ 5183 w 10440"/>
                <a:gd name="connsiteY29" fmla="*/ 5537 h 9944"/>
                <a:gd name="connsiteX30" fmla="*/ 4985 w 10440"/>
                <a:gd name="connsiteY30" fmla="*/ 5571 h 9944"/>
                <a:gd name="connsiteX31" fmla="*/ 4709 w 10440"/>
                <a:gd name="connsiteY31" fmla="*/ 5673 h 9944"/>
                <a:gd name="connsiteX32" fmla="*/ 4314 w 10440"/>
                <a:gd name="connsiteY32" fmla="*/ 6249 h 9944"/>
                <a:gd name="connsiteX33" fmla="*/ 4709 w 10440"/>
                <a:gd name="connsiteY33" fmla="*/ 6215 h 9944"/>
                <a:gd name="connsiteX34" fmla="*/ 4827 w 10440"/>
                <a:gd name="connsiteY34" fmla="*/ 6859 h 9944"/>
                <a:gd name="connsiteX35" fmla="*/ 5736 w 10440"/>
                <a:gd name="connsiteY35" fmla="*/ 7537 h 9944"/>
                <a:gd name="connsiteX36" fmla="*/ 5855 w 10440"/>
                <a:gd name="connsiteY36" fmla="*/ 7910 h 9944"/>
                <a:gd name="connsiteX37" fmla="*/ 5934 w 10440"/>
                <a:gd name="connsiteY37" fmla="*/ 9944 h 9944"/>
                <a:gd name="connsiteX38" fmla="*/ 3088 w 10440"/>
                <a:gd name="connsiteY38" fmla="*/ 9232 h 9944"/>
                <a:gd name="connsiteX39" fmla="*/ 3602 w 10440"/>
                <a:gd name="connsiteY39" fmla="*/ 8724 h 9944"/>
                <a:gd name="connsiteX40" fmla="*/ 3088 w 10440"/>
                <a:gd name="connsiteY40" fmla="*/ 8283 h 9944"/>
                <a:gd name="connsiteX41" fmla="*/ 1902 w 10440"/>
                <a:gd name="connsiteY41" fmla="*/ 7368 h 9944"/>
                <a:gd name="connsiteX42" fmla="*/ 1705 w 10440"/>
                <a:gd name="connsiteY42" fmla="*/ 7130 h 9944"/>
                <a:gd name="connsiteX43" fmla="*/ 1507 w 10440"/>
                <a:gd name="connsiteY43" fmla="*/ 7029 h 9944"/>
                <a:gd name="connsiteX44" fmla="*/ 1468 w 10440"/>
                <a:gd name="connsiteY44" fmla="*/ 6791 h 9944"/>
                <a:gd name="connsiteX45" fmla="*/ 1072 w 10440"/>
                <a:gd name="connsiteY45" fmla="*/ 6622 h 9944"/>
                <a:gd name="connsiteX46" fmla="*/ 1072 w 10440"/>
                <a:gd name="connsiteY46" fmla="*/ 6961 h 9944"/>
                <a:gd name="connsiteX47" fmla="*/ 638 w 10440"/>
                <a:gd name="connsiteY47" fmla="*/ 6961 h 9944"/>
                <a:gd name="connsiteX48" fmla="*/ 2 w 10440"/>
                <a:gd name="connsiteY48" fmla="*/ 7042 h 9944"/>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1027 w 10000"/>
                <a:gd name="connsiteY46" fmla="*/ 7000 h 10000"/>
                <a:gd name="connsiteX47" fmla="*/ 528 w 10000"/>
                <a:gd name="connsiteY47" fmla="*/ 6817 h 10000"/>
                <a:gd name="connsiteX48" fmla="*/ 2 w 10000"/>
                <a:gd name="connsiteY48" fmla="*/ 7082 h 10000"/>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902 w 10000"/>
                <a:gd name="connsiteY46" fmla="*/ 6688 h 10000"/>
                <a:gd name="connsiteX47" fmla="*/ 528 w 10000"/>
                <a:gd name="connsiteY47" fmla="*/ 6817 h 10000"/>
                <a:gd name="connsiteX48" fmla="*/ 2 w 10000"/>
                <a:gd name="connsiteY48" fmla="*/ 7082 h 10000"/>
                <a:gd name="connsiteX0" fmla="*/ 5911 w 10000"/>
                <a:gd name="connsiteY0" fmla="*/ 319 h 9651"/>
                <a:gd name="connsiteX1" fmla="*/ 6101 w 10000"/>
                <a:gd name="connsiteY1" fmla="*/ 46 h 9651"/>
                <a:gd name="connsiteX2" fmla="*/ 7198 w 10000"/>
                <a:gd name="connsiteY2" fmla="*/ 250 h 9651"/>
                <a:gd name="connsiteX3" fmla="*/ 7501 w 10000"/>
                <a:gd name="connsiteY3" fmla="*/ 523 h 9651"/>
                <a:gd name="connsiteX4" fmla="*/ 7842 w 10000"/>
                <a:gd name="connsiteY4" fmla="*/ 898 h 9651"/>
                <a:gd name="connsiteX5" fmla="*/ 7615 w 10000"/>
                <a:gd name="connsiteY5" fmla="*/ 1103 h 9651"/>
                <a:gd name="connsiteX6" fmla="*/ 8902 w 10000"/>
                <a:gd name="connsiteY6" fmla="*/ 1511 h 9651"/>
                <a:gd name="connsiteX7" fmla="*/ 9205 w 10000"/>
                <a:gd name="connsiteY7" fmla="*/ 1477 h 9651"/>
                <a:gd name="connsiteX8" fmla="*/ 9281 w 10000"/>
                <a:gd name="connsiteY8" fmla="*/ 1717 h 9651"/>
                <a:gd name="connsiteX9" fmla="*/ 9167 w 10000"/>
                <a:gd name="connsiteY9" fmla="*/ 2262 h 9651"/>
                <a:gd name="connsiteX10" fmla="*/ 9395 w 10000"/>
                <a:gd name="connsiteY10" fmla="*/ 2568 h 9651"/>
                <a:gd name="connsiteX11" fmla="*/ 9395 w 10000"/>
                <a:gd name="connsiteY11" fmla="*/ 3012 h 9651"/>
                <a:gd name="connsiteX12" fmla="*/ 9546 w 10000"/>
                <a:gd name="connsiteY12" fmla="*/ 3182 h 9651"/>
                <a:gd name="connsiteX13" fmla="*/ 10000 w 10000"/>
                <a:gd name="connsiteY13" fmla="*/ 4103 h 9651"/>
                <a:gd name="connsiteX14" fmla="*/ 9697 w 10000"/>
                <a:gd name="connsiteY14" fmla="*/ 4376 h 9651"/>
                <a:gd name="connsiteX15" fmla="*/ 9546 w 10000"/>
                <a:gd name="connsiteY15" fmla="*/ 4341 h 9651"/>
                <a:gd name="connsiteX16" fmla="*/ 9356 w 10000"/>
                <a:gd name="connsiteY16" fmla="*/ 4545 h 9651"/>
                <a:gd name="connsiteX17" fmla="*/ 8561 w 10000"/>
                <a:gd name="connsiteY17" fmla="*/ 4648 h 9651"/>
                <a:gd name="connsiteX18" fmla="*/ 8447 w 10000"/>
                <a:gd name="connsiteY18" fmla="*/ 4511 h 9651"/>
                <a:gd name="connsiteX19" fmla="*/ 8183 w 10000"/>
                <a:gd name="connsiteY19" fmla="*/ 4444 h 9651"/>
                <a:gd name="connsiteX20" fmla="*/ 7993 w 10000"/>
                <a:gd name="connsiteY20" fmla="*/ 4307 h 9651"/>
                <a:gd name="connsiteX21" fmla="*/ 7691 w 10000"/>
                <a:gd name="connsiteY21" fmla="*/ 4307 h 9651"/>
                <a:gd name="connsiteX22" fmla="*/ 7615 w 10000"/>
                <a:gd name="connsiteY22" fmla="*/ 4580 h 9651"/>
                <a:gd name="connsiteX23" fmla="*/ 7350 w 10000"/>
                <a:gd name="connsiteY23" fmla="*/ 4682 h 9651"/>
                <a:gd name="connsiteX24" fmla="*/ 7085 w 10000"/>
                <a:gd name="connsiteY24" fmla="*/ 4580 h 9651"/>
                <a:gd name="connsiteX25" fmla="*/ 6630 w 10000"/>
                <a:gd name="connsiteY25" fmla="*/ 4648 h 9651"/>
                <a:gd name="connsiteX26" fmla="*/ 6366 w 10000"/>
                <a:gd name="connsiteY26" fmla="*/ 4716 h 9651"/>
                <a:gd name="connsiteX27" fmla="*/ 5608 w 10000"/>
                <a:gd name="connsiteY27" fmla="*/ 4955 h 9651"/>
                <a:gd name="connsiteX28" fmla="*/ 5608 w 10000"/>
                <a:gd name="connsiteY28" fmla="*/ 5126 h 9651"/>
                <a:gd name="connsiteX29" fmla="*/ 4965 w 10000"/>
                <a:gd name="connsiteY29" fmla="*/ 5568 h 9651"/>
                <a:gd name="connsiteX30" fmla="*/ 4775 w 10000"/>
                <a:gd name="connsiteY30" fmla="*/ 5602 h 9651"/>
                <a:gd name="connsiteX31" fmla="*/ 4511 w 10000"/>
                <a:gd name="connsiteY31" fmla="*/ 5705 h 9651"/>
                <a:gd name="connsiteX32" fmla="*/ 4132 w 10000"/>
                <a:gd name="connsiteY32" fmla="*/ 6284 h 9651"/>
                <a:gd name="connsiteX33" fmla="*/ 4511 w 10000"/>
                <a:gd name="connsiteY33" fmla="*/ 6250 h 9651"/>
                <a:gd name="connsiteX34" fmla="*/ 4624 w 10000"/>
                <a:gd name="connsiteY34" fmla="*/ 6898 h 9651"/>
                <a:gd name="connsiteX35" fmla="*/ 5494 w 10000"/>
                <a:gd name="connsiteY35" fmla="*/ 7579 h 9651"/>
                <a:gd name="connsiteX36" fmla="*/ 5608 w 10000"/>
                <a:gd name="connsiteY36" fmla="*/ 7955 h 9651"/>
                <a:gd name="connsiteX37" fmla="*/ 5726 w 10000"/>
                <a:gd name="connsiteY37" fmla="*/ 9651 h 9651"/>
                <a:gd name="connsiteX38" fmla="*/ 2958 w 10000"/>
                <a:gd name="connsiteY38" fmla="*/ 9284 h 9651"/>
                <a:gd name="connsiteX39" fmla="*/ 3450 w 10000"/>
                <a:gd name="connsiteY39" fmla="*/ 8773 h 9651"/>
                <a:gd name="connsiteX40" fmla="*/ 2958 w 10000"/>
                <a:gd name="connsiteY40" fmla="*/ 8330 h 9651"/>
                <a:gd name="connsiteX41" fmla="*/ 1822 w 10000"/>
                <a:gd name="connsiteY41" fmla="*/ 7409 h 9651"/>
                <a:gd name="connsiteX42" fmla="*/ 1633 w 10000"/>
                <a:gd name="connsiteY42" fmla="*/ 7170 h 9651"/>
                <a:gd name="connsiteX43" fmla="*/ 1443 w 10000"/>
                <a:gd name="connsiteY43" fmla="*/ 7069 h 9651"/>
                <a:gd name="connsiteX44" fmla="*/ 1406 w 10000"/>
                <a:gd name="connsiteY44" fmla="*/ 6829 h 9651"/>
                <a:gd name="connsiteX45" fmla="*/ 1027 w 10000"/>
                <a:gd name="connsiteY45" fmla="*/ 6659 h 9651"/>
                <a:gd name="connsiteX46" fmla="*/ 902 w 10000"/>
                <a:gd name="connsiteY46" fmla="*/ 6688 h 9651"/>
                <a:gd name="connsiteX47" fmla="*/ 528 w 10000"/>
                <a:gd name="connsiteY47" fmla="*/ 6817 h 9651"/>
                <a:gd name="connsiteX48" fmla="*/ 2 w 10000"/>
                <a:gd name="connsiteY48" fmla="*/ 7082 h 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000" h="9651">
                  <a:moveTo>
                    <a:pt x="5911" y="319"/>
                  </a:moveTo>
                  <a:cubicBezTo>
                    <a:pt x="5987" y="216"/>
                    <a:pt x="6062" y="148"/>
                    <a:pt x="6101" y="46"/>
                  </a:cubicBezTo>
                  <a:cubicBezTo>
                    <a:pt x="6479" y="-56"/>
                    <a:pt x="6933" y="12"/>
                    <a:pt x="7198" y="250"/>
                  </a:cubicBezTo>
                  <a:cubicBezTo>
                    <a:pt x="7312" y="319"/>
                    <a:pt x="7425" y="421"/>
                    <a:pt x="7501" y="523"/>
                  </a:cubicBezTo>
                  <a:cubicBezTo>
                    <a:pt x="7615" y="660"/>
                    <a:pt x="7728" y="762"/>
                    <a:pt x="7842" y="898"/>
                  </a:cubicBezTo>
                  <a:cubicBezTo>
                    <a:pt x="7728" y="898"/>
                    <a:pt x="7615" y="1001"/>
                    <a:pt x="7615" y="1103"/>
                  </a:cubicBezTo>
                  <a:cubicBezTo>
                    <a:pt x="8069" y="1171"/>
                    <a:pt x="8447" y="1648"/>
                    <a:pt x="8902" y="1511"/>
                  </a:cubicBezTo>
                  <a:cubicBezTo>
                    <a:pt x="8978" y="1477"/>
                    <a:pt x="9091" y="1444"/>
                    <a:pt x="9205" y="1477"/>
                  </a:cubicBezTo>
                  <a:cubicBezTo>
                    <a:pt x="9281" y="1546"/>
                    <a:pt x="9281" y="1614"/>
                    <a:pt x="9281" y="1717"/>
                  </a:cubicBezTo>
                  <a:cubicBezTo>
                    <a:pt x="9281" y="1887"/>
                    <a:pt x="9242" y="2092"/>
                    <a:pt x="9167" y="2262"/>
                  </a:cubicBezTo>
                  <a:cubicBezTo>
                    <a:pt x="9319" y="2227"/>
                    <a:pt x="9432" y="2433"/>
                    <a:pt x="9395" y="2568"/>
                  </a:cubicBezTo>
                  <a:cubicBezTo>
                    <a:pt x="9395" y="2739"/>
                    <a:pt x="9319" y="2875"/>
                    <a:pt x="9395" y="3012"/>
                  </a:cubicBezTo>
                  <a:cubicBezTo>
                    <a:pt x="9395" y="3080"/>
                    <a:pt x="9470" y="3148"/>
                    <a:pt x="9546" y="3182"/>
                  </a:cubicBezTo>
                  <a:cubicBezTo>
                    <a:pt x="9773" y="3421"/>
                    <a:pt x="9962" y="3762"/>
                    <a:pt x="10000" y="4103"/>
                  </a:cubicBezTo>
                  <a:cubicBezTo>
                    <a:pt x="9849" y="4035"/>
                    <a:pt x="9849" y="4341"/>
                    <a:pt x="9697" y="4376"/>
                  </a:cubicBezTo>
                  <a:cubicBezTo>
                    <a:pt x="9659" y="4376"/>
                    <a:pt x="9622" y="4341"/>
                    <a:pt x="9546" y="4341"/>
                  </a:cubicBezTo>
                  <a:cubicBezTo>
                    <a:pt x="9432" y="4341"/>
                    <a:pt x="9395" y="4477"/>
                    <a:pt x="9356" y="4545"/>
                  </a:cubicBezTo>
                  <a:cubicBezTo>
                    <a:pt x="9242" y="4852"/>
                    <a:pt x="8751" y="4886"/>
                    <a:pt x="8561" y="4648"/>
                  </a:cubicBezTo>
                  <a:cubicBezTo>
                    <a:pt x="8523" y="4580"/>
                    <a:pt x="8486" y="4545"/>
                    <a:pt x="8447" y="4511"/>
                  </a:cubicBezTo>
                  <a:cubicBezTo>
                    <a:pt x="8372" y="4444"/>
                    <a:pt x="8259" y="4477"/>
                    <a:pt x="8183" y="4444"/>
                  </a:cubicBezTo>
                  <a:cubicBezTo>
                    <a:pt x="8069" y="4444"/>
                    <a:pt x="7956" y="4376"/>
                    <a:pt x="7993" y="4307"/>
                  </a:cubicBezTo>
                  <a:cubicBezTo>
                    <a:pt x="7918" y="4239"/>
                    <a:pt x="7766" y="4239"/>
                    <a:pt x="7691" y="4307"/>
                  </a:cubicBezTo>
                  <a:cubicBezTo>
                    <a:pt x="7577" y="4376"/>
                    <a:pt x="7539" y="4511"/>
                    <a:pt x="7615" y="4580"/>
                  </a:cubicBezTo>
                  <a:cubicBezTo>
                    <a:pt x="7577" y="4682"/>
                    <a:pt x="7464" y="4716"/>
                    <a:pt x="7350" y="4682"/>
                  </a:cubicBezTo>
                  <a:cubicBezTo>
                    <a:pt x="7274" y="4682"/>
                    <a:pt x="7161" y="4614"/>
                    <a:pt x="7085" y="4580"/>
                  </a:cubicBezTo>
                  <a:cubicBezTo>
                    <a:pt x="6933" y="4545"/>
                    <a:pt x="6782" y="4580"/>
                    <a:pt x="6630" y="4648"/>
                  </a:cubicBezTo>
                  <a:cubicBezTo>
                    <a:pt x="6555" y="4682"/>
                    <a:pt x="6479" y="4682"/>
                    <a:pt x="6366" y="4716"/>
                  </a:cubicBezTo>
                  <a:cubicBezTo>
                    <a:pt x="6138" y="4785"/>
                    <a:pt x="5874" y="4886"/>
                    <a:pt x="5608" y="4955"/>
                  </a:cubicBezTo>
                  <a:lnTo>
                    <a:pt x="5608" y="5126"/>
                  </a:lnTo>
                  <a:cubicBezTo>
                    <a:pt x="5343" y="5057"/>
                    <a:pt x="5230" y="5500"/>
                    <a:pt x="4965" y="5568"/>
                  </a:cubicBezTo>
                  <a:cubicBezTo>
                    <a:pt x="4927" y="5602"/>
                    <a:pt x="4852" y="5602"/>
                    <a:pt x="4775" y="5602"/>
                  </a:cubicBezTo>
                  <a:cubicBezTo>
                    <a:pt x="4699" y="5637"/>
                    <a:pt x="4624" y="5671"/>
                    <a:pt x="4511" y="5705"/>
                  </a:cubicBezTo>
                  <a:cubicBezTo>
                    <a:pt x="4284" y="5808"/>
                    <a:pt x="4018" y="6046"/>
                    <a:pt x="4132" y="6284"/>
                  </a:cubicBezTo>
                  <a:cubicBezTo>
                    <a:pt x="4245" y="6250"/>
                    <a:pt x="4397" y="6250"/>
                    <a:pt x="4511" y="6250"/>
                  </a:cubicBezTo>
                  <a:cubicBezTo>
                    <a:pt x="4435" y="6455"/>
                    <a:pt x="4472" y="6728"/>
                    <a:pt x="4624" y="6898"/>
                  </a:cubicBezTo>
                  <a:cubicBezTo>
                    <a:pt x="4852" y="7170"/>
                    <a:pt x="5306" y="7273"/>
                    <a:pt x="5494" y="7579"/>
                  </a:cubicBezTo>
                  <a:cubicBezTo>
                    <a:pt x="5570" y="7682"/>
                    <a:pt x="5570" y="7819"/>
                    <a:pt x="5608" y="7955"/>
                  </a:cubicBezTo>
                  <a:cubicBezTo>
                    <a:pt x="5647" y="8636"/>
                    <a:pt x="5726" y="8969"/>
                    <a:pt x="5726" y="9651"/>
                  </a:cubicBezTo>
                  <a:lnTo>
                    <a:pt x="2958" y="9284"/>
                  </a:lnTo>
                  <a:cubicBezTo>
                    <a:pt x="3185" y="9148"/>
                    <a:pt x="3450" y="9011"/>
                    <a:pt x="3450" y="8773"/>
                  </a:cubicBezTo>
                  <a:cubicBezTo>
                    <a:pt x="3413" y="8568"/>
                    <a:pt x="3185" y="8432"/>
                    <a:pt x="2958" y="8330"/>
                  </a:cubicBezTo>
                  <a:cubicBezTo>
                    <a:pt x="2504" y="8091"/>
                    <a:pt x="2011" y="7852"/>
                    <a:pt x="1822" y="7409"/>
                  </a:cubicBezTo>
                  <a:cubicBezTo>
                    <a:pt x="1784" y="7307"/>
                    <a:pt x="1746" y="7204"/>
                    <a:pt x="1633" y="7170"/>
                  </a:cubicBezTo>
                  <a:cubicBezTo>
                    <a:pt x="1595" y="7137"/>
                    <a:pt x="1482" y="7103"/>
                    <a:pt x="1443" y="7069"/>
                  </a:cubicBezTo>
                  <a:cubicBezTo>
                    <a:pt x="1406" y="7000"/>
                    <a:pt x="1406" y="6932"/>
                    <a:pt x="1406" y="6829"/>
                  </a:cubicBezTo>
                  <a:cubicBezTo>
                    <a:pt x="1368" y="6693"/>
                    <a:pt x="1111" y="6683"/>
                    <a:pt x="1027" y="6659"/>
                  </a:cubicBezTo>
                  <a:cubicBezTo>
                    <a:pt x="943" y="6636"/>
                    <a:pt x="944" y="6678"/>
                    <a:pt x="902" y="6688"/>
                  </a:cubicBezTo>
                  <a:cubicBezTo>
                    <a:pt x="789" y="6620"/>
                    <a:pt x="641" y="6715"/>
                    <a:pt x="528" y="6817"/>
                  </a:cubicBezTo>
                  <a:cubicBezTo>
                    <a:pt x="377" y="6886"/>
                    <a:pt x="-36" y="6945"/>
                    <a:pt x="2" y="708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2" name="Freeform 66">
              <a:extLst>
                <a:ext uri="{FF2B5EF4-FFF2-40B4-BE49-F238E27FC236}">
                  <a16:creationId xmlns:a16="http://schemas.microsoft.com/office/drawing/2014/main" id="{44E4BEFE-1F85-4DA9-9E28-65BF02273435}"/>
                </a:ext>
              </a:extLst>
            </p:cNvPr>
            <p:cNvSpPr>
              <a:spLocks/>
            </p:cNvSpPr>
            <p:nvPr/>
          </p:nvSpPr>
          <p:spPr bwMode="auto">
            <a:xfrm>
              <a:off x="6171991" y="3011570"/>
              <a:ext cx="18402" cy="181916"/>
            </a:xfrm>
            <a:custGeom>
              <a:avLst/>
              <a:gdLst>
                <a:gd name="T0" fmla="*/ 0 w 4"/>
                <a:gd name="T1" fmla="*/ 0 h 41"/>
                <a:gd name="T2" fmla="*/ 2 w 4"/>
                <a:gd name="T3" fmla="*/ 27 h 41"/>
                <a:gd name="T4" fmla="*/ 3 w 4"/>
                <a:gd name="T5" fmla="*/ 32 h 41"/>
                <a:gd name="T6" fmla="*/ 0 w 4"/>
                <a:gd name="T7" fmla="*/ 41 h 41"/>
              </a:gdLst>
              <a:ahLst/>
              <a:cxnLst>
                <a:cxn ang="0">
                  <a:pos x="T0" y="T1"/>
                </a:cxn>
                <a:cxn ang="0">
                  <a:pos x="T2" y="T3"/>
                </a:cxn>
                <a:cxn ang="0">
                  <a:pos x="T4" y="T5"/>
                </a:cxn>
                <a:cxn ang="0">
                  <a:pos x="T6" y="T7"/>
                </a:cxn>
              </a:cxnLst>
              <a:rect l="0" t="0" r="r" b="b"/>
              <a:pathLst>
                <a:path w="4" h="41">
                  <a:moveTo>
                    <a:pt x="0" y="0"/>
                  </a:moveTo>
                  <a:cubicBezTo>
                    <a:pt x="1" y="9"/>
                    <a:pt x="1" y="18"/>
                    <a:pt x="2" y="27"/>
                  </a:cubicBezTo>
                  <a:cubicBezTo>
                    <a:pt x="2" y="29"/>
                    <a:pt x="2" y="31"/>
                    <a:pt x="3" y="32"/>
                  </a:cubicBezTo>
                  <a:cubicBezTo>
                    <a:pt x="4" y="34"/>
                    <a:pt x="2" y="40"/>
                    <a:pt x="0" y="41"/>
                  </a:cubicBezTo>
                </a:path>
              </a:pathLst>
            </a:custGeom>
            <a:solidFill>
              <a:srgbClr val="ABABAB"/>
            </a:solidFill>
            <a:ln w="15875" cap="rnd">
              <a:solidFill>
                <a:schemeClr val="accent2"/>
              </a:solidFill>
              <a:prstDash val="solid"/>
              <a:round/>
              <a:headEnd/>
              <a:tailEnd/>
            </a:ln>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3" name="Freeform 67">
              <a:extLst>
                <a:ext uri="{FF2B5EF4-FFF2-40B4-BE49-F238E27FC236}">
                  <a16:creationId xmlns:a16="http://schemas.microsoft.com/office/drawing/2014/main" id="{3239E6BC-D150-40A6-9B35-D0B44EA942DD}"/>
                </a:ext>
              </a:extLst>
            </p:cNvPr>
            <p:cNvSpPr>
              <a:spLocks/>
            </p:cNvSpPr>
            <p:nvPr/>
          </p:nvSpPr>
          <p:spPr bwMode="auto">
            <a:xfrm>
              <a:off x="6184872" y="3047203"/>
              <a:ext cx="143534" cy="142532"/>
            </a:xfrm>
            <a:custGeom>
              <a:avLst/>
              <a:gdLst>
                <a:gd name="T0" fmla="*/ 0 w 33"/>
                <a:gd name="T1" fmla="*/ 28 h 32"/>
                <a:gd name="T2" fmla="*/ 6 w 33"/>
                <a:gd name="T3" fmla="*/ 29 h 32"/>
                <a:gd name="T4" fmla="*/ 10 w 33"/>
                <a:gd name="T5" fmla="*/ 31 h 32"/>
                <a:gd name="T6" fmla="*/ 18 w 33"/>
                <a:gd name="T7" fmla="*/ 29 h 32"/>
                <a:gd name="T8" fmla="*/ 25 w 33"/>
                <a:gd name="T9" fmla="*/ 25 h 32"/>
                <a:gd name="T10" fmla="*/ 28 w 33"/>
                <a:gd name="T11" fmla="*/ 23 h 32"/>
                <a:gd name="T12" fmla="*/ 29 w 33"/>
                <a:gd name="T13" fmla="*/ 19 h 32"/>
                <a:gd name="T14" fmla="*/ 32 w 33"/>
                <a:gd name="T15" fmla="*/ 13 h 32"/>
                <a:gd name="T16" fmla="*/ 28 w 33"/>
                <a:gd name="T17" fmla="*/ 6 h 32"/>
                <a:gd name="T18" fmla="*/ 21 w 33"/>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0" y="28"/>
                  </a:moveTo>
                  <a:cubicBezTo>
                    <a:pt x="2" y="28"/>
                    <a:pt x="4" y="28"/>
                    <a:pt x="6" y="29"/>
                  </a:cubicBezTo>
                  <a:cubicBezTo>
                    <a:pt x="7" y="30"/>
                    <a:pt x="8" y="31"/>
                    <a:pt x="10" y="31"/>
                  </a:cubicBezTo>
                  <a:cubicBezTo>
                    <a:pt x="13" y="32"/>
                    <a:pt x="15" y="31"/>
                    <a:pt x="18" y="29"/>
                  </a:cubicBezTo>
                  <a:cubicBezTo>
                    <a:pt x="20" y="28"/>
                    <a:pt x="23" y="27"/>
                    <a:pt x="25" y="25"/>
                  </a:cubicBezTo>
                  <a:cubicBezTo>
                    <a:pt x="26" y="25"/>
                    <a:pt x="27" y="24"/>
                    <a:pt x="28" y="23"/>
                  </a:cubicBezTo>
                  <a:cubicBezTo>
                    <a:pt x="29" y="22"/>
                    <a:pt x="28" y="20"/>
                    <a:pt x="29" y="19"/>
                  </a:cubicBezTo>
                  <a:cubicBezTo>
                    <a:pt x="29" y="17"/>
                    <a:pt x="32" y="15"/>
                    <a:pt x="32" y="13"/>
                  </a:cubicBezTo>
                  <a:cubicBezTo>
                    <a:pt x="33" y="10"/>
                    <a:pt x="30" y="7"/>
                    <a:pt x="28" y="6"/>
                  </a:cubicBezTo>
                  <a:cubicBezTo>
                    <a:pt x="26" y="4"/>
                    <a:pt x="23" y="2"/>
                    <a:pt x="21"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4" name="Freeform 68">
              <a:extLst>
                <a:ext uri="{FF2B5EF4-FFF2-40B4-BE49-F238E27FC236}">
                  <a16:creationId xmlns:a16="http://schemas.microsoft.com/office/drawing/2014/main" id="{554694D5-059A-4546-A27F-B59C3C7D535A}"/>
                </a:ext>
              </a:extLst>
            </p:cNvPr>
            <p:cNvSpPr>
              <a:spLocks/>
            </p:cNvSpPr>
            <p:nvPr/>
          </p:nvSpPr>
          <p:spPr bwMode="auto">
            <a:xfrm>
              <a:off x="6293443" y="2900921"/>
              <a:ext cx="134333" cy="165036"/>
            </a:xfrm>
            <a:custGeom>
              <a:avLst/>
              <a:gdLst>
                <a:gd name="T0" fmla="*/ 9 w 31"/>
                <a:gd name="T1" fmla="*/ 0 h 37"/>
                <a:gd name="T2" fmla="*/ 11 w 31"/>
                <a:gd name="T3" fmla="*/ 7 h 37"/>
                <a:gd name="T4" fmla="*/ 18 w 31"/>
                <a:gd name="T5" fmla="*/ 11 h 37"/>
                <a:gd name="T6" fmla="*/ 31 w 31"/>
                <a:gd name="T7" fmla="*/ 30 h 37"/>
                <a:gd name="T8" fmla="*/ 16 w 31"/>
                <a:gd name="T9" fmla="*/ 30 h 37"/>
                <a:gd name="T10" fmla="*/ 12 w 31"/>
                <a:gd name="T11" fmla="*/ 31 h 37"/>
                <a:gd name="T12" fmla="*/ 7 w 31"/>
                <a:gd name="T13" fmla="*/ 33 h 37"/>
                <a:gd name="T14" fmla="*/ 0 w 31"/>
                <a:gd name="T15" fmla="*/ 36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7">
                  <a:moveTo>
                    <a:pt x="9" y="0"/>
                  </a:moveTo>
                  <a:cubicBezTo>
                    <a:pt x="8" y="2"/>
                    <a:pt x="9" y="5"/>
                    <a:pt x="11" y="7"/>
                  </a:cubicBezTo>
                  <a:cubicBezTo>
                    <a:pt x="13" y="9"/>
                    <a:pt x="16" y="10"/>
                    <a:pt x="18" y="11"/>
                  </a:cubicBezTo>
                  <a:cubicBezTo>
                    <a:pt x="26" y="14"/>
                    <a:pt x="31" y="22"/>
                    <a:pt x="31" y="30"/>
                  </a:cubicBezTo>
                  <a:cubicBezTo>
                    <a:pt x="26" y="30"/>
                    <a:pt x="21" y="30"/>
                    <a:pt x="16" y="30"/>
                  </a:cubicBezTo>
                  <a:cubicBezTo>
                    <a:pt x="14" y="30"/>
                    <a:pt x="13" y="30"/>
                    <a:pt x="12" y="31"/>
                  </a:cubicBezTo>
                  <a:cubicBezTo>
                    <a:pt x="10" y="31"/>
                    <a:pt x="9" y="33"/>
                    <a:pt x="7" y="33"/>
                  </a:cubicBezTo>
                  <a:cubicBezTo>
                    <a:pt x="5" y="34"/>
                    <a:pt x="1" y="37"/>
                    <a:pt x="0" y="3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5" name="Freeform 69">
              <a:extLst>
                <a:ext uri="{FF2B5EF4-FFF2-40B4-BE49-F238E27FC236}">
                  <a16:creationId xmlns:a16="http://schemas.microsoft.com/office/drawing/2014/main" id="{655A2A29-C3CA-49E2-BC14-E7BD1CE79584}"/>
                </a:ext>
              </a:extLst>
            </p:cNvPr>
            <p:cNvSpPr>
              <a:spLocks/>
            </p:cNvSpPr>
            <p:nvPr/>
          </p:nvSpPr>
          <p:spPr bwMode="auto">
            <a:xfrm>
              <a:off x="6324727" y="3118469"/>
              <a:ext cx="207940" cy="84393"/>
            </a:xfrm>
            <a:custGeom>
              <a:avLst/>
              <a:gdLst>
                <a:gd name="T0" fmla="*/ 0 w 48"/>
                <a:gd name="T1" fmla="*/ 1 h 19"/>
                <a:gd name="T2" fmla="*/ 6 w 48"/>
                <a:gd name="T3" fmla="*/ 2 h 19"/>
                <a:gd name="T4" fmla="*/ 6 w 48"/>
                <a:gd name="T5" fmla="*/ 4 h 19"/>
                <a:gd name="T6" fmla="*/ 13 w 48"/>
                <a:gd name="T7" fmla="*/ 10 h 19"/>
                <a:gd name="T8" fmla="*/ 22 w 48"/>
                <a:gd name="T9" fmla="*/ 11 h 19"/>
                <a:gd name="T10" fmla="*/ 26 w 48"/>
                <a:gd name="T11" fmla="*/ 14 h 19"/>
                <a:gd name="T12" fmla="*/ 48 w 48"/>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48" h="19">
                  <a:moveTo>
                    <a:pt x="0" y="1"/>
                  </a:moveTo>
                  <a:cubicBezTo>
                    <a:pt x="2" y="1"/>
                    <a:pt x="5" y="0"/>
                    <a:pt x="6" y="2"/>
                  </a:cubicBezTo>
                  <a:cubicBezTo>
                    <a:pt x="7" y="3"/>
                    <a:pt x="6" y="4"/>
                    <a:pt x="6" y="4"/>
                  </a:cubicBezTo>
                  <a:cubicBezTo>
                    <a:pt x="6" y="8"/>
                    <a:pt x="10" y="9"/>
                    <a:pt x="13" y="10"/>
                  </a:cubicBezTo>
                  <a:cubicBezTo>
                    <a:pt x="16" y="10"/>
                    <a:pt x="19" y="9"/>
                    <a:pt x="22" y="11"/>
                  </a:cubicBezTo>
                  <a:cubicBezTo>
                    <a:pt x="23" y="12"/>
                    <a:pt x="24" y="13"/>
                    <a:pt x="26" y="14"/>
                  </a:cubicBezTo>
                  <a:cubicBezTo>
                    <a:pt x="32" y="19"/>
                    <a:pt x="40" y="18"/>
                    <a:pt x="48" y="1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6" name="Freeform 70">
              <a:extLst>
                <a:ext uri="{FF2B5EF4-FFF2-40B4-BE49-F238E27FC236}">
                  <a16:creationId xmlns:a16="http://schemas.microsoft.com/office/drawing/2014/main" id="{B1BA2B5D-BAEC-45F2-A572-E46EC427413E}"/>
                </a:ext>
              </a:extLst>
            </p:cNvPr>
            <p:cNvSpPr>
              <a:spLocks/>
            </p:cNvSpPr>
            <p:nvPr/>
          </p:nvSpPr>
          <p:spPr bwMode="auto">
            <a:xfrm>
              <a:off x="6427777" y="3037826"/>
              <a:ext cx="312831" cy="178164"/>
            </a:xfrm>
            <a:custGeom>
              <a:avLst/>
              <a:gdLst>
                <a:gd name="T0" fmla="*/ 1 w 72"/>
                <a:gd name="T1" fmla="*/ 0 h 40"/>
                <a:gd name="T2" fmla="*/ 2 w 72"/>
                <a:gd name="T3" fmla="*/ 5 h 40"/>
                <a:gd name="T4" fmla="*/ 7 w 72"/>
                <a:gd name="T5" fmla="*/ 7 h 40"/>
                <a:gd name="T6" fmla="*/ 16 w 72"/>
                <a:gd name="T7" fmla="*/ 11 h 40"/>
                <a:gd name="T8" fmla="*/ 23 w 72"/>
                <a:gd name="T9" fmla="*/ 12 h 40"/>
                <a:gd name="T10" fmla="*/ 61 w 72"/>
                <a:gd name="T11" fmla="*/ 27 h 40"/>
                <a:gd name="T12" fmla="*/ 72 w 7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72" h="40">
                  <a:moveTo>
                    <a:pt x="1" y="0"/>
                  </a:moveTo>
                  <a:cubicBezTo>
                    <a:pt x="0" y="2"/>
                    <a:pt x="1" y="4"/>
                    <a:pt x="2" y="5"/>
                  </a:cubicBezTo>
                  <a:cubicBezTo>
                    <a:pt x="4" y="6"/>
                    <a:pt x="6" y="6"/>
                    <a:pt x="7" y="7"/>
                  </a:cubicBezTo>
                  <a:cubicBezTo>
                    <a:pt x="11" y="7"/>
                    <a:pt x="13" y="9"/>
                    <a:pt x="16" y="11"/>
                  </a:cubicBezTo>
                  <a:cubicBezTo>
                    <a:pt x="17" y="13"/>
                    <a:pt x="20" y="13"/>
                    <a:pt x="23" y="12"/>
                  </a:cubicBezTo>
                  <a:cubicBezTo>
                    <a:pt x="37" y="9"/>
                    <a:pt x="53" y="15"/>
                    <a:pt x="61" y="27"/>
                  </a:cubicBezTo>
                  <a:cubicBezTo>
                    <a:pt x="64" y="32"/>
                    <a:pt x="67" y="38"/>
                    <a:pt x="72" y="4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7" name="Freeform 71">
              <a:extLst>
                <a:ext uri="{FF2B5EF4-FFF2-40B4-BE49-F238E27FC236}">
                  <a16:creationId xmlns:a16="http://schemas.microsoft.com/office/drawing/2014/main" id="{2DD7EF97-EE0C-4DBD-B9B9-6A79CFE44314}"/>
                </a:ext>
              </a:extLst>
            </p:cNvPr>
            <p:cNvSpPr>
              <a:spLocks/>
            </p:cNvSpPr>
            <p:nvPr/>
          </p:nvSpPr>
          <p:spPr bwMode="auto">
            <a:xfrm>
              <a:off x="6354170" y="3047203"/>
              <a:ext cx="66246" cy="75017"/>
            </a:xfrm>
            <a:custGeom>
              <a:avLst/>
              <a:gdLst>
                <a:gd name="T0" fmla="*/ 0 w 15"/>
                <a:gd name="T1" fmla="*/ 17 h 17"/>
                <a:gd name="T2" fmla="*/ 6 w 15"/>
                <a:gd name="T3" fmla="*/ 16 h 17"/>
                <a:gd name="T4" fmla="*/ 12 w 15"/>
                <a:gd name="T5" fmla="*/ 8 h 17"/>
                <a:gd name="T6" fmla="*/ 15 w 15"/>
                <a:gd name="T7" fmla="*/ 0 h 17"/>
              </a:gdLst>
              <a:ahLst/>
              <a:cxnLst>
                <a:cxn ang="0">
                  <a:pos x="T0" y="T1"/>
                </a:cxn>
                <a:cxn ang="0">
                  <a:pos x="T2" y="T3"/>
                </a:cxn>
                <a:cxn ang="0">
                  <a:pos x="T4" y="T5"/>
                </a:cxn>
                <a:cxn ang="0">
                  <a:pos x="T6" y="T7"/>
                </a:cxn>
              </a:cxnLst>
              <a:rect l="0" t="0" r="r" b="b"/>
              <a:pathLst>
                <a:path w="15" h="17">
                  <a:moveTo>
                    <a:pt x="0" y="17"/>
                  </a:moveTo>
                  <a:cubicBezTo>
                    <a:pt x="2" y="17"/>
                    <a:pt x="4" y="17"/>
                    <a:pt x="6" y="16"/>
                  </a:cubicBezTo>
                  <a:cubicBezTo>
                    <a:pt x="8" y="14"/>
                    <a:pt x="10" y="11"/>
                    <a:pt x="12" y="8"/>
                  </a:cubicBezTo>
                  <a:cubicBezTo>
                    <a:pt x="14" y="6"/>
                    <a:pt x="15" y="3"/>
                    <a:pt x="15" y="0"/>
                  </a:cubicBezTo>
                </a:path>
              </a:pathLst>
            </a:custGeom>
            <a:noFill/>
            <a:ln w="15875" cap="flat">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8" name="Freeform 72">
              <a:extLst>
                <a:ext uri="{FF2B5EF4-FFF2-40B4-BE49-F238E27FC236}">
                  <a16:creationId xmlns:a16="http://schemas.microsoft.com/office/drawing/2014/main" id="{979C343A-14D9-44B2-B104-05663D02B7A6}"/>
                </a:ext>
              </a:extLst>
            </p:cNvPr>
            <p:cNvSpPr>
              <a:spLocks/>
            </p:cNvSpPr>
            <p:nvPr/>
          </p:nvSpPr>
          <p:spPr bwMode="auto">
            <a:xfrm>
              <a:off x="6341287" y="2822154"/>
              <a:ext cx="242903" cy="176288"/>
            </a:xfrm>
            <a:custGeom>
              <a:avLst/>
              <a:gdLst>
                <a:gd name="T0" fmla="*/ 0 w 56"/>
                <a:gd name="T1" fmla="*/ 16 h 40"/>
                <a:gd name="T2" fmla="*/ 7 w 56"/>
                <a:gd name="T3" fmla="*/ 8 h 40"/>
                <a:gd name="T4" fmla="*/ 15 w 56"/>
                <a:gd name="T5" fmla="*/ 0 h 40"/>
                <a:gd name="T6" fmla="*/ 22 w 56"/>
                <a:gd name="T7" fmla="*/ 4 h 40"/>
                <a:gd name="T8" fmla="*/ 37 w 56"/>
                <a:gd name="T9" fmla="*/ 3 h 40"/>
                <a:gd name="T10" fmla="*/ 52 w 56"/>
                <a:gd name="T11" fmla="*/ 7 h 40"/>
                <a:gd name="T12" fmla="*/ 55 w 56"/>
                <a:gd name="T13" fmla="*/ 9 h 40"/>
                <a:gd name="T14" fmla="*/ 55 w 56"/>
                <a:gd name="T15" fmla="*/ 11 h 40"/>
                <a:gd name="T16" fmla="*/ 49 w 56"/>
                <a:gd name="T17" fmla="*/ 30 h 40"/>
                <a:gd name="T18" fmla="*/ 45 w 56"/>
                <a:gd name="T19" fmla="*/ 33 h 40"/>
                <a:gd name="T20" fmla="*/ 34 w 56"/>
                <a:gd name="T21" fmla="*/ 34 h 40"/>
                <a:gd name="T22" fmla="*/ 21 w 56"/>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40">
                  <a:moveTo>
                    <a:pt x="0" y="16"/>
                  </a:moveTo>
                  <a:cubicBezTo>
                    <a:pt x="4" y="15"/>
                    <a:pt x="6" y="11"/>
                    <a:pt x="7" y="8"/>
                  </a:cubicBezTo>
                  <a:cubicBezTo>
                    <a:pt x="9" y="4"/>
                    <a:pt x="11" y="0"/>
                    <a:pt x="15" y="0"/>
                  </a:cubicBezTo>
                  <a:cubicBezTo>
                    <a:pt x="17" y="0"/>
                    <a:pt x="20" y="2"/>
                    <a:pt x="22" y="4"/>
                  </a:cubicBezTo>
                  <a:cubicBezTo>
                    <a:pt x="27" y="6"/>
                    <a:pt x="32" y="4"/>
                    <a:pt x="37" y="3"/>
                  </a:cubicBezTo>
                  <a:cubicBezTo>
                    <a:pt x="43" y="3"/>
                    <a:pt x="48" y="4"/>
                    <a:pt x="52" y="7"/>
                  </a:cubicBezTo>
                  <a:cubicBezTo>
                    <a:pt x="53" y="7"/>
                    <a:pt x="54" y="8"/>
                    <a:pt x="55" y="9"/>
                  </a:cubicBezTo>
                  <a:cubicBezTo>
                    <a:pt x="55" y="9"/>
                    <a:pt x="55" y="10"/>
                    <a:pt x="55" y="11"/>
                  </a:cubicBezTo>
                  <a:cubicBezTo>
                    <a:pt x="56" y="18"/>
                    <a:pt x="53" y="25"/>
                    <a:pt x="49" y="30"/>
                  </a:cubicBezTo>
                  <a:cubicBezTo>
                    <a:pt x="48" y="31"/>
                    <a:pt x="47" y="32"/>
                    <a:pt x="45" y="33"/>
                  </a:cubicBezTo>
                  <a:cubicBezTo>
                    <a:pt x="42" y="35"/>
                    <a:pt x="38" y="33"/>
                    <a:pt x="34" y="34"/>
                  </a:cubicBezTo>
                  <a:cubicBezTo>
                    <a:pt x="29" y="34"/>
                    <a:pt x="25" y="37"/>
                    <a:pt x="21" y="4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9" name="Freeform 73">
              <a:extLst>
                <a:ext uri="{FF2B5EF4-FFF2-40B4-BE49-F238E27FC236}">
                  <a16:creationId xmlns:a16="http://schemas.microsoft.com/office/drawing/2014/main" id="{E890D306-1063-48F3-ADE4-2454BBF0A980}"/>
                </a:ext>
              </a:extLst>
            </p:cNvPr>
            <p:cNvSpPr>
              <a:spLocks/>
            </p:cNvSpPr>
            <p:nvPr/>
          </p:nvSpPr>
          <p:spPr bwMode="auto">
            <a:xfrm>
              <a:off x="10349344" y="2854287"/>
              <a:ext cx="1210837" cy="540117"/>
            </a:xfrm>
            <a:custGeom>
              <a:avLst/>
              <a:gdLst>
                <a:gd name="T0" fmla="*/ 658 w 658"/>
                <a:gd name="T1" fmla="*/ 0 h 288"/>
                <a:gd name="T2" fmla="*/ 505 w 658"/>
                <a:gd name="T3" fmla="*/ 38 h 288"/>
                <a:gd name="T4" fmla="*/ 354 w 658"/>
                <a:gd name="T5" fmla="*/ 118 h 288"/>
                <a:gd name="T6" fmla="*/ 227 w 658"/>
                <a:gd name="T7" fmla="*/ 198 h 288"/>
                <a:gd name="T8" fmla="*/ 0 w 658"/>
                <a:gd name="T9" fmla="*/ 288 h 288"/>
              </a:gdLst>
              <a:ahLst/>
              <a:cxnLst>
                <a:cxn ang="0">
                  <a:pos x="T0" y="T1"/>
                </a:cxn>
                <a:cxn ang="0">
                  <a:pos x="T2" y="T3"/>
                </a:cxn>
                <a:cxn ang="0">
                  <a:pos x="T4" y="T5"/>
                </a:cxn>
                <a:cxn ang="0">
                  <a:pos x="T6" y="T7"/>
                </a:cxn>
                <a:cxn ang="0">
                  <a:pos x="T8" y="T9"/>
                </a:cxn>
              </a:cxnLst>
              <a:rect l="0" t="0" r="r" b="b"/>
              <a:pathLst>
                <a:path w="658" h="288">
                  <a:moveTo>
                    <a:pt x="658" y="0"/>
                  </a:moveTo>
                  <a:lnTo>
                    <a:pt x="505" y="38"/>
                  </a:lnTo>
                  <a:lnTo>
                    <a:pt x="354" y="118"/>
                  </a:lnTo>
                  <a:lnTo>
                    <a:pt x="227" y="198"/>
                  </a:lnTo>
                  <a:lnTo>
                    <a:pt x="0" y="288"/>
                  </a:ln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30" name="Freeform 74">
              <a:extLst>
                <a:ext uri="{FF2B5EF4-FFF2-40B4-BE49-F238E27FC236}">
                  <a16:creationId xmlns:a16="http://schemas.microsoft.com/office/drawing/2014/main" id="{E1EB80A6-DB43-4179-AD51-75C6A236BF68}"/>
                </a:ext>
              </a:extLst>
            </p:cNvPr>
            <p:cNvSpPr>
              <a:spLocks/>
            </p:cNvSpPr>
            <p:nvPr/>
          </p:nvSpPr>
          <p:spPr bwMode="auto">
            <a:xfrm>
              <a:off x="10202738" y="3220892"/>
              <a:ext cx="1348851" cy="288813"/>
            </a:xfrm>
            <a:custGeom>
              <a:avLst/>
              <a:gdLst>
                <a:gd name="T0" fmla="*/ 733 w 733"/>
                <a:gd name="T1" fmla="*/ 0 h 154"/>
                <a:gd name="T2" fmla="*/ 118 w 733"/>
                <a:gd name="T3" fmla="*/ 147 h 154"/>
                <a:gd name="T4" fmla="*/ 0 w 733"/>
                <a:gd name="T5" fmla="*/ 154 h 154"/>
              </a:gdLst>
              <a:ahLst/>
              <a:cxnLst>
                <a:cxn ang="0">
                  <a:pos x="T0" y="T1"/>
                </a:cxn>
                <a:cxn ang="0">
                  <a:pos x="T2" y="T3"/>
                </a:cxn>
                <a:cxn ang="0">
                  <a:pos x="T4" y="T5"/>
                </a:cxn>
              </a:cxnLst>
              <a:rect l="0" t="0" r="r" b="b"/>
              <a:pathLst>
                <a:path w="733" h="154">
                  <a:moveTo>
                    <a:pt x="733" y="0"/>
                  </a:moveTo>
                  <a:lnTo>
                    <a:pt x="118" y="147"/>
                  </a:lnTo>
                  <a:lnTo>
                    <a:pt x="0" y="154"/>
                  </a:ln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31" name="Freeform 75">
              <a:extLst>
                <a:ext uri="{FF2B5EF4-FFF2-40B4-BE49-F238E27FC236}">
                  <a16:creationId xmlns:a16="http://schemas.microsoft.com/office/drawing/2014/main" id="{D01F612F-281E-45AD-B3B5-E0BB2012F5C6}"/>
                </a:ext>
              </a:extLst>
            </p:cNvPr>
            <p:cNvSpPr>
              <a:spLocks/>
            </p:cNvSpPr>
            <p:nvPr/>
          </p:nvSpPr>
          <p:spPr bwMode="auto">
            <a:xfrm>
              <a:off x="9458300" y="3724227"/>
              <a:ext cx="2144058" cy="446033"/>
            </a:xfrm>
            <a:custGeom>
              <a:avLst/>
              <a:gdLst>
                <a:gd name="T0" fmla="*/ 1105 w 1105"/>
                <a:gd name="T1" fmla="*/ 0 h 248"/>
                <a:gd name="T2" fmla="*/ 620 w 1105"/>
                <a:gd name="T3" fmla="*/ 106 h 248"/>
                <a:gd name="T4" fmla="*/ 127 w 1105"/>
                <a:gd name="T5" fmla="*/ 248 h 248"/>
                <a:gd name="T6" fmla="*/ 0 w 1105"/>
                <a:gd name="T7" fmla="*/ 203 h 248"/>
                <a:gd name="connsiteX0" fmla="*/ 10181 w 10181"/>
                <a:gd name="connsiteY0" fmla="*/ 0 h 10000"/>
                <a:gd name="connsiteX1" fmla="*/ 5792 w 10181"/>
                <a:gd name="connsiteY1" fmla="*/ 4274 h 10000"/>
                <a:gd name="connsiteX2" fmla="*/ 1330 w 10181"/>
                <a:gd name="connsiteY2" fmla="*/ 10000 h 10000"/>
                <a:gd name="connsiteX3" fmla="*/ 0 w 10181"/>
                <a:gd name="connsiteY3" fmla="*/ 6751 h 10000"/>
                <a:gd name="connsiteX0" fmla="*/ 10181 w 10181"/>
                <a:gd name="connsiteY0" fmla="*/ 0 h 9590"/>
                <a:gd name="connsiteX1" fmla="*/ 5792 w 10181"/>
                <a:gd name="connsiteY1" fmla="*/ 4274 h 9590"/>
                <a:gd name="connsiteX2" fmla="*/ 1307 w 10181"/>
                <a:gd name="connsiteY2" fmla="*/ 9590 h 9590"/>
                <a:gd name="connsiteX3" fmla="*/ 0 w 10181"/>
                <a:gd name="connsiteY3" fmla="*/ 6751 h 9590"/>
              </a:gdLst>
              <a:ahLst/>
              <a:cxnLst>
                <a:cxn ang="0">
                  <a:pos x="connsiteX0" y="connsiteY0"/>
                </a:cxn>
                <a:cxn ang="0">
                  <a:pos x="connsiteX1" y="connsiteY1"/>
                </a:cxn>
                <a:cxn ang="0">
                  <a:pos x="connsiteX2" y="connsiteY2"/>
                </a:cxn>
                <a:cxn ang="0">
                  <a:pos x="connsiteX3" y="connsiteY3"/>
                </a:cxn>
              </a:cxnLst>
              <a:rect l="l" t="t" r="r" b="b"/>
              <a:pathLst>
                <a:path w="10181" h="9590">
                  <a:moveTo>
                    <a:pt x="10181" y="0"/>
                  </a:moveTo>
                  <a:lnTo>
                    <a:pt x="5792" y="4274"/>
                  </a:lnTo>
                  <a:lnTo>
                    <a:pt x="1307" y="9590"/>
                  </a:lnTo>
                  <a:cubicBezTo>
                    <a:pt x="924" y="8985"/>
                    <a:pt x="383" y="7356"/>
                    <a:pt x="0" y="6751"/>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32" name="Freeform 76">
              <a:extLst>
                <a:ext uri="{FF2B5EF4-FFF2-40B4-BE49-F238E27FC236}">
                  <a16:creationId xmlns:a16="http://schemas.microsoft.com/office/drawing/2014/main" id="{0D109A46-1B79-4E55-9615-37EEFF76815C}"/>
                </a:ext>
              </a:extLst>
            </p:cNvPr>
            <p:cNvSpPr>
              <a:spLocks/>
            </p:cNvSpPr>
            <p:nvPr/>
          </p:nvSpPr>
          <p:spPr bwMode="auto">
            <a:xfrm>
              <a:off x="2795264" y="3720475"/>
              <a:ext cx="33123" cy="110649"/>
            </a:xfrm>
            <a:custGeom>
              <a:avLst/>
              <a:gdLst>
                <a:gd name="T0" fmla="*/ 0 w 8"/>
                <a:gd name="T1" fmla="*/ 0 h 25"/>
                <a:gd name="T2" fmla="*/ 2 w 8"/>
                <a:gd name="T3" fmla="*/ 4 h 25"/>
                <a:gd name="T4" fmla="*/ 3 w 8"/>
                <a:gd name="T5" fmla="*/ 5 h 25"/>
                <a:gd name="T6" fmla="*/ 2 w 8"/>
                <a:gd name="T7" fmla="*/ 8 h 25"/>
                <a:gd name="T8" fmla="*/ 1 w 8"/>
                <a:gd name="T9" fmla="*/ 13 h 25"/>
                <a:gd name="T10" fmla="*/ 1 w 8"/>
                <a:gd name="T11" fmla="*/ 16 h 25"/>
                <a:gd name="T12" fmla="*/ 2 w 8"/>
                <a:gd name="T13" fmla="*/ 17 h 25"/>
                <a:gd name="T14" fmla="*/ 8 w 8"/>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5">
                  <a:moveTo>
                    <a:pt x="0" y="0"/>
                  </a:moveTo>
                  <a:cubicBezTo>
                    <a:pt x="1" y="1"/>
                    <a:pt x="1" y="2"/>
                    <a:pt x="2" y="4"/>
                  </a:cubicBezTo>
                  <a:cubicBezTo>
                    <a:pt x="2" y="4"/>
                    <a:pt x="3" y="5"/>
                    <a:pt x="3" y="5"/>
                  </a:cubicBezTo>
                  <a:cubicBezTo>
                    <a:pt x="3" y="6"/>
                    <a:pt x="3" y="7"/>
                    <a:pt x="2" y="8"/>
                  </a:cubicBezTo>
                  <a:cubicBezTo>
                    <a:pt x="2" y="10"/>
                    <a:pt x="1" y="12"/>
                    <a:pt x="1" y="13"/>
                  </a:cubicBezTo>
                  <a:cubicBezTo>
                    <a:pt x="1" y="14"/>
                    <a:pt x="0" y="15"/>
                    <a:pt x="1" y="16"/>
                  </a:cubicBezTo>
                  <a:cubicBezTo>
                    <a:pt x="1" y="16"/>
                    <a:pt x="1" y="17"/>
                    <a:pt x="2" y="17"/>
                  </a:cubicBezTo>
                  <a:cubicBezTo>
                    <a:pt x="4" y="20"/>
                    <a:pt x="6" y="22"/>
                    <a:pt x="8"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33" name="Freeform 77">
              <a:extLst>
                <a:ext uri="{FF2B5EF4-FFF2-40B4-BE49-F238E27FC236}">
                  <a16:creationId xmlns:a16="http://schemas.microsoft.com/office/drawing/2014/main" id="{F3A082EB-CA2C-4F31-9FD3-8CB26C166203}"/>
                </a:ext>
              </a:extLst>
            </p:cNvPr>
            <p:cNvSpPr>
              <a:spLocks/>
            </p:cNvSpPr>
            <p:nvPr/>
          </p:nvSpPr>
          <p:spPr bwMode="auto">
            <a:xfrm>
              <a:off x="470952" y="3613398"/>
              <a:ext cx="1611011" cy="1107789"/>
            </a:xfrm>
            <a:custGeom>
              <a:avLst/>
              <a:gdLst>
                <a:gd name="T0" fmla="*/ 0 w 354"/>
                <a:gd name="T1" fmla="*/ 253 h 253"/>
                <a:gd name="T2" fmla="*/ 73 w 354"/>
                <a:gd name="T3" fmla="*/ 117 h 253"/>
                <a:gd name="T4" fmla="*/ 104 w 354"/>
                <a:gd name="T5" fmla="*/ 121 h 253"/>
                <a:gd name="T6" fmla="*/ 354 w 354"/>
                <a:gd name="T7" fmla="*/ 0 h 253"/>
                <a:gd name="connsiteX0" fmla="*/ 0 w 10000"/>
                <a:gd name="connsiteY0" fmla="*/ 10000 h 10000"/>
                <a:gd name="connsiteX1" fmla="*/ 2062 w 10000"/>
                <a:gd name="connsiteY1" fmla="*/ 4625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109"/>
                <a:gd name="connsiteY0" fmla="*/ 9809 h 9809"/>
                <a:gd name="connsiteX1" fmla="*/ 2481 w 10109"/>
                <a:gd name="connsiteY1" fmla="*/ 4476 h 9809"/>
                <a:gd name="connsiteX2" fmla="*/ 3125 w 10109"/>
                <a:gd name="connsiteY2" fmla="*/ 4549 h 9809"/>
                <a:gd name="connsiteX3" fmla="*/ 10109 w 10109"/>
                <a:gd name="connsiteY3" fmla="*/ 0 h 9809"/>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Lst>
              <a:ahLst/>
              <a:cxnLst>
                <a:cxn ang="0">
                  <a:pos x="connsiteX0" y="connsiteY0"/>
                </a:cxn>
                <a:cxn ang="0">
                  <a:pos x="connsiteX1" y="connsiteY1"/>
                </a:cxn>
                <a:cxn ang="0">
                  <a:pos x="connsiteX2" y="connsiteY2"/>
                </a:cxn>
                <a:cxn ang="0">
                  <a:pos x="connsiteX3" y="connsiteY3"/>
                </a:cxn>
              </a:cxnLst>
              <a:rect l="l" t="t" r="r" b="b"/>
              <a:pathLst>
                <a:path w="10384" h="10087">
                  <a:moveTo>
                    <a:pt x="0" y="10087"/>
                  </a:moveTo>
                  <a:cubicBezTo>
                    <a:pt x="0" y="10087"/>
                    <a:pt x="1492" y="6289"/>
                    <a:pt x="2454" y="4650"/>
                  </a:cubicBezTo>
                  <a:cubicBezTo>
                    <a:pt x="2566" y="4246"/>
                    <a:pt x="2811" y="4886"/>
                    <a:pt x="3091" y="4725"/>
                  </a:cubicBezTo>
                  <a:cubicBezTo>
                    <a:pt x="5522" y="3150"/>
                    <a:pt x="7922" y="1271"/>
                    <a:pt x="10384"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34" name="Freeform 78">
              <a:extLst>
                <a:ext uri="{FF2B5EF4-FFF2-40B4-BE49-F238E27FC236}">
                  <a16:creationId xmlns:a16="http://schemas.microsoft.com/office/drawing/2014/main" id="{679B13D6-0660-443D-9D47-088923A87162}"/>
                </a:ext>
              </a:extLst>
            </p:cNvPr>
            <p:cNvSpPr>
              <a:spLocks/>
            </p:cNvSpPr>
            <p:nvPr/>
          </p:nvSpPr>
          <p:spPr bwMode="auto">
            <a:xfrm>
              <a:off x="5691705" y="2675873"/>
              <a:ext cx="125133" cy="106898"/>
            </a:xfrm>
            <a:custGeom>
              <a:avLst/>
              <a:gdLst>
                <a:gd name="T0" fmla="*/ 28 w 29"/>
                <a:gd name="T1" fmla="*/ 24 h 24"/>
                <a:gd name="T2" fmla="*/ 27 w 29"/>
                <a:gd name="T3" fmla="*/ 19 h 24"/>
                <a:gd name="T4" fmla="*/ 22 w 29"/>
                <a:gd name="T5" fmla="*/ 18 h 24"/>
                <a:gd name="T6" fmla="*/ 11 w 29"/>
                <a:gd name="T7" fmla="*/ 17 h 24"/>
                <a:gd name="T8" fmla="*/ 10 w 29"/>
                <a:gd name="T9" fmla="*/ 16 h 24"/>
                <a:gd name="T10" fmla="*/ 10 w 29"/>
                <a:gd name="T11" fmla="*/ 15 h 24"/>
                <a:gd name="T12" fmla="*/ 9 w 29"/>
                <a:gd name="T13" fmla="*/ 12 h 24"/>
                <a:gd name="T14" fmla="*/ 10 w 29"/>
                <a:gd name="T15" fmla="*/ 7 h 24"/>
                <a:gd name="T16" fmla="*/ 8 w 29"/>
                <a:gd name="T17" fmla="*/ 5 h 24"/>
                <a:gd name="T18" fmla="*/ 0 w 29"/>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4">
                  <a:moveTo>
                    <a:pt x="28" y="24"/>
                  </a:moveTo>
                  <a:cubicBezTo>
                    <a:pt x="29" y="22"/>
                    <a:pt x="28" y="20"/>
                    <a:pt x="27" y="19"/>
                  </a:cubicBezTo>
                  <a:cubicBezTo>
                    <a:pt x="26" y="18"/>
                    <a:pt x="24" y="18"/>
                    <a:pt x="22" y="18"/>
                  </a:cubicBezTo>
                  <a:cubicBezTo>
                    <a:pt x="19" y="17"/>
                    <a:pt x="15" y="17"/>
                    <a:pt x="11" y="17"/>
                  </a:cubicBezTo>
                  <a:cubicBezTo>
                    <a:pt x="11" y="17"/>
                    <a:pt x="10" y="17"/>
                    <a:pt x="10" y="16"/>
                  </a:cubicBezTo>
                  <a:cubicBezTo>
                    <a:pt x="10" y="16"/>
                    <a:pt x="10" y="16"/>
                    <a:pt x="10" y="15"/>
                  </a:cubicBezTo>
                  <a:cubicBezTo>
                    <a:pt x="9" y="14"/>
                    <a:pt x="9" y="13"/>
                    <a:pt x="9" y="12"/>
                  </a:cubicBezTo>
                  <a:cubicBezTo>
                    <a:pt x="10" y="10"/>
                    <a:pt x="11" y="8"/>
                    <a:pt x="10" y="7"/>
                  </a:cubicBezTo>
                  <a:cubicBezTo>
                    <a:pt x="10" y="6"/>
                    <a:pt x="9" y="5"/>
                    <a:pt x="8" y="5"/>
                  </a:cubicBezTo>
                  <a:cubicBezTo>
                    <a:pt x="5" y="3"/>
                    <a:pt x="3" y="2"/>
                    <a:pt x="0" y="0"/>
                  </a:cubicBezTo>
                </a:path>
              </a:pathLst>
            </a:custGeom>
            <a:noFill/>
            <a:ln w="15875" cap="rnd">
              <a:solidFill>
                <a:srgbClr val="EFE43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35" name="Freeform 79">
              <a:extLst>
                <a:ext uri="{FF2B5EF4-FFF2-40B4-BE49-F238E27FC236}">
                  <a16:creationId xmlns:a16="http://schemas.microsoft.com/office/drawing/2014/main" id="{A484DECB-0544-44EA-8642-9448F5E26D17}"/>
                </a:ext>
              </a:extLst>
            </p:cNvPr>
            <p:cNvSpPr>
              <a:spLocks/>
            </p:cNvSpPr>
            <p:nvPr/>
          </p:nvSpPr>
          <p:spPr bwMode="auto">
            <a:xfrm>
              <a:off x="3345476" y="3193628"/>
              <a:ext cx="2428240" cy="367449"/>
            </a:xfrm>
            <a:custGeom>
              <a:avLst/>
              <a:gdLst>
                <a:gd name="T0" fmla="*/ 567 w 567"/>
                <a:gd name="T1" fmla="*/ 23 h 89"/>
                <a:gd name="T2" fmla="*/ 560 w 567"/>
                <a:gd name="T3" fmla="*/ 10 h 89"/>
                <a:gd name="T4" fmla="*/ 508 w 567"/>
                <a:gd name="T5" fmla="*/ 3 h 89"/>
                <a:gd name="T6" fmla="*/ 482 w 567"/>
                <a:gd name="T7" fmla="*/ 5 h 89"/>
                <a:gd name="T8" fmla="*/ 371 w 567"/>
                <a:gd name="T9" fmla="*/ 9 h 89"/>
                <a:gd name="T10" fmla="*/ 324 w 567"/>
                <a:gd name="T11" fmla="*/ 21 h 89"/>
                <a:gd name="T12" fmla="*/ 272 w 567"/>
                <a:gd name="T13" fmla="*/ 41 h 89"/>
                <a:gd name="T14" fmla="*/ 233 w 567"/>
                <a:gd name="T15" fmla="*/ 54 h 89"/>
                <a:gd name="T16" fmla="*/ 188 w 567"/>
                <a:gd name="T17" fmla="*/ 66 h 89"/>
                <a:gd name="T18" fmla="*/ 160 w 567"/>
                <a:gd name="T19" fmla="*/ 69 h 89"/>
                <a:gd name="T20" fmla="*/ 118 w 567"/>
                <a:gd name="T21" fmla="*/ 77 h 89"/>
                <a:gd name="T22" fmla="*/ 73 w 567"/>
                <a:gd name="T23" fmla="*/ 77 h 89"/>
                <a:gd name="T24" fmla="*/ 56 w 567"/>
                <a:gd name="T25" fmla="*/ 84 h 89"/>
                <a:gd name="T26" fmla="*/ 0 w 567"/>
                <a:gd name="T27" fmla="*/ 85 h 89"/>
                <a:gd name="connsiteX0" fmla="*/ 9877 w 9877"/>
                <a:gd name="connsiteY0" fmla="*/ 787 h 9330"/>
                <a:gd name="connsiteX1" fmla="*/ 8959 w 9877"/>
                <a:gd name="connsiteY1" fmla="*/ 0 h 9330"/>
                <a:gd name="connsiteX2" fmla="*/ 8501 w 9877"/>
                <a:gd name="connsiteY2" fmla="*/ 225 h 9330"/>
                <a:gd name="connsiteX3" fmla="*/ 6543 w 9877"/>
                <a:gd name="connsiteY3" fmla="*/ 674 h 9330"/>
                <a:gd name="connsiteX4" fmla="*/ 5714 w 9877"/>
                <a:gd name="connsiteY4" fmla="*/ 2023 h 9330"/>
                <a:gd name="connsiteX5" fmla="*/ 4797 w 9877"/>
                <a:gd name="connsiteY5" fmla="*/ 4270 h 9330"/>
                <a:gd name="connsiteX6" fmla="*/ 4109 w 9877"/>
                <a:gd name="connsiteY6" fmla="*/ 5730 h 9330"/>
                <a:gd name="connsiteX7" fmla="*/ 3316 w 9877"/>
                <a:gd name="connsiteY7" fmla="*/ 7079 h 9330"/>
                <a:gd name="connsiteX8" fmla="*/ 2822 w 9877"/>
                <a:gd name="connsiteY8" fmla="*/ 7416 h 9330"/>
                <a:gd name="connsiteX9" fmla="*/ 2081 w 9877"/>
                <a:gd name="connsiteY9" fmla="*/ 8315 h 9330"/>
                <a:gd name="connsiteX10" fmla="*/ 1287 w 9877"/>
                <a:gd name="connsiteY10" fmla="*/ 8315 h 9330"/>
                <a:gd name="connsiteX11" fmla="*/ 988 w 9877"/>
                <a:gd name="connsiteY11" fmla="*/ 9101 h 9330"/>
                <a:gd name="connsiteX12" fmla="*/ 0 w 9877"/>
                <a:gd name="connsiteY12" fmla="*/ 9214 h 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77" h="9330">
                  <a:moveTo>
                    <a:pt x="9877" y="787"/>
                  </a:moveTo>
                  <a:cubicBezTo>
                    <a:pt x="9577" y="674"/>
                    <a:pt x="9277" y="112"/>
                    <a:pt x="8959" y="0"/>
                  </a:cubicBezTo>
                  <a:cubicBezTo>
                    <a:pt x="8801" y="0"/>
                    <a:pt x="8642" y="112"/>
                    <a:pt x="8501" y="225"/>
                  </a:cubicBezTo>
                  <a:cubicBezTo>
                    <a:pt x="7848" y="450"/>
                    <a:pt x="7178" y="-337"/>
                    <a:pt x="6543" y="674"/>
                  </a:cubicBezTo>
                  <a:cubicBezTo>
                    <a:pt x="6261" y="1124"/>
                    <a:pt x="5996" y="1910"/>
                    <a:pt x="5714" y="2023"/>
                  </a:cubicBezTo>
                  <a:cubicBezTo>
                    <a:pt x="5397" y="2023"/>
                    <a:pt x="5097" y="3596"/>
                    <a:pt x="4797" y="4270"/>
                  </a:cubicBezTo>
                  <a:cubicBezTo>
                    <a:pt x="4568" y="4719"/>
                    <a:pt x="4339" y="5281"/>
                    <a:pt x="4109" y="5730"/>
                  </a:cubicBezTo>
                  <a:cubicBezTo>
                    <a:pt x="3862" y="6292"/>
                    <a:pt x="3580" y="6854"/>
                    <a:pt x="3316" y="7079"/>
                  </a:cubicBezTo>
                  <a:cubicBezTo>
                    <a:pt x="3157" y="7191"/>
                    <a:pt x="2981" y="7191"/>
                    <a:pt x="2822" y="7416"/>
                  </a:cubicBezTo>
                  <a:cubicBezTo>
                    <a:pt x="2575" y="7641"/>
                    <a:pt x="2328" y="8202"/>
                    <a:pt x="2081" y="8315"/>
                  </a:cubicBezTo>
                  <a:cubicBezTo>
                    <a:pt x="1817" y="8427"/>
                    <a:pt x="1534" y="7865"/>
                    <a:pt x="1287" y="8315"/>
                  </a:cubicBezTo>
                  <a:cubicBezTo>
                    <a:pt x="1182" y="8539"/>
                    <a:pt x="1093" y="8876"/>
                    <a:pt x="988" y="9101"/>
                  </a:cubicBezTo>
                  <a:cubicBezTo>
                    <a:pt x="670" y="9663"/>
                    <a:pt x="335" y="8989"/>
                    <a:pt x="0" y="9214"/>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36" name="Freeform 80">
              <a:extLst>
                <a:ext uri="{FF2B5EF4-FFF2-40B4-BE49-F238E27FC236}">
                  <a16:creationId xmlns:a16="http://schemas.microsoft.com/office/drawing/2014/main" id="{D4FA170B-09FB-4AC6-BBD7-534D19046096}"/>
                </a:ext>
              </a:extLst>
            </p:cNvPr>
            <p:cNvSpPr>
              <a:spLocks/>
            </p:cNvSpPr>
            <p:nvPr/>
          </p:nvSpPr>
          <p:spPr bwMode="auto">
            <a:xfrm>
              <a:off x="3514773" y="3135347"/>
              <a:ext cx="393799" cy="301942"/>
            </a:xfrm>
            <a:custGeom>
              <a:avLst/>
              <a:gdLst>
                <a:gd name="T0" fmla="*/ 62 w 91"/>
                <a:gd name="T1" fmla="*/ 1 h 68"/>
                <a:gd name="T2" fmla="*/ 63 w 91"/>
                <a:gd name="T3" fmla="*/ 0 h 68"/>
                <a:gd name="T4" fmla="*/ 69 w 91"/>
                <a:gd name="T5" fmla="*/ 2 h 68"/>
                <a:gd name="T6" fmla="*/ 74 w 91"/>
                <a:gd name="T7" fmla="*/ 3 h 68"/>
                <a:gd name="T8" fmla="*/ 79 w 91"/>
                <a:gd name="T9" fmla="*/ 8 h 68"/>
                <a:gd name="T10" fmla="*/ 80 w 91"/>
                <a:gd name="T11" fmla="*/ 10 h 68"/>
                <a:gd name="T12" fmla="*/ 79 w 91"/>
                <a:gd name="T13" fmla="*/ 13 h 68"/>
                <a:gd name="T14" fmla="*/ 76 w 91"/>
                <a:gd name="T15" fmla="*/ 33 h 68"/>
                <a:gd name="T16" fmla="*/ 86 w 91"/>
                <a:gd name="T17" fmla="*/ 44 h 68"/>
                <a:gd name="T18" fmla="*/ 91 w 91"/>
                <a:gd name="T19" fmla="*/ 47 h 68"/>
                <a:gd name="T20" fmla="*/ 87 w 91"/>
                <a:gd name="T21" fmla="*/ 50 h 68"/>
                <a:gd name="T22" fmla="*/ 74 w 91"/>
                <a:gd name="T23" fmla="*/ 54 h 68"/>
                <a:gd name="T24" fmla="*/ 63 w 91"/>
                <a:gd name="T25" fmla="*/ 58 h 68"/>
                <a:gd name="T26" fmla="*/ 52 w 91"/>
                <a:gd name="T27" fmla="*/ 64 h 68"/>
                <a:gd name="T28" fmla="*/ 31 w 91"/>
                <a:gd name="T29" fmla="*/ 68 h 68"/>
                <a:gd name="T30" fmla="*/ 18 w 91"/>
                <a:gd name="T31" fmla="*/ 62 h 68"/>
                <a:gd name="T32" fmla="*/ 0 w 91"/>
                <a:gd name="T33"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68">
                  <a:moveTo>
                    <a:pt x="62" y="1"/>
                  </a:moveTo>
                  <a:cubicBezTo>
                    <a:pt x="62" y="1"/>
                    <a:pt x="63" y="0"/>
                    <a:pt x="63" y="0"/>
                  </a:cubicBezTo>
                  <a:cubicBezTo>
                    <a:pt x="65" y="1"/>
                    <a:pt x="67" y="1"/>
                    <a:pt x="69" y="2"/>
                  </a:cubicBezTo>
                  <a:cubicBezTo>
                    <a:pt x="71" y="2"/>
                    <a:pt x="73" y="2"/>
                    <a:pt x="74" y="3"/>
                  </a:cubicBezTo>
                  <a:cubicBezTo>
                    <a:pt x="76" y="4"/>
                    <a:pt x="78" y="6"/>
                    <a:pt x="79" y="8"/>
                  </a:cubicBezTo>
                  <a:cubicBezTo>
                    <a:pt x="79" y="9"/>
                    <a:pt x="79" y="9"/>
                    <a:pt x="80" y="10"/>
                  </a:cubicBezTo>
                  <a:cubicBezTo>
                    <a:pt x="80" y="11"/>
                    <a:pt x="79" y="12"/>
                    <a:pt x="79" y="13"/>
                  </a:cubicBezTo>
                  <a:cubicBezTo>
                    <a:pt x="75" y="19"/>
                    <a:pt x="74" y="26"/>
                    <a:pt x="76" y="33"/>
                  </a:cubicBezTo>
                  <a:cubicBezTo>
                    <a:pt x="77" y="38"/>
                    <a:pt x="81" y="43"/>
                    <a:pt x="86" y="44"/>
                  </a:cubicBezTo>
                  <a:cubicBezTo>
                    <a:pt x="88" y="44"/>
                    <a:pt x="91" y="45"/>
                    <a:pt x="91" y="47"/>
                  </a:cubicBezTo>
                  <a:cubicBezTo>
                    <a:pt x="91" y="48"/>
                    <a:pt x="89" y="49"/>
                    <a:pt x="87" y="50"/>
                  </a:cubicBezTo>
                  <a:cubicBezTo>
                    <a:pt x="83" y="51"/>
                    <a:pt x="78" y="53"/>
                    <a:pt x="74" y="54"/>
                  </a:cubicBezTo>
                  <a:cubicBezTo>
                    <a:pt x="70" y="55"/>
                    <a:pt x="67" y="57"/>
                    <a:pt x="63" y="58"/>
                  </a:cubicBezTo>
                  <a:cubicBezTo>
                    <a:pt x="59" y="60"/>
                    <a:pt x="56" y="62"/>
                    <a:pt x="52" y="64"/>
                  </a:cubicBezTo>
                  <a:cubicBezTo>
                    <a:pt x="45" y="67"/>
                    <a:pt x="38" y="68"/>
                    <a:pt x="31" y="68"/>
                  </a:cubicBezTo>
                  <a:cubicBezTo>
                    <a:pt x="24" y="68"/>
                    <a:pt x="24" y="66"/>
                    <a:pt x="18" y="62"/>
                  </a:cubicBezTo>
                  <a:cubicBezTo>
                    <a:pt x="14" y="59"/>
                    <a:pt x="3" y="56"/>
                    <a:pt x="0" y="5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37" name="Freeform 81">
              <a:extLst>
                <a:ext uri="{FF2B5EF4-FFF2-40B4-BE49-F238E27FC236}">
                  <a16:creationId xmlns:a16="http://schemas.microsoft.com/office/drawing/2014/main" id="{ECB20CD7-ECBB-4FC6-89CE-C19FA8C1C6DF}"/>
                </a:ext>
              </a:extLst>
            </p:cNvPr>
            <p:cNvSpPr>
              <a:spLocks/>
            </p:cNvSpPr>
            <p:nvPr/>
          </p:nvSpPr>
          <p:spPr bwMode="auto">
            <a:xfrm>
              <a:off x="3266350" y="3140975"/>
              <a:ext cx="539173" cy="305692"/>
            </a:xfrm>
            <a:custGeom>
              <a:avLst/>
              <a:gdLst>
                <a:gd name="T0" fmla="*/ 1 w 124"/>
                <a:gd name="T1" fmla="*/ 49 h 69"/>
                <a:gd name="T2" fmla="*/ 5 w 124"/>
                <a:gd name="T3" fmla="*/ 55 h 69"/>
                <a:gd name="T4" fmla="*/ 13 w 124"/>
                <a:gd name="T5" fmla="*/ 56 h 69"/>
                <a:gd name="T6" fmla="*/ 29 w 124"/>
                <a:gd name="T7" fmla="*/ 69 h 69"/>
                <a:gd name="T8" fmla="*/ 44 w 124"/>
                <a:gd name="T9" fmla="*/ 64 h 69"/>
                <a:gd name="T10" fmla="*/ 54 w 124"/>
                <a:gd name="T11" fmla="*/ 60 h 69"/>
                <a:gd name="T12" fmla="*/ 58 w 124"/>
                <a:gd name="T13" fmla="*/ 49 h 69"/>
                <a:gd name="T14" fmla="*/ 78 w 124"/>
                <a:gd name="T15" fmla="*/ 42 h 69"/>
                <a:gd name="T16" fmla="*/ 81 w 124"/>
                <a:gd name="T17" fmla="*/ 35 h 69"/>
                <a:gd name="T18" fmla="*/ 90 w 124"/>
                <a:gd name="T19" fmla="*/ 26 h 69"/>
                <a:gd name="T20" fmla="*/ 105 w 124"/>
                <a:gd name="T21" fmla="*/ 16 h 69"/>
                <a:gd name="T22" fmla="*/ 121 w 124"/>
                <a:gd name="T23" fmla="*/ 4 h 69"/>
                <a:gd name="T24" fmla="*/ 124 w 124"/>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69">
                  <a:moveTo>
                    <a:pt x="1" y="49"/>
                  </a:moveTo>
                  <a:cubicBezTo>
                    <a:pt x="0" y="52"/>
                    <a:pt x="2" y="54"/>
                    <a:pt x="5" y="55"/>
                  </a:cubicBezTo>
                  <a:cubicBezTo>
                    <a:pt x="7" y="56"/>
                    <a:pt x="10" y="56"/>
                    <a:pt x="13" y="56"/>
                  </a:cubicBezTo>
                  <a:cubicBezTo>
                    <a:pt x="20" y="57"/>
                    <a:pt x="27" y="62"/>
                    <a:pt x="29" y="69"/>
                  </a:cubicBezTo>
                  <a:cubicBezTo>
                    <a:pt x="34" y="67"/>
                    <a:pt x="39" y="65"/>
                    <a:pt x="44" y="64"/>
                  </a:cubicBezTo>
                  <a:cubicBezTo>
                    <a:pt x="48" y="63"/>
                    <a:pt x="52" y="63"/>
                    <a:pt x="54" y="60"/>
                  </a:cubicBezTo>
                  <a:cubicBezTo>
                    <a:pt x="56" y="57"/>
                    <a:pt x="56" y="52"/>
                    <a:pt x="58" y="49"/>
                  </a:cubicBezTo>
                  <a:cubicBezTo>
                    <a:pt x="63" y="44"/>
                    <a:pt x="74" y="48"/>
                    <a:pt x="78" y="42"/>
                  </a:cubicBezTo>
                  <a:cubicBezTo>
                    <a:pt x="79" y="40"/>
                    <a:pt x="80" y="37"/>
                    <a:pt x="81" y="35"/>
                  </a:cubicBezTo>
                  <a:cubicBezTo>
                    <a:pt x="83" y="31"/>
                    <a:pt x="86" y="29"/>
                    <a:pt x="90" y="26"/>
                  </a:cubicBezTo>
                  <a:cubicBezTo>
                    <a:pt x="95" y="23"/>
                    <a:pt x="100" y="19"/>
                    <a:pt x="105" y="16"/>
                  </a:cubicBezTo>
                  <a:cubicBezTo>
                    <a:pt x="111" y="13"/>
                    <a:pt x="117" y="10"/>
                    <a:pt x="121" y="4"/>
                  </a:cubicBezTo>
                  <a:cubicBezTo>
                    <a:pt x="122" y="3"/>
                    <a:pt x="122" y="1"/>
                    <a:pt x="124"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38" name="Freeform 82">
              <a:extLst>
                <a:ext uri="{FF2B5EF4-FFF2-40B4-BE49-F238E27FC236}">
                  <a16:creationId xmlns:a16="http://schemas.microsoft.com/office/drawing/2014/main" id="{6A001B86-3FDF-471E-BC31-457617F2A4C0}"/>
                </a:ext>
              </a:extLst>
            </p:cNvPr>
            <p:cNvSpPr>
              <a:spLocks/>
            </p:cNvSpPr>
            <p:nvPr/>
          </p:nvSpPr>
          <p:spPr bwMode="auto">
            <a:xfrm>
              <a:off x="3271870" y="3073459"/>
              <a:ext cx="524451" cy="279437"/>
            </a:xfrm>
            <a:custGeom>
              <a:avLst/>
              <a:gdLst>
                <a:gd name="T0" fmla="*/ 0 w 121"/>
                <a:gd name="T1" fmla="*/ 63 h 63"/>
                <a:gd name="T2" fmla="*/ 13 w 121"/>
                <a:gd name="T3" fmla="*/ 55 h 63"/>
                <a:gd name="T4" fmla="*/ 16 w 121"/>
                <a:gd name="T5" fmla="*/ 53 h 63"/>
                <a:gd name="T6" fmla="*/ 15 w 121"/>
                <a:gd name="T7" fmla="*/ 50 h 63"/>
                <a:gd name="T8" fmla="*/ 15 w 121"/>
                <a:gd name="T9" fmla="*/ 44 h 63"/>
                <a:gd name="T10" fmla="*/ 15 w 121"/>
                <a:gd name="T11" fmla="*/ 42 h 63"/>
                <a:gd name="T12" fmla="*/ 17 w 121"/>
                <a:gd name="T13" fmla="*/ 40 h 63"/>
                <a:gd name="T14" fmla="*/ 27 w 121"/>
                <a:gd name="T15" fmla="*/ 37 h 63"/>
                <a:gd name="T16" fmla="*/ 30 w 121"/>
                <a:gd name="T17" fmla="*/ 36 h 63"/>
                <a:gd name="T18" fmla="*/ 31 w 121"/>
                <a:gd name="T19" fmla="*/ 34 h 63"/>
                <a:gd name="T20" fmla="*/ 42 w 121"/>
                <a:gd name="T21" fmla="*/ 29 h 63"/>
                <a:gd name="T22" fmla="*/ 46 w 121"/>
                <a:gd name="T23" fmla="*/ 25 h 63"/>
                <a:gd name="T24" fmla="*/ 57 w 121"/>
                <a:gd name="T25" fmla="*/ 24 h 63"/>
                <a:gd name="T26" fmla="*/ 67 w 121"/>
                <a:gd name="T27" fmla="*/ 19 h 63"/>
                <a:gd name="T28" fmla="*/ 77 w 121"/>
                <a:gd name="T29" fmla="*/ 12 h 63"/>
                <a:gd name="T30" fmla="*/ 91 w 121"/>
                <a:gd name="T31" fmla="*/ 0 h 63"/>
                <a:gd name="T32" fmla="*/ 102 w 121"/>
                <a:gd name="T33" fmla="*/ 5 h 63"/>
                <a:gd name="T34" fmla="*/ 121 w 121"/>
                <a:gd name="T35"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63">
                  <a:moveTo>
                    <a:pt x="0" y="63"/>
                  </a:moveTo>
                  <a:cubicBezTo>
                    <a:pt x="3" y="62"/>
                    <a:pt x="10" y="57"/>
                    <a:pt x="13" y="55"/>
                  </a:cubicBezTo>
                  <a:cubicBezTo>
                    <a:pt x="14" y="55"/>
                    <a:pt x="15" y="54"/>
                    <a:pt x="16" y="53"/>
                  </a:cubicBezTo>
                  <a:cubicBezTo>
                    <a:pt x="16" y="52"/>
                    <a:pt x="16" y="51"/>
                    <a:pt x="15" y="50"/>
                  </a:cubicBezTo>
                  <a:cubicBezTo>
                    <a:pt x="15" y="48"/>
                    <a:pt x="15" y="46"/>
                    <a:pt x="15" y="44"/>
                  </a:cubicBezTo>
                  <a:cubicBezTo>
                    <a:pt x="15" y="43"/>
                    <a:pt x="15" y="43"/>
                    <a:pt x="15" y="42"/>
                  </a:cubicBezTo>
                  <a:cubicBezTo>
                    <a:pt x="16" y="41"/>
                    <a:pt x="16" y="41"/>
                    <a:pt x="17" y="40"/>
                  </a:cubicBezTo>
                  <a:cubicBezTo>
                    <a:pt x="20" y="39"/>
                    <a:pt x="23" y="37"/>
                    <a:pt x="27" y="37"/>
                  </a:cubicBezTo>
                  <a:cubicBezTo>
                    <a:pt x="28" y="37"/>
                    <a:pt x="29" y="36"/>
                    <a:pt x="30" y="36"/>
                  </a:cubicBezTo>
                  <a:cubicBezTo>
                    <a:pt x="30" y="35"/>
                    <a:pt x="31" y="34"/>
                    <a:pt x="31" y="34"/>
                  </a:cubicBezTo>
                  <a:cubicBezTo>
                    <a:pt x="34" y="30"/>
                    <a:pt x="39" y="32"/>
                    <a:pt x="42" y="29"/>
                  </a:cubicBezTo>
                  <a:cubicBezTo>
                    <a:pt x="44" y="28"/>
                    <a:pt x="45" y="26"/>
                    <a:pt x="46" y="25"/>
                  </a:cubicBezTo>
                  <a:cubicBezTo>
                    <a:pt x="49" y="23"/>
                    <a:pt x="53" y="24"/>
                    <a:pt x="57" y="24"/>
                  </a:cubicBezTo>
                  <a:cubicBezTo>
                    <a:pt x="61" y="23"/>
                    <a:pt x="64" y="21"/>
                    <a:pt x="67" y="19"/>
                  </a:cubicBezTo>
                  <a:cubicBezTo>
                    <a:pt x="71" y="17"/>
                    <a:pt x="74" y="15"/>
                    <a:pt x="77" y="12"/>
                  </a:cubicBezTo>
                  <a:cubicBezTo>
                    <a:pt x="81" y="8"/>
                    <a:pt x="85" y="1"/>
                    <a:pt x="91" y="0"/>
                  </a:cubicBezTo>
                  <a:cubicBezTo>
                    <a:pt x="95" y="0"/>
                    <a:pt x="99" y="3"/>
                    <a:pt x="102" y="5"/>
                  </a:cubicBezTo>
                  <a:cubicBezTo>
                    <a:pt x="107" y="8"/>
                    <a:pt x="115" y="14"/>
                    <a:pt x="121" y="1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grpSp>
          <p:nvGrpSpPr>
            <p:cNvPr id="139" name="Group 138">
              <a:extLst>
                <a:ext uri="{FF2B5EF4-FFF2-40B4-BE49-F238E27FC236}">
                  <a16:creationId xmlns:a16="http://schemas.microsoft.com/office/drawing/2014/main" id="{E6525B3E-E792-4D23-BF83-D18733B434FA}"/>
                </a:ext>
              </a:extLst>
            </p:cNvPr>
            <p:cNvGrpSpPr/>
            <p:nvPr/>
          </p:nvGrpSpPr>
          <p:grpSpPr>
            <a:xfrm>
              <a:off x="5973075" y="2748473"/>
              <a:ext cx="128016" cy="128016"/>
              <a:chOff x="1520304" y="1939550"/>
              <a:chExt cx="726812" cy="726812"/>
            </a:xfrm>
          </p:grpSpPr>
          <p:sp>
            <p:nvSpPr>
              <p:cNvPr id="738" name="Oval 737">
                <a:extLst>
                  <a:ext uri="{FF2B5EF4-FFF2-40B4-BE49-F238E27FC236}">
                    <a16:creationId xmlns:a16="http://schemas.microsoft.com/office/drawing/2014/main" id="{5DED5503-F321-4F7A-830F-1AF0702E17BC}"/>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739" name="Group 738">
                <a:extLst>
                  <a:ext uri="{FF2B5EF4-FFF2-40B4-BE49-F238E27FC236}">
                    <a16:creationId xmlns:a16="http://schemas.microsoft.com/office/drawing/2014/main" id="{ED7F3B8E-5A6B-4911-A8C1-336ADAF19E1A}"/>
                  </a:ext>
                </a:extLst>
              </p:cNvPr>
              <p:cNvGrpSpPr/>
              <p:nvPr/>
            </p:nvGrpSpPr>
            <p:grpSpPr>
              <a:xfrm>
                <a:off x="1627350" y="2071688"/>
                <a:ext cx="512722" cy="462536"/>
                <a:chOff x="1302898" y="1640683"/>
                <a:chExt cx="1201027" cy="1083468"/>
              </a:xfrm>
            </p:grpSpPr>
            <p:sp>
              <p:nvSpPr>
                <p:cNvPr id="740" name="Freeform 34">
                  <a:extLst>
                    <a:ext uri="{FF2B5EF4-FFF2-40B4-BE49-F238E27FC236}">
                      <a16:creationId xmlns:a16="http://schemas.microsoft.com/office/drawing/2014/main" id="{5ABC5DD3-000C-4066-A8C0-8FD91A8A307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41" name="Freeform 37">
                  <a:extLst>
                    <a:ext uri="{FF2B5EF4-FFF2-40B4-BE49-F238E27FC236}">
                      <a16:creationId xmlns:a16="http://schemas.microsoft.com/office/drawing/2014/main" id="{FA1B8617-4BFC-4742-B043-07C9BDA67654}"/>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42" name="Freeform 39">
                  <a:extLst>
                    <a:ext uri="{FF2B5EF4-FFF2-40B4-BE49-F238E27FC236}">
                      <a16:creationId xmlns:a16="http://schemas.microsoft.com/office/drawing/2014/main" id="{00D0349C-BA87-4093-88E1-2BD578A0AA87}"/>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43" name="Freeform 40">
                  <a:extLst>
                    <a:ext uri="{FF2B5EF4-FFF2-40B4-BE49-F238E27FC236}">
                      <a16:creationId xmlns:a16="http://schemas.microsoft.com/office/drawing/2014/main" id="{E56A642E-C05E-4FF0-AB75-09DF8AE6C5B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44" name="Freeform 5">
                  <a:extLst>
                    <a:ext uri="{FF2B5EF4-FFF2-40B4-BE49-F238E27FC236}">
                      <a16:creationId xmlns:a16="http://schemas.microsoft.com/office/drawing/2014/main" id="{4A349026-B7E4-48B2-806A-B1221D9C1EE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40" name="Group 139">
              <a:extLst>
                <a:ext uri="{FF2B5EF4-FFF2-40B4-BE49-F238E27FC236}">
                  <a16:creationId xmlns:a16="http://schemas.microsoft.com/office/drawing/2014/main" id="{4C355997-B7FD-446D-B20C-88DD17B8A4E9}"/>
                </a:ext>
              </a:extLst>
            </p:cNvPr>
            <p:cNvGrpSpPr/>
            <p:nvPr/>
          </p:nvGrpSpPr>
          <p:grpSpPr>
            <a:xfrm>
              <a:off x="9868703" y="3418128"/>
              <a:ext cx="128016" cy="128016"/>
              <a:chOff x="1520304" y="1939550"/>
              <a:chExt cx="726812" cy="726812"/>
            </a:xfrm>
          </p:grpSpPr>
          <p:sp>
            <p:nvSpPr>
              <p:cNvPr id="731" name="Oval 730">
                <a:extLst>
                  <a:ext uri="{FF2B5EF4-FFF2-40B4-BE49-F238E27FC236}">
                    <a16:creationId xmlns:a16="http://schemas.microsoft.com/office/drawing/2014/main" id="{A2B774C5-DF67-44D7-AF16-21BBF5CC2CB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732" name="Group 731">
                <a:extLst>
                  <a:ext uri="{FF2B5EF4-FFF2-40B4-BE49-F238E27FC236}">
                    <a16:creationId xmlns:a16="http://schemas.microsoft.com/office/drawing/2014/main" id="{FAC8A1C4-61B3-4ABB-B931-FC6EB3D4E9EB}"/>
                  </a:ext>
                </a:extLst>
              </p:cNvPr>
              <p:cNvGrpSpPr/>
              <p:nvPr/>
            </p:nvGrpSpPr>
            <p:grpSpPr>
              <a:xfrm>
                <a:off x="1627350" y="2071688"/>
                <a:ext cx="512722" cy="462536"/>
                <a:chOff x="1302898" y="1640683"/>
                <a:chExt cx="1201027" cy="1083468"/>
              </a:xfrm>
            </p:grpSpPr>
            <p:sp>
              <p:nvSpPr>
                <p:cNvPr id="733" name="Freeform 34">
                  <a:extLst>
                    <a:ext uri="{FF2B5EF4-FFF2-40B4-BE49-F238E27FC236}">
                      <a16:creationId xmlns:a16="http://schemas.microsoft.com/office/drawing/2014/main" id="{6D24479E-2A8B-4497-B004-0FDBEA63805A}"/>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34" name="Freeform 37">
                  <a:extLst>
                    <a:ext uri="{FF2B5EF4-FFF2-40B4-BE49-F238E27FC236}">
                      <a16:creationId xmlns:a16="http://schemas.microsoft.com/office/drawing/2014/main" id="{EB1B0B73-3FA2-4F4A-9158-C52F7E7589C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35" name="Freeform 39">
                  <a:extLst>
                    <a:ext uri="{FF2B5EF4-FFF2-40B4-BE49-F238E27FC236}">
                      <a16:creationId xmlns:a16="http://schemas.microsoft.com/office/drawing/2014/main" id="{F39288E3-6F52-4BC3-94F0-5D400E1433A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36" name="Freeform 40">
                  <a:extLst>
                    <a:ext uri="{FF2B5EF4-FFF2-40B4-BE49-F238E27FC236}">
                      <a16:creationId xmlns:a16="http://schemas.microsoft.com/office/drawing/2014/main" id="{88F6212B-688C-4D03-9522-A4A2EE553AE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37" name="Freeform 5">
                  <a:extLst>
                    <a:ext uri="{FF2B5EF4-FFF2-40B4-BE49-F238E27FC236}">
                      <a16:creationId xmlns:a16="http://schemas.microsoft.com/office/drawing/2014/main" id="{FFF558E3-B7B0-420F-A1F6-FFC0EF231C0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41" name="Group 140">
              <a:extLst>
                <a:ext uri="{FF2B5EF4-FFF2-40B4-BE49-F238E27FC236}">
                  <a16:creationId xmlns:a16="http://schemas.microsoft.com/office/drawing/2014/main" id="{2F9681BB-0424-48A4-BEC2-47EDDCBE424F}"/>
                </a:ext>
              </a:extLst>
            </p:cNvPr>
            <p:cNvGrpSpPr/>
            <p:nvPr/>
          </p:nvGrpSpPr>
          <p:grpSpPr>
            <a:xfrm>
              <a:off x="9771281" y="3315140"/>
              <a:ext cx="128016" cy="128016"/>
              <a:chOff x="1520304" y="1939550"/>
              <a:chExt cx="726812" cy="726812"/>
            </a:xfrm>
          </p:grpSpPr>
          <p:sp>
            <p:nvSpPr>
              <p:cNvPr id="724" name="Oval 723">
                <a:extLst>
                  <a:ext uri="{FF2B5EF4-FFF2-40B4-BE49-F238E27FC236}">
                    <a16:creationId xmlns:a16="http://schemas.microsoft.com/office/drawing/2014/main" id="{135D0DFA-570D-4FF8-A089-DFCFA91BAE6E}"/>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725" name="Group 724">
                <a:extLst>
                  <a:ext uri="{FF2B5EF4-FFF2-40B4-BE49-F238E27FC236}">
                    <a16:creationId xmlns:a16="http://schemas.microsoft.com/office/drawing/2014/main" id="{668E3003-BE57-4D97-8DDE-2970876498FD}"/>
                  </a:ext>
                </a:extLst>
              </p:cNvPr>
              <p:cNvGrpSpPr/>
              <p:nvPr/>
            </p:nvGrpSpPr>
            <p:grpSpPr>
              <a:xfrm>
                <a:off x="1627350" y="2071688"/>
                <a:ext cx="512722" cy="462536"/>
                <a:chOff x="1302898" y="1640683"/>
                <a:chExt cx="1201027" cy="1083468"/>
              </a:xfrm>
            </p:grpSpPr>
            <p:sp>
              <p:nvSpPr>
                <p:cNvPr id="726" name="Freeform 34">
                  <a:extLst>
                    <a:ext uri="{FF2B5EF4-FFF2-40B4-BE49-F238E27FC236}">
                      <a16:creationId xmlns:a16="http://schemas.microsoft.com/office/drawing/2014/main" id="{13F1A196-EC97-4E08-B6E8-0F381DBD7C5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27" name="Freeform 37">
                  <a:extLst>
                    <a:ext uri="{FF2B5EF4-FFF2-40B4-BE49-F238E27FC236}">
                      <a16:creationId xmlns:a16="http://schemas.microsoft.com/office/drawing/2014/main" id="{67C56BD1-41DB-41DD-BAE0-355E68A0EC3F}"/>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28" name="Freeform 39">
                  <a:extLst>
                    <a:ext uri="{FF2B5EF4-FFF2-40B4-BE49-F238E27FC236}">
                      <a16:creationId xmlns:a16="http://schemas.microsoft.com/office/drawing/2014/main" id="{EF27A1EC-B366-4C06-86B5-2988CA6C1157}"/>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29" name="Freeform 40">
                  <a:extLst>
                    <a:ext uri="{FF2B5EF4-FFF2-40B4-BE49-F238E27FC236}">
                      <a16:creationId xmlns:a16="http://schemas.microsoft.com/office/drawing/2014/main" id="{ED5927F1-28E4-42C0-B830-D9C2DAF9D2F7}"/>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30" name="Freeform 5">
                  <a:extLst>
                    <a:ext uri="{FF2B5EF4-FFF2-40B4-BE49-F238E27FC236}">
                      <a16:creationId xmlns:a16="http://schemas.microsoft.com/office/drawing/2014/main" id="{7231D731-2A50-45EE-8375-2219287D3A3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42" name="Group 141">
              <a:extLst>
                <a:ext uri="{FF2B5EF4-FFF2-40B4-BE49-F238E27FC236}">
                  <a16:creationId xmlns:a16="http://schemas.microsoft.com/office/drawing/2014/main" id="{42571542-DA89-4B75-8421-03E12DD78ED2}"/>
                </a:ext>
              </a:extLst>
            </p:cNvPr>
            <p:cNvGrpSpPr/>
            <p:nvPr/>
          </p:nvGrpSpPr>
          <p:grpSpPr>
            <a:xfrm>
              <a:off x="3269360" y="3279973"/>
              <a:ext cx="128016" cy="128016"/>
              <a:chOff x="1520304" y="1939550"/>
              <a:chExt cx="726812" cy="726812"/>
            </a:xfrm>
          </p:grpSpPr>
          <p:sp>
            <p:nvSpPr>
              <p:cNvPr id="717" name="Oval 716">
                <a:extLst>
                  <a:ext uri="{FF2B5EF4-FFF2-40B4-BE49-F238E27FC236}">
                    <a16:creationId xmlns:a16="http://schemas.microsoft.com/office/drawing/2014/main" id="{C08FFB03-FFC6-4321-BBB4-85D0D2DD1761}"/>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718" name="Group 717">
                <a:extLst>
                  <a:ext uri="{FF2B5EF4-FFF2-40B4-BE49-F238E27FC236}">
                    <a16:creationId xmlns:a16="http://schemas.microsoft.com/office/drawing/2014/main" id="{83DF39B1-0C06-4905-ADA6-F83D2DDEECF0}"/>
                  </a:ext>
                </a:extLst>
              </p:cNvPr>
              <p:cNvGrpSpPr/>
              <p:nvPr/>
            </p:nvGrpSpPr>
            <p:grpSpPr>
              <a:xfrm>
                <a:off x="1627350" y="2071688"/>
                <a:ext cx="512722" cy="462536"/>
                <a:chOff x="1302898" y="1640683"/>
                <a:chExt cx="1201027" cy="1083468"/>
              </a:xfrm>
            </p:grpSpPr>
            <p:sp>
              <p:nvSpPr>
                <p:cNvPr id="719" name="Freeform 34">
                  <a:extLst>
                    <a:ext uri="{FF2B5EF4-FFF2-40B4-BE49-F238E27FC236}">
                      <a16:creationId xmlns:a16="http://schemas.microsoft.com/office/drawing/2014/main" id="{4D7FAF3F-9EDE-454D-A02C-ADE93AD7CE8E}"/>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20" name="Freeform 37">
                  <a:extLst>
                    <a:ext uri="{FF2B5EF4-FFF2-40B4-BE49-F238E27FC236}">
                      <a16:creationId xmlns:a16="http://schemas.microsoft.com/office/drawing/2014/main" id="{6CD509BE-3878-4C99-9916-D853AAB0EF0F}"/>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21" name="Freeform 39">
                  <a:extLst>
                    <a:ext uri="{FF2B5EF4-FFF2-40B4-BE49-F238E27FC236}">
                      <a16:creationId xmlns:a16="http://schemas.microsoft.com/office/drawing/2014/main" id="{DFF75D34-E050-46BB-AFBE-1E6B86BB501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22" name="Freeform 40">
                  <a:extLst>
                    <a:ext uri="{FF2B5EF4-FFF2-40B4-BE49-F238E27FC236}">
                      <a16:creationId xmlns:a16="http://schemas.microsoft.com/office/drawing/2014/main" id="{EFEA6CF0-8937-424E-94A8-903F54548DF6}"/>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23" name="Freeform 5">
                  <a:extLst>
                    <a:ext uri="{FF2B5EF4-FFF2-40B4-BE49-F238E27FC236}">
                      <a16:creationId xmlns:a16="http://schemas.microsoft.com/office/drawing/2014/main" id="{DBB50B8D-BE76-4ED9-B5B0-0229661694D0}"/>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43" name="Group 142">
              <a:extLst>
                <a:ext uri="{FF2B5EF4-FFF2-40B4-BE49-F238E27FC236}">
                  <a16:creationId xmlns:a16="http://schemas.microsoft.com/office/drawing/2014/main" id="{8AEE6CDB-D3DF-4B8C-9577-926811D51DBF}"/>
                </a:ext>
              </a:extLst>
            </p:cNvPr>
            <p:cNvGrpSpPr/>
            <p:nvPr/>
          </p:nvGrpSpPr>
          <p:grpSpPr>
            <a:xfrm>
              <a:off x="3333057" y="3373253"/>
              <a:ext cx="128016" cy="128016"/>
              <a:chOff x="6617763" y="1494678"/>
              <a:chExt cx="188006" cy="188004"/>
            </a:xfrm>
          </p:grpSpPr>
          <p:sp>
            <p:nvSpPr>
              <p:cNvPr id="715" name="Oval 714">
                <a:extLst>
                  <a:ext uri="{FF2B5EF4-FFF2-40B4-BE49-F238E27FC236}">
                    <a16:creationId xmlns:a16="http://schemas.microsoft.com/office/drawing/2014/main" id="{F2B65F4F-4777-4AF8-8928-E5267BF91BD8}"/>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716" name="Freeform 10">
                <a:extLst>
                  <a:ext uri="{FF2B5EF4-FFF2-40B4-BE49-F238E27FC236}">
                    <a16:creationId xmlns:a16="http://schemas.microsoft.com/office/drawing/2014/main" id="{47E76F5C-BFAA-4C45-A91A-CEFCC94C8B4F}"/>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659C838B-4DB8-4E9C-A20C-E4F171F18D13}"/>
                </a:ext>
              </a:extLst>
            </p:cNvPr>
            <p:cNvGrpSpPr/>
            <p:nvPr/>
          </p:nvGrpSpPr>
          <p:grpSpPr>
            <a:xfrm>
              <a:off x="2766084" y="3560661"/>
              <a:ext cx="128016" cy="128016"/>
              <a:chOff x="1520304" y="1939550"/>
              <a:chExt cx="726812" cy="726812"/>
            </a:xfrm>
          </p:grpSpPr>
          <p:sp>
            <p:nvSpPr>
              <p:cNvPr id="708" name="Oval 707">
                <a:extLst>
                  <a:ext uri="{FF2B5EF4-FFF2-40B4-BE49-F238E27FC236}">
                    <a16:creationId xmlns:a16="http://schemas.microsoft.com/office/drawing/2014/main" id="{0D776C4E-7B2C-4F0C-A66E-5EF10114B4B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709" name="Group 708">
                <a:extLst>
                  <a:ext uri="{FF2B5EF4-FFF2-40B4-BE49-F238E27FC236}">
                    <a16:creationId xmlns:a16="http://schemas.microsoft.com/office/drawing/2014/main" id="{76780135-1FE8-4D98-9F61-933D4361ED76}"/>
                  </a:ext>
                </a:extLst>
              </p:cNvPr>
              <p:cNvGrpSpPr/>
              <p:nvPr/>
            </p:nvGrpSpPr>
            <p:grpSpPr>
              <a:xfrm>
                <a:off x="1627350" y="2071688"/>
                <a:ext cx="512722" cy="462536"/>
                <a:chOff x="1302898" y="1640683"/>
                <a:chExt cx="1201027" cy="1083468"/>
              </a:xfrm>
            </p:grpSpPr>
            <p:sp>
              <p:nvSpPr>
                <p:cNvPr id="710" name="Freeform 34">
                  <a:extLst>
                    <a:ext uri="{FF2B5EF4-FFF2-40B4-BE49-F238E27FC236}">
                      <a16:creationId xmlns:a16="http://schemas.microsoft.com/office/drawing/2014/main" id="{87D90FC9-0984-467D-AE33-0258DE596112}"/>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11" name="Freeform 37">
                  <a:extLst>
                    <a:ext uri="{FF2B5EF4-FFF2-40B4-BE49-F238E27FC236}">
                      <a16:creationId xmlns:a16="http://schemas.microsoft.com/office/drawing/2014/main" id="{ADEF2715-932E-436D-B03A-C13425679FDC}"/>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12" name="Freeform 39">
                  <a:extLst>
                    <a:ext uri="{FF2B5EF4-FFF2-40B4-BE49-F238E27FC236}">
                      <a16:creationId xmlns:a16="http://schemas.microsoft.com/office/drawing/2014/main" id="{2344620C-FA4D-4C82-B8DE-CA74C6E34218}"/>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13" name="Freeform 40">
                  <a:extLst>
                    <a:ext uri="{FF2B5EF4-FFF2-40B4-BE49-F238E27FC236}">
                      <a16:creationId xmlns:a16="http://schemas.microsoft.com/office/drawing/2014/main" id="{AFA64CAB-82DE-495A-8365-24F54FE8890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14" name="Freeform 5">
                  <a:extLst>
                    <a:ext uri="{FF2B5EF4-FFF2-40B4-BE49-F238E27FC236}">
                      <a16:creationId xmlns:a16="http://schemas.microsoft.com/office/drawing/2014/main" id="{976E52CB-EBE7-40EE-BE0C-F4E2F76D67C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45" name="Group 144">
              <a:extLst>
                <a:ext uri="{FF2B5EF4-FFF2-40B4-BE49-F238E27FC236}">
                  <a16:creationId xmlns:a16="http://schemas.microsoft.com/office/drawing/2014/main" id="{E82E0CEB-A8FF-4039-B14F-99C1F02B6C93}"/>
                </a:ext>
              </a:extLst>
            </p:cNvPr>
            <p:cNvGrpSpPr/>
            <p:nvPr/>
          </p:nvGrpSpPr>
          <p:grpSpPr>
            <a:xfrm>
              <a:off x="2720797" y="3588291"/>
              <a:ext cx="128016" cy="128016"/>
              <a:chOff x="1520304" y="1939550"/>
              <a:chExt cx="726812" cy="726812"/>
            </a:xfrm>
          </p:grpSpPr>
          <p:sp>
            <p:nvSpPr>
              <p:cNvPr id="701" name="Oval 700">
                <a:extLst>
                  <a:ext uri="{FF2B5EF4-FFF2-40B4-BE49-F238E27FC236}">
                    <a16:creationId xmlns:a16="http://schemas.microsoft.com/office/drawing/2014/main" id="{D5AC437E-1B2D-4007-83DB-2AAFC7E6DB74}"/>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702" name="Group 701">
                <a:extLst>
                  <a:ext uri="{FF2B5EF4-FFF2-40B4-BE49-F238E27FC236}">
                    <a16:creationId xmlns:a16="http://schemas.microsoft.com/office/drawing/2014/main" id="{33E76E1D-42B2-4D74-92FB-5EC6DA4E98C9}"/>
                  </a:ext>
                </a:extLst>
              </p:cNvPr>
              <p:cNvGrpSpPr/>
              <p:nvPr/>
            </p:nvGrpSpPr>
            <p:grpSpPr>
              <a:xfrm>
                <a:off x="1627350" y="2071688"/>
                <a:ext cx="512722" cy="462536"/>
                <a:chOff x="1302898" y="1640683"/>
                <a:chExt cx="1201027" cy="1083468"/>
              </a:xfrm>
            </p:grpSpPr>
            <p:sp>
              <p:nvSpPr>
                <p:cNvPr id="703" name="Freeform 34">
                  <a:extLst>
                    <a:ext uri="{FF2B5EF4-FFF2-40B4-BE49-F238E27FC236}">
                      <a16:creationId xmlns:a16="http://schemas.microsoft.com/office/drawing/2014/main" id="{76A75C26-0BD7-400A-ACBE-B438660477C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04" name="Freeform 37">
                  <a:extLst>
                    <a:ext uri="{FF2B5EF4-FFF2-40B4-BE49-F238E27FC236}">
                      <a16:creationId xmlns:a16="http://schemas.microsoft.com/office/drawing/2014/main" id="{AA2C7E41-7BC7-46F3-B2B6-FB7B895F24B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05" name="Freeform 39">
                  <a:extLst>
                    <a:ext uri="{FF2B5EF4-FFF2-40B4-BE49-F238E27FC236}">
                      <a16:creationId xmlns:a16="http://schemas.microsoft.com/office/drawing/2014/main" id="{2927F2B1-C9DD-40CA-81AE-83B8F4EDD4E8}"/>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06" name="Freeform 40">
                  <a:extLst>
                    <a:ext uri="{FF2B5EF4-FFF2-40B4-BE49-F238E27FC236}">
                      <a16:creationId xmlns:a16="http://schemas.microsoft.com/office/drawing/2014/main" id="{5005C337-BBBC-4A5A-B5D9-833A3780CDB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07" name="Freeform 5">
                  <a:extLst>
                    <a:ext uri="{FF2B5EF4-FFF2-40B4-BE49-F238E27FC236}">
                      <a16:creationId xmlns:a16="http://schemas.microsoft.com/office/drawing/2014/main" id="{6428B0BC-2A9F-4CBB-A689-D0A8865B7EA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46" name="Group 145">
              <a:extLst>
                <a:ext uri="{FF2B5EF4-FFF2-40B4-BE49-F238E27FC236}">
                  <a16:creationId xmlns:a16="http://schemas.microsoft.com/office/drawing/2014/main" id="{670287A4-F3E1-4477-8522-E049738CD9AE}"/>
                </a:ext>
              </a:extLst>
            </p:cNvPr>
            <p:cNvGrpSpPr/>
            <p:nvPr/>
          </p:nvGrpSpPr>
          <p:grpSpPr>
            <a:xfrm>
              <a:off x="3916057" y="5577991"/>
              <a:ext cx="128016" cy="128016"/>
              <a:chOff x="1520304" y="1939550"/>
              <a:chExt cx="726812" cy="726812"/>
            </a:xfrm>
          </p:grpSpPr>
          <p:sp>
            <p:nvSpPr>
              <p:cNvPr id="694" name="Oval 693">
                <a:extLst>
                  <a:ext uri="{FF2B5EF4-FFF2-40B4-BE49-F238E27FC236}">
                    <a16:creationId xmlns:a16="http://schemas.microsoft.com/office/drawing/2014/main" id="{BF68BBE7-AD4C-4EB1-9253-D10EEECF977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95" name="Group 694">
                <a:extLst>
                  <a:ext uri="{FF2B5EF4-FFF2-40B4-BE49-F238E27FC236}">
                    <a16:creationId xmlns:a16="http://schemas.microsoft.com/office/drawing/2014/main" id="{6AB4DCF0-5A45-479E-8FF6-F15F8A789CB1}"/>
                  </a:ext>
                </a:extLst>
              </p:cNvPr>
              <p:cNvGrpSpPr/>
              <p:nvPr/>
            </p:nvGrpSpPr>
            <p:grpSpPr>
              <a:xfrm>
                <a:off x="1627350" y="2071688"/>
                <a:ext cx="512722" cy="462536"/>
                <a:chOff x="1302898" y="1640683"/>
                <a:chExt cx="1201027" cy="1083468"/>
              </a:xfrm>
            </p:grpSpPr>
            <p:sp>
              <p:nvSpPr>
                <p:cNvPr id="696" name="Freeform 34">
                  <a:extLst>
                    <a:ext uri="{FF2B5EF4-FFF2-40B4-BE49-F238E27FC236}">
                      <a16:creationId xmlns:a16="http://schemas.microsoft.com/office/drawing/2014/main" id="{9D38861B-BD85-4DF5-A97D-2560FF14C17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97" name="Freeform 37">
                  <a:extLst>
                    <a:ext uri="{FF2B5EF4-FFF2-40B4-BE49-F238E27FC236}">
                      <a16:creationId xmlns:a16="http://schemas.microsoft.com/office/drawing/2014/main" id="{63041732-E869-4AC0-B3FE-9CB614A18281}"/>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98" name="Freeform 39">
                  <a:extLst>
                    <a:ext uri="{FF2B5EF4-FFF2-40B4-BE49-F238E27FC236}">
                      <a16:creationId xmlns:a16="http://schemas.microsoft.com/office/drawing/2014/main" id="{BBAF9AE4-F7E7-48B5-95CB-2E2178552424}"/>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99" name="Freeform 40">
                  <a:extLst>
                    <a:ext uri="{FF2B5EF4-FFF2-40B4-BE49-F238E27FC236}">
                      <a16:creationId xmlns:a16="http://schemas.microsoft.com/office/drawing/2014/main" id="{387643B2-549F-4034-8474-EA82DA836632}"/>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00" name="Freeform 5">
                  <a:extLst>
                    <a:ext uri="{FF2B5EF4-FFF2-40B4-BE49-F238E27FC236}">
                      <a16:creationId xmlns:a16="http://schemas.microsoft.com/office/drawing/2014/main" id="{B71ECE24-59C2-4727-8596-527141AAE13C}"/>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47" name="Group 146">
              <a:extLst>
                <a:ext uri="{FF2B5EF4-FFF2-40B4-BE49-F238E27FC236}">
                  <a16:creationId xmlns:a16="http://schemas.microsoft.com/office/drawing/2014/main" id="{223F5EB1-E60D-4203-92C0-B3151CBDD93D}"/>
                </a:ext>
              </a:extLst>
            </p:cNvPr>
            <p:cNvGrpSpPr/>
            <p:nvPr/>
          </p:nvGrpSpPr>
          <p:grpSpPr>
            <a:xfrm>
              <a:off x="3547076" y="5948624"/>
              <a:ext cx="128016" cy="128016"/>
              <a:chOff x="6617763" y="1494678"/>
              <a:chExt cx="188006" cy="188004"/>
            </a:xfrm>
          </p:grpSpPr>
          <p:sp>
            <p:nvSpPr>
              <p:cNvPr id="692" name="Oval 691">
                <a:extLst>
                  <a:ext uri="{FF2B5EF4-FFF2-40B4-BE49-F238E27FC236}">
                    <a16:creationId xmlns:a16="http://schemas.microsoft.com/office/drawing/2014/main" id="{7EF53CC4-8BE1-485A-950B-244D37E59D34}"/>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693" name="Freeform 10">
                <a:extLst>
                  <a:ext uri="{FF2B5EF4-FFF2-40B4-BE49-F238E27FC236}">
                    <a16:creationId xmlns:a16="http://schemas.microsoft.com/office/drawing/2014/main" id="{B8982B34-E51C-4A16-A593-8564A2499A46}"/>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48" name="Group 147">
              <a:extLst>
                <a:ext uri="{FF2B5EF4-FFF2-40B4-BE49-F238E27FC236}">
                  <a16:creationId xmlns:a16="http://schemas.microsoft.com/office/drawing/2014/main" id="{496760CC-B9E3-48D1-BAF8-893A907E242C}"/>
                </a:ext>
              </a:extLst>
            </p:cNvPr>
            <p:cNvGrpSpPr/>
            <p:nvPr/>
          </p:nvGrpSpPr>
          <p:grpSpPr>
            <a:xfrm>
              <a:off x="4296460" y="5522732"/>
              <a:ext cx="128016" cy="128016"/>
              <a:chOff x="6617763" y="1494678"/>
              <a:chExt cx="188006" cy="188004"/>
            </a:xfrm>
          </p:grpSpPr>
          <p:sp>
            <p:nvSpPr>
              <p:cNvPr id="690" name="Oval 689">
                <a:extLst>
                  <a:ext uri="{FF2B5EF4-FFF2-40B4-BE49-F238E27FC236}">
                    <a16:creationId xmlns:a16="http://schemas.microsoft.com/office/drawing/2014/main" id="{39ADC56E-25BC-4057-BDDE-26FB67289848}"/>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691" name="Freeform 10">
                <a:extLst>
                  <a:ext uri="{FF2B5EF4-FFF2-40B4-BE49-F238E27FC236}">
                    <a16:creationId xmlns:a16="http://schemas.microsoft.com/office/drawing/2014/main" id="{E56C9D36-FCF4-4ABC-A0A4-412CB6B3CF5A}"/>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49" name="Group 148">
              <a:extLst>
                <a:ext uri="{FF2B5EF4-FFF2-40B4-BE49-F238E27FC236}">
                  <a16:creationId xmlns:a16="http://schemas.microsoft.com/office/drawing/2014/main" id="{88183490-7DF7-4697-A0B4-FE0DCB95D1F6}"/>
                </a:ext>
              </a:extLst>
            </p:cNvPr>
            <p:cNvGrpSpPr/>
            <p:nvPr/>
          </p:nvGrpSpPr>
          <p:grpSpPr>
            <a:xfrm>
              <a:off x="4425890" y="5507197"/>
              <a:ext cx="128016" cy="128016"/>
              <a:chOff x="6617763" y="1494678"/>
              <a:chExt cx="188006" cy="188004"/>
            </a:xfrm>
          </p:grpSpPr>
          <p:sp>
            <p:nvSpPr>
              <p:cNvPr id="688" name="Oval 687">
                <a:extLst>
                  <a:ext uri="{FF2B5EF4-FFF2-40B4-BE49-F238E27FC236}">
                    <a16:creationId xmlns:a16="http://schemas.microsoft.com/office/drawing/2014/main" id="{71B3B791-E597-4353-950D-F13D47A9018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689" name="Freeform 10">
                <a:extLst>
                  <a:ext uri="{FF2B5EF4-FFF2-40B4-BE49-F238E27FC236}">
                    <a16:creationId xmlns:a16="http://schemas.microsoft.com/office/drawing/2014/main" id="{E6C1A4F3-66B5-466E-8B58-5CF8E8AD3795}"/>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50" name="Group 149">
              <a:extLst>
                <a:ext uri="{FF2B5EF4-FFF2-40B4-BE49-F238E27FC236}">
                  <a16:creationId xmlns:a16="http://schemas.microsoft.com/office/drawing/2014/main" id="{164708AE-1D1A-4CD7-88C3-E33E7A782CEA}"/>
                </a:ext>
              </a:extLst>
            </p:cNvPr>
            <p:cNvGrpSpPr/>
            <p:nvPr/>
          </p:nvGrpSpPr>
          <p:grpSpPr>
            <a:xfrm>
              <a:off x="4552531" y="4890655"/>
              <a:ext cx="128016" cy="128016"/>
              <a:chOff x="6617763" y="1494678"/>
              <a:chExt cx="188006" cy="188004"/>
            </a:xfrm>
          </p:grpSpPr>
          <p:sp>
            <p:nvSpPr>
              <p:cNvPr id="686" name="Oval 685">
                <a:extLst>
                  <a:ext uri="{FF2B5EF4-FFF2-40B4-BE49-F238E27FC236}">
                    <a16:creationId xmlns:a16="http://schemas.microsoft.com/office/drawing/2014/main" id="{E009A27D-C518-46EB-8EC1-162E5EB46A70}"/>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687" name="Freeform 10">
                <a:extLst>
                  <a:ext uri="{FF2B5EF4-FFF2-40B4-BE49-F238E27FC236}">
                    <a16:creationId xmlns:a16="http://schemas.microsoft.com/office/drawing/2014/main" id="{FFB688FD-7702-402E-8247-EF5C270F5FC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51" name="Group 150">
              <a:extLst>
                <a:ext uri="{FF2B5EF4-FFF2-40B4-BE49-F238E27FC236}">
                  <a16:creationId xmlns:a16="http://schemas.microsoft.com/office/drawing/2014/main" id="{1C1030FD-7AAF-49EA-A3C9-01054E7697E1}"/>
                </a:ext>
              </a:extLst>
            </p:cNvPr>
            <p:cNvGrpSpPr/>
            <p:nvPr/>
          </p:nvGrpSpPr>
          <p:grpSpPr>
            <a:xfrm>
              <a:off x="811373" y="4005555"/>
              <a:ext cx="128016" cy="128016"/>
              <a:chOff x="1520304" y="1939550"/>
              <a:chExt cx="726812" cy="726812"/>
            </a:xfrm>
          </p:grpSpPr>
          <p:sp>
            <p:nvSpPr>
              <p:cNvPr id="679" name="Oval 678">
                <a:extLst>
                  <a:ext uri="{FF2B5EF4-FFF2-40B4-BE49-F238E27FC236}">
                    <a16:creationId xmlns:a16="http://schemas.microsoft.com/office/drawing/2014/main" id="{1AF420B1-96E8-4E4A-954E-5290255381D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80" name="Group 679">
                <a:extLst>
                  <a:ext uri="{FF2B5EF4-FFF2-40B4-BE49-F238E27FC236}">
                    <a16:creationId xmlns:a16="http://schemas.microsoft.com/office/drawing/2014/main" id="{73FA40BA-4B5F-4726-B200-4CE1B7EA5556}"/>
                  </a:ext>
                </a:extLst>
              </p:cNvPr>
              <p:cNvGrpSpPr/>
              <p:nvPr/>
            </p:nvGrpSpPr>
            <p:grpSpPr>
              <a:xfrm>
                <a:off x="1627350" y="2071688"/>
                <a:ext cx="512722" cy="462536"/>
                <a:chOff x="1302898" y="1640683"/>
                <a:chExt cx="1201027" cy="1083468"/>
              </a:xfrm>
            </p:grpSpPr>
            <p:sp>
              <p:nvSpPr>
                <p:cNvPr id="681" name="Freeform 34">
                  <a:extLst>
                    <a:ext uri="{FF2B5EF4-FFF2-40B4-BE49-F238E27FC236}">
                      <a16:creationId xmlns:a16="http://schemas.microsoft.com/office/drawing/2014/main" id="{3554865B-133C-4F8B-9FB3-575D13D3D72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82" name="Freeform 37">
                  <a:extLst>
                    <a:ext uri="{FF2B5EF4-FFF2-40B4-BE49-F238E27FC236}">
                      <a16:creationId xmlns:a16="http://schemas.microsoft.com/office/drawing/2014/main" id="{5E326443-42A3-412F-90B1-F38DCAA9DE80}"/>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83" name="Freeform 39">
                  <a:extLst>
                    <a:ext uri="{FF2B5EF4-FFF2-40B4-BE49-F238E27FC236}">
                      <a16:creationId xmlns:a16="http://schemas.microsoft.com/office/drawing/2014/main" id="{F9373E3D-0FAF-4DBC-805B-CCF388773204}"/>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84" name="Freeform 40">
                  <a:extLst>
                    <a:ext uri="{FF2B5EF4-FFF2-40B4-BE49-F238E27FC236}">
                      <a16:creationId xmlns:a16="http://schemas.microsoft.com/office/drawing/2014/main" id="{76070A74-3BFF-4B50-AC79-0AFDDCF00441}"/>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85" name="Freeform 5">
                  <a:extLst>
                    <a:ext uri="{FF2B5EF4-FFF2-40B4-BE49-F238E27FC236}">
                      <a16:creationId xmlns:a16="http://schemas.microsoft.com/office/drawing/2014/main" id="{A349592C-2F1B-49B0-B3D1-A6F8856E2F3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52" name="Group 151">
              <a:extLst>
                <a:ext uri="{FF2B5EF4-FFF2-40B4-BE49-F238E27FC236}">
                  <a16:creationId xmlns:a16="http://schemas.microsoft.com/office/drawing/2014/main" id="{2DEBABF7-C644-42EC-9C30-2F33868C513D}"/>
                </a:ext>
              </a:extLst>
            </p:cNvPr>
            <p:cNvGrpSpPr/>
            <p:nvPr/>
          </p:nvGrpSpPr>
          <p:grpSpPr>
            <a:xfrm>
              <a:off x="3226555" y="3874805"/>
              <a:ext cx="128016" cy="128016"/>
              <a:chOff x="1520304" y="1939550"/>
              <a:chExt cx="726812" cy="726812"/>
            </a:xfrm>
          </p:grpSpPr>
          <p:sp>
            <p:nvSpPr>
              <p:cNvPr id="672" name="Oval 671">
                <a:extLst>
                  <a:ext uri="{FF2B5EF4-FFF2-40B4-BE49-F238E27FC236}">
                    <a16:creationId xmlns:a16="http://schemas.microsoft.com/office/drawing/2014/main" id="{EF36B68B-1E5B-44A6-BADF-1AA286E96EA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73" name="Group 672">
                <a:extLst>
                  <a:ext uri="{FF2B5EF4-FFF2-40B4-BE49-F238E27FC236}">
                    <a16:creationId xmlns:a16="http://schemas.microsoft.com/office/drawing/2014/main" id="{2829D4FB-829E-4501-959C-D22DB54A9308}"/>
                  </a:ext>
                </a:extLst>
              </p:cNvPr>
              <p:cNvGrpSpPr/>
              <p:nvPr/>
            </p:nvGrpSpPr>
            <p:grpSpPr>
              <a:xfrm>
                <a:off x="1627350" y="2071688"/>
                <a:ext cx="512722" cy="462536"/>
                <a:chOff x="1302898" y="1640683"/>
                <a:chExt cx="1201027" cy="1083468"/>
              </a:xfrm>
            </p:grpSpPr>
            <p:sp>
              <p:nvSpPr>
                <p:cNvPr id="674" name="Freeform 34">
                  <a:extLst>
                    <a:ext uri="{FF2B5EF4-FFF2-40B4-BE49-F238E27FC236}">
                      <a16:creationId xmlns:a16="http://schemas.microsoft.com/office/drawing/2014/main" id="{5974BA45-F071-45F6-BAEA-E9ED12016BC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75" name="Freeform 37">
                  <a:extLst>
                    <a:ext uri="{FF2B5EF4-FFF2-40B4-BE49-F238E27FC236}">
                      <a16:creationId xmlns:a16="http://schemas.microsoft.com/office/drawing/2014/main" id="{5925E010-0AA2-4B60-9003-39C116835141}"/>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76" name="Freeform 39">
                  <a:extLst>
                    <a:ext uri="{FF2B5EF4-FFF2-40B4-BE49-F238E27FC236}">
                      <a16:creationId xmlns:a16="http://schemas.microsoft.com/office/drawing/2014/main" id="{A0D950FA-6114-42EE-9E0D-D854C4B056A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77" name="Freeform 40">
                  <a:extLst>
                    <a:ext uri="{FF2B5EF4-FFF2-40B4-BE49-F238E27FC236}">
                      <a16:creationId xmlns:a16="http://schemas.microsoft.com/office/drawing/2014/main" id="{71D7E5F4-59CA-41BB-B05D-C26E3A36485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78" name="Freeform 5">
                  <a:extLst>
                    <a:ext uri="{FF2B5EF4-FFF2-40B4-BE49-F238E27FC236}">
                      <a16:creationId xmlns:a16="http://schemas.microsoft.com/office/drawing/2014/main" id="{DF18D31A-7EC9-4F86-BEB4-8FB2543C6424}"/>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53" name="Group 152">
              <a:extLst>
                <a:ext uri="{FF2B5EF4-FFF2-40B4-BE49-F238E27FC236}">
                  <a16:creationId xmlns:a16="http://schemas.microsoft.com/office/drawing/2014/main" id="{A8BEFDD8-C916-4A56-BF99-B274BE548D35}"/>
                </a:ext>
              </a:extLst>
            </p:cNvPr>
            <p:cNvGrpSpPr/>
            <p:nvPr/>
          </p:nvGrpSpPr>
          <p:grpSpPr>
            <a:xfrm>
              <a:off x="2604856" y="4017578"/>
              <a:ext cx="128016" cy="128016"/>
              <a:chOff x="1520304" y="1939550"/>
              <a:chExt cx="726812" cy="726812"/>
            </a:xfrm>
          </p:grpSpPr>
          <p:sp>
            <p:nvSpPr>
              <p:cNvPr id="665" name="Oval 664">
                <a:extLst>
                  <a:ext uri="{FF2B5EF4-FFF2-40B4-BE49-F238E27FC236}">
                    <a16:creationId xmlns:a16="http://schemas.microsoft.com/office/drawing/2014/main" id="{BECAA0E7-08A1-4EB7-9401-798D6C30FBD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66" name="Group 665">
                <a:extLst>
                  <a:ext uri="{FF2B5EF4-FFF2-40B4-BE49-F238E27FC236}">
                    <a16:creationId xmlns:a16="http://schemas.microsoft.com/office/drawing/2014/main" id="{A8CC7ED6-C573-4787-ADE5-C750C9DD377C}"/>
                  </a:ext>
                </a:extLst>
              </p:cNvPr>
              <p:cNvGrpSpPr/>
              <p:nvPr/>
            </p:nvGrpSpPr>
            <p:grpSpPr>
              <a:xfrm>
                <a:off x="1627350" y="2071688"/>
                <a:ext cx="512722" cy="462536"/>
                <a:chOff x="1302898" y="1640683"/>
                <a:chExt cx="1201027" cy="1083468"/>
              </a:xfrm>
            </p:grpSpPr>
            <p:sp>
              <p:nvSpPr>
                <p:cNvPr id="667" name="Freeform 34">
                  <a:extLst>
                    <a:ext uri="{FF2B5EF4-FFF2-40B4-BE49-F238E27FC236}">
                      <a16:creationId xmlns:a16="http://schemas.microsoft.com/office/drawing/2014/main" id="{15E7C8ED-A86B-404D-9D5A-DFD15BAA735A}"/>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68" name="Freeform 37">
                  <a:extLst>
                    <a:ext uri="{FF2B5EF4-FFF2-40B4-BE49-F238E27FC236}">
                      <a16:creationId xmlns:a16="http://schemas.microsoft.com/office/drawing/2014/main" id="{8A510458-423C-4FA6-9451-8996B21E08B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69" name="Freeform 39">
                  <a:extLst>
                    <a:ext uri="{FF2B5EF4-FFF2-40B4-BE49-F238E27FC236}">
                      <a16:creationId xmlns:a16="http://schemas.microsoft.com/office/drawing/2014/main" id="{1B6CE8E7-8B9A-4497-B909-647A14DD9720}"/>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70" name="Freeform 40">
                  <a:extLst>
                    <a:ext uri="{FF2B5EF4-FFF2-40B4-BE49-F238E27FC236}">
                      <a16:creationId xmlns:a16="http://schemas.microsoft.com/office/drawing/2014/main" id="{7504F1AD-94A6-4080-B1CB-FA2F38CFCF42}"/>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71" name="Freeform 5">
                  <a:extLst>
                    <a:ext uri="{FF2B5EF4-FFF2-40B4-BE49-F238E27FC236}">
                      <a16:creationId xmlns:a16="http://schemas.microsoft.com/office/drawing/2014/main" id="{917AE7B0-EE9C-4FE7-967E-D7601EBE791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54" name="Group 153">
              <a:extLst>
                <a:ext uri="{FF2B5EF4-FFF2-40B4-BE49-F238E27FC236}">
                  <a16:creationId xmlns:a16="http://schemas.microsoft.com/office/drawing/2014/main" id="{1559A3A2-CD0F-4CE6-9F9D-813B47038D43}"/>
                </a:ext>
              </a:extLst>
            </p:cNvPr>
            <p:cNvGrpSpPr/>
            <p:nvPr/>
          </p:nvGrpSpPr>
          <p:grpSpPr>
            <a:xfrm>
              <a:off x="2509070" y="3602743"/>
              <a:ext cx="128016" cy="128016"/>
              <a:chOff x="1520304" y="1939550"/>
              <a:chExt cx="726812" cy="726812"/>
            </a:xfrm>
          </p:grpSpPr>
          <p:sp>
            <p:nvSpPr>
              <p:cNvPr id="658" name="Oval 657">
                <a:extLst>
                  <a:ext uri="{FF2B5EF4-FFF2-40B4-BE49-F238E27FC236}">
                    <a16:creationId xmlns:a16="http://schemas.microsoft.com/office/drawing/2014/main" id="{B90B8261-991B-45DA-B4C5-AD906F6A15B3}"/>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59" name="Group 658">
                <a:extLst>
                  <a:ext uri="{FF2B5EF4-FFF2-40B4-BE49-F238E27FC236}">
                    <a16:creationId xmlns:a16="http://schemas.microsoft.com/office/drawing/2014/main" id="{F5A250C6-18A3-453C-ADF8-328CD482189A}"/>
                  </a:ext>
                </a:extLst>
              </p:cNvPr>
              <p:cNvGrpSpPr/>
              <p:nvPr/>
            </p:nvGrpSpPr>
            <p:grpSpPr>
              <a:xfrm>
                <a:off x="1627350" y="2071688"/>
                <a:ext cx="512722" cy="462536"/>
                <a:chOff x="1302898" y="1640683"/>
                <a:chExt cx="1201027" cy="1083468"/>
              </a:xfrm>
            </p:grpSpPr>
            <p:sp>
              <p:nvSpPr>
                <p:cNvPr id="660" name="Freeform 34">
                  <a:extLst>
                    <a:ext uri="{FF2B5EF4-FFF2-40B4-BE49-F238E27FC236}">
                      <a16:creationId xmlns:a16="http://schemas.microsoft.com/office/drawing/2014/main" id="{0EAE1484-3ECD-44C7-A207-0FB3D03A739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61" name="Freeform 37">
                  <a:extLst>
                    <a:ext uri="{FF2B5EF4-FFF2-40B4-BE49-F238E27FC236}">
                      <a16:creationId xmlns:a16="http://schemas.microsoft.com/office/drawing/2014/main" id="{B610B197-D194-4A12-9E28-572AF5EF9BE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62" name="Freeform 39">
                  <a:extLst>
                    <a:ext uri="{FF2B5EF4-FFF2-40B4-BE49-F238E27FC236}">
                      <a16:creationId xmlns:a16="http://schemas.microsoft.com/office/drawing/2014/main" id="{1AAEAED0-1202-48CD-90B1-09F279CF2AA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63" name="Freeform 40">
                  <a:extLst>
                    <a:ext uri="{FF2B5EF4-FFF2-40B4-BE49-F238E27FC236}">
                      <a16:creationId xmlns:a16="http://schemas.microsoft.com/office/drawing/2014/main" id="{22257315-E1D1-4BA8-8FA6-3107913C8B9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64" name="Freeform 5">
                  <a:extLst>
                    <a:ext uri="{FF2B5EF4-FFF2-40B4-BE49-F238E27FC236}">
                      <a16:creationId xmlns:a16="http://schemas.microsoft.com/office/drawing/2014/main" id="{B68F9061-F447-4F50-9A6A-3AE6FEE5CAD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55" name="Group 154">
              <a:extLst>
                <a:ext uri="{FF2B5EF4-FFF2-40B4-BE49-F238E27FC236}">
                  <a16:creationId xmlns:a16="http://schemas.microsoft.com/office/drawing/2014/main" id="{3BBBC709-6E54-4ADD-982B-B4C992F57458}"/>
                </a:ext>
              </a:extLst>
            </p:cNvPr>
            <p:cNvGrpSpPr/>
            <p:nvPr/>
          </p:nvGrpSpPr>
          <p:grpSpPr>
            <a:xfrm>
              <a:off x="2352688" y="3546402"/>
              <a:ext cx="128016" cy="128016"/>
              <a:chOff x="1520304" y="1939550"/>
              <a:chExt cx="726812" cy="726812"/>
            </a:xfrm>
          </p:grpSpPr>
          <p:sp>
            <p:nvSpPr>
              <p:cNvPr id="651" name="Oval 650">
                <a:extLst>
                  <a:ext uri="{FF2B5EF4-FFF2-40B4-BE49-F238E27FC236}">
                    <a16:creationId xmlns:a16="http://schemas.microsoft.com/office/drawing/2014/main" id="{18D8D77B-43C0-46DB-8CA3-4F5693416775}"/>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52" name="Group 651">
                <a:extLst>
                  <a:ext uri="{FF2B5EF4-FFF2-40B4-BE49-F238E27FC236}">
                    <a16:creationId xmlns:a16="http://schemas.microsoft.com/office/drawing/2014/main" id="{3C80E4DB-D0E5-4C04-9E1E-11BEBDDD111C}"/>
                  </a:ext>
                </a:extLst>
              </p:cNvPr>
              <p:cNvGrpSpPr/>
              <p:nvPr/>
            </p:nvGrpSpPr>
            <p:grpSpPr>
              <a:xfrm>
                <a:off x="1627350" y="2071688"/>
                <a:ext cx="512722" cy="462536"/>
                <a:chOff x="1302898" y="1640683"/>
                <a:chExt cx="1201027" cy="1083468"/>
              </a:xfrm>
            </p:grpSpPr>
            <p:sp>
              <p:nvSpPr>
                <p:cNvPr id="653" name="Freeform 34">
                  <a:extLst>
                    <a:ext uri="{FF2B5EF4-FFF2-40B4-BE49-F238E27FC236}">
                      <a16:creationId xmlns:a16="http://schemas.microsoft.com/office/drawing/2014/main" id="{95202090-5053-4889-B6DC-C944FAF6CCC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54" name="Freeform 37">
                  <a:extLst>
                    <a:ext uri="{FF2B5EF4-FFF2-40B4-BE49-F238E27FC236}">
                      <a16:creationId xmlns:a16="http://schemas.microsoft.com/office/drawing/2014/main" id="{73610ECA-685C-419F-A325-3CBA763EA83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55" name="Freeform 39">
                  <a:extLst>
                    <a:ext uri="{FF2B5EF4-FFF2-40B4-BE49-F238E27FC236}">
                      <a16:creationId xmlns:a16="http://schemas.microsoft.com/office/drawing/2014/main" id="{06AC0F68-B5FE-4E9C-A7C1-711AE06F500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56" name="Freeform 40">
                  <a:extLst>
                    <a:ext uri="{FF2B5EF4-FFF2-40B4-BE49-F238E27FC236}">
                      <a16:creationId xmlns:a16="http://schemas.microsoft.com/office/drawing/2014/main" id="{06BFA05A-2F73-48BE-B31F-0CB02F69100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57" name="Freeform 5">
                  <a:extLst>
                    <a:ext uri="{FF2B5EF4-FFF2-40B4-BE49-F238E27FC236}">
                      <a16:creationId xmlns:a16="http://schemas.microsoft.com/office/drawing/2014/main" id="{500449F6-A2FE-4AF2-AA72-ACEA14DE72C3}"/>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56" name="Group 155">
              <a:extLst>
                <a:ext uri="{FF2B5EF4-FFF2-40B4-BE49-F238E27FC236}">
                  <a16:creationId xmlns:a16="http://schemas.microsoft.com/office/drawing/2014/main" id="{A0C714B8-D008-4591-B284-1D72136B4EF7}"/>
                </a:ext>
              </a:extLst>
            </p:cNvPr>
            <p:cNvGrpSpPr/>
            <p:nvPr/>
          </p:nvGrpSpPr>
          <p:grpSpPr>
            <a:xfrm>
              <a:off x="2201878" y="3414984"/>
              <a:ext cx="128016" cy="128016"/>
              <a:chOff x="1520304" y="1939550"/>
              <a:chExt cx="726812" cy="726812"/>
            </a:xfrm>
          </p:grpSpPr>
          <p:sp>
            <p:nvSpPr>
              <p:cNvPr id="644" name="Oval 643">
                <a:extLst>
                  <a:ext uri="{FF2B5EF4-FFF2-40B4-BE49-F238E27FC236}">
                    <a16:creationId xmlns:a16="http://schemas.microsoft.com/office/drawing/2014/main" id="{E60043E3-FCB4-4AFF-918D-10715CE13C1A}"/>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45" name="Group 644">
                <a:extLst>
                  <a:ext uri="{FF2B5EF4-FFF2-40B4-BE49-F238E27FC236}">
                    <a16:creationId xmlns:a16="http://schemas.microsoft.com/office/drawing/2014/main" id="{2A2FC698-6CDB-4BF6-8815-932F495FC8C5}"/>
                  </a:ext>
                </a:extLst>
              </p:cNvPr>
              <p:cNvGrpSpPr/>
              <p:nvPr/>
            </p:nvGrpSpPr>
            <p:grpSpPr>
              <a:xfrm>
                <a:off x="1627350" y="2071688"/>
                <a:ext cx="512722" cy="462536"/>
                <a:chOff x="1302898" y="1640683"/>
                <a:chExt cx="1201027" cy="1083468"/>
              </a:xfrm>
            </p:grpSpPr>
            <p:sp>
              <p:nvSpPr>
                <p:cNvPr id="646" name="Freeform 34">
                  <a:extLst>
                    <a:ext uri="{FF2B5EF4-FFF2-40B4-BE49-F238E27FC236}">
                      <a16:creationId xmlns:a16="http://schemas.microsoft.com/office/drawing/2014/main" id="{D93BD438-D39E-4861-9A28-1630D718ECE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47" name="Freeform 37">
                  <a:extLst>
                    <a:ext uri="{FF2B5EF4-FFF2-40B4-BE49-F238E27FC236}">
                      <a16:creationId xmlns:a16="http://schemas.microsoft.com/office/drawing/2014/main" id="{33F5B410-F530-4C32-965C-53A3F10D3A2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48" name="Freeform 39">
                  <a:extLst>
                    <a:ext uri="{FF2B5EF4-FFF2-40B4-BE49-F238E27FC236}">
                      <a16:creationId xmlns:a16="http://schemas.microsoft.com/office/drawing/2014/main" id="{899C61F0-F553-4A1F-93B8-4D0CAA1D4E9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49" name="Freeform 40">
                  <a:extLst>
                    <a:ext uri="{FF2B5EF4-FFF2-40B4-BE49-F238E27FC236}">
                      <a16:creationId xmlns:a16="http://schemas.microsoft.com/office/drawing/2014/main" id="{608DCCE6-83AA-45C8-B431-CD422F757DC7}"/>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50" name="Freeform 5">
                  <a:extLst>
                    <a:ext uri="{FF2B5EF4-FFF2-40B4-BE49-F238E27FC236}">
                      <a16:creationId xmlns:a16="http://schemas.microsoft.com/office/drawing/2014/main" id="{178E613E-7FD5-4357-AFCF-E4AB6E3CA0AE}"/>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57" name="Group 156">
              <a:extLst>
                <a:ext uri="{FF2B5EF4-FFF2-40B4-BE49-F238E27FC236}">
                  <a16:creationId xmlns:a16="http://schemas.microsoft.com/office/drawing/2014/main" id="{906D0B9C-1C1F-4E60-9B99-AFB8ED278752}"/>
                </a:ext>
              </a:extLst>
            </p:cNvPr>
            <p:cNvGrpSpPr/>
            <p:nvPr/>
          </p:nvGrpSpPr>
          <p:grpSpPr>
            <a:xfrm>
              <a:off x="2104492" y="3534952"/>
              <a:ext cx="128016" cy="128016"/>
              <a:chOff x="1520304" y="1939550"/>
              <a:chExt cx="726812" cy="726812"/>
            </a:xfrm>
          </p:grpSpPr>
          <p:sp>
            <p:nvSpPr>
              <p:cNvPr id="637" name="Oval 636">
                <a:extLst>
                  <a:ext uri="{FF2B5EF4-FFF2-40B4-BE49-F238E27FC236}">
                    <a16:creationId xmlns:a16="http://schemas.microsoft.com/office/drawing/2014/main" id="{EAB10CEB-B5F0-4102-91A7-1555EAAC8275}"/>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38" name="Group 637">
                <a:extLst>
                  <a:ext uri="{FF2B5EF4-FFF2-40B4-BE49-F238E27FC236}">
                    <a16:creationId xmlns:a16="http://schemas.microsoft.com/office/drawing/2014/main" id="{20C70727-3527-4D38-820F-D424FC52E0A5}"/>
                  </a:ext>
                </a:extLst>
              </p:cNvPr>
              <p:cNvGrpSpPr/>
              <p:nvPr/>
            </p:nvGrpSpPr>
            <p:grpSpPr>
              <a:xfrm>
                <a:off x="1627350" y="2071688"/>
                <a:ext cx="512722" cy="462536"/>
                <a:chOff x="1302898" y="1640683"/>
                <a:chExt cx="1201027" cy="1083468"/>
              </a:xfrm>
            </p:grpSpPr>
            <p:sp>
              <p:nvSpPr>
                <p:cNvPr id="639" name="Freeform 34">
                  <a:extLst>
                    <a:ext uri="{FF2B5EF4-FFF2-40B4-BE49-F238E27FC236}">
                      <a16:creationId xmlns:a16="http://schemas.microsoft.com/office/drawing/2014/main" id="{984DD387-36AF-4643-87E1-715D0494377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40" name="Freeform 37">
                  <a:extLst>
                    <a:ext uri="{FF2B5EF4-FFF2-40B4-BE49-F238E27FC236}">
                      <a16:creationId xmlns:a16="http://schemas.microsoft.com/office/drawing/2014/main" id="{40FDB8B2-8938-4654-BD90-A138175C8ECC}"/>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41" name="Freeform 39">
                  <a:extLst>
                    <a:ext uri="{FF2B5EF4-FFF2-40B4-BE49-F238E27FC236}">
                      <a16:creationId xmlns:a16="http://schemas.microsoft.com/office/drawing/2014/main" id="{3DFE1ED3-D9E7-4602-9FB8-A0FAB8562E4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42" name="Freeform 40">
                  <a:extLst>
                    <a:ext uri="{FF2B5EF4-FFF2-40B4-BE49-F238E27FC236}">
                      <a16:creationId xmlns:a16="http://schemas.microsoft.com/office/drawing/2014/main" id="{7E11F8A2-2D94-411F-82D8-3259D83239C0}"/>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43" name="Freeform 5">
                  <a:extLst>
                    <a:ext uri="{FF2B5EF4-FFF2-40B4-BE49-F238E27FC236}">
                      <a16:creationId xmlns:a16="http://schemas.microsoft.com/office/drawing/2014/main" id="{65D9EA2E-C285-447E-905F-92B843B5C11E}"/>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58" name="Group 157">
              <a:extLst>
                <a:ext uri="{FF2B5EF4-FFF2-40B4-BE49-F238E27FC236}">
                  <a16:creationId xmlns:a16="http://schemas.microsoft.com/office/drawing/2014/main" id="{D95A7EFB-7315-43CC-9651-5EBAECAAC3F5}"/>
                </a:ext>
              </a:extLst>
            </p:cNvPr>
            <p:cNvGrpSpPr/>
            <p:nvPr/>
          </p:nvGrpSpPr>
          <p:grpSpPr>
            <a:xfrm>
              <a:off x="2003440" y="3338198"/>
              <a:ext cx="128016" cy="128016"/>
              <a:chOff x="1520304" y="1939550"/>
              <a:chExt cx="726812" cy="726812"/>
            </a:xfrm>
          </p:grpSpPr>
          <p:sp>
            <p:nvSpPr>
              <p:cNvPr id="630" name="Oval 629">
                <a:extLst>
                  <a:ext uri="{FF2B5EF4-FFF2-40B4-BE49-F238E27FC236}">
                    <a16:creationId xmlns:a16="http://schemas.microsoft.com/office/drawing/2014/main" id="{4D267B14-1CA4-4452-A0E7-DB0964863DBD}"/>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31" name="Group 630">
                <a:extLst>
                  <a:ext uri="{FF2B5EF4-FFF2-40B4-BE49-F238E27FC236}">
                    <a16:creationId xmlns:a16="http://schemas.microsoft.com/office/drawing/2014/main" id="{5D1D193B-6DD4-4C85-96E6-5EC4A22F55FD}"/>
                  </a:ext>
                </a:extLst>
              </p:cNvPr>
              <p:cNvGrpSpPr/>
              <p:nvPr/>
            </p:nvGrpSpPr>
            <p:grpSpPr>
              <a:xfrm>
                <a:off x="1627350" y="2071688"/>
                <a:ext cx="512722" cy="462536"/>
                <a:chOff x="1302898" y="1640683"/>
                <a:chExt cx="1201027" cy="1083468"/>
              </a:xfrm>
            </p:grpSpPr>
            <p:sp>
              <p:nvSpPr>
                <p:cNvPr id="632" name="Freeform 34">
                  <a:extLst>
                    <a:ext uri="{FF2B5EF4-FFF2-40B4-BE49-F238E27FC236}">
                      <a16:creationId xmlns:a16="http://schemas.microsoft.com/office/drawing/2014/main" id="{2C506D11-9B0F-4CF2-8346-FDE13A44B2E2}"/>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33" name="Freeform 37">
                  <a:extLst>
                    <a:ext uri="{FF2B5EF4-FFF2-40B4-BE49-F238E27FC236}">
                      <a16:creationId xmlns:a16="http://schemas.microsoft.com/office/drawing/2014/main" id="{2426C977-AA4B-4DC1-84FF-77F738A725F1}"/>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34" name="Freeform 39">
                  <a:extLst>
                    <a:ext uri="{FF2B5EF4-FFF2-40B4-BE49-F238E27FC236}">
                      <a16:creationId xmlns:a16="http://schemas.microsoft.com/office/drawing/2014/main" id="{47BCEEB0-BED0-4E0E-90FD-9D2D8870C9B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35" name="Freeform 40">
                  <a:extLst>
                    <a:ext uri="{FF2B5EF4-FFF2-40B4-BE49-F238E27FC236}">
                      <a16:creationId xmlns:a16="http://schemas.microsoft.com/office/drawing/2014/main" id="{F79D3ADD-06B1-4478-87BA-AF500C7D0F1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36" name="Freeform 5">
                  <a:extLst>
                    <a:ext uri="{FF2B5EF4-FFF2-40B4-BE49-F238E27FC236}">
                      <a16:creationId xmlns:a16="http://schemas.microsoft.com/office/drawing/2014/main" id="{2DC9C490-1B9D-488A-8A0E-26B539AEB8A3}"/>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59" name="Group 158">
              <a:extLst>
                <a:ext uri="{FF2B5EF4-FFF2-40B4-BE49-F238E27FC236}">
                  <a16:creationId xmlns:a16="http://schemas.microsoft.com/office/drawing/2014/main" id="{A140ACC3-A453-4BD9-A673-30F86F1FD03A}"/>
                </a:ext>
              </a:extLst>
            </p:cNvPr>
            <p:cNvGrpSpPr/>
            <p:nvPr/>
          </p:nvGrpSpPr>
          <p:grpSpPr>
            <a:xfrm>
              <a:off x="2817462" y="3664990"/>
              <a:ext cx="128016" cy="128016"/>
              <a:chOff x="1520304" y="1939550"/>
              <a:chExt cx="726812" cy="726812"/>
            </a:xfrm>
          </p:grpSpPr>
          <p:sp>
            <p:nvSpPr>
              <p:cNvPr id="623" name="Oval 622">
                <a:extLst>
                  <a:ext uri="{FF2B5EF4-FFF2-40B4-BE49-F238E27FC236}">
                    <a16:creationId xmlns:a16="http://schemas.microsoft.com/office/drawing/2014/main" id="{54EA66E7-110B-44D5-884C-ECA8AE7EE28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24" name="Group 623">
                <a:extLst>
                  <a:ext uri="{FF2B5EF4-FFF2-40B4-BE49-F238E27FC236}">
                    <a16:creationId xmlns:a16="http://schemas.microsoft.com/office/drawing/2014/main" id="{D85789DB-FE4D-4677-A1FB-C99731FC3F94}"/>
                  </a:ext>
                </a:extLst>
              </p:cNvPr>
              <p:cNvGrpSpPr/>
              <p:nvPr/>
            </p:nvGrpSpPr>
            <p:grpSpPr>
              <a:xfrm>
                <a:off x="1627350" y="2071688"/>
                <a:ext cx="512722" cy="462536"/>
                <a:chOff x="1302898" y="1640683"/>
                <a:chExt cx="1201027" cy="1083468"/>
              </a:xfrm>
            </p:grpSpPr>
            <p:sp>
              <p:nvSpPr>
                <p:cNvPr id="625" name="Freeform 34">
                  <a:extLst>
                    <a:ext uri="{FF2B5EF4-FFF2-40B4-BE49-F238E27FC236}">
                      <a16:creationId xmlns:a16="http://schemas.microsoft.com/office/drawing/2014/main" id="{132872DD-F1E2-4968-8A77-B6070360F76E}"/>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26" name="Freeform 37">
                  <a:extLst>
                    <a:ext uri="{FF2B5EF4-FFF2-40B4-BE49-F238E27FC236}">
                      <a16:creationId xmlns:a16="http://schemas.microsoft.com/office/drawing/2014/main" id="{81079EE2-30E9-4D55-ABA3-9E569531D02C}"/>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27" name="Freeform 39">
                  <a:extLst>
                    <a:ext uri="{FF2B5EF4-FFF2-40B4-BE49-F238E27FC236}">
                      <a16:creationId xmlns:a16="http://schemas.microsoft.com/office/drawing/2014/main" id="{EDAE1460-F4F0-49D1-A6C2-D2864331803A}"/>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28" name="Freeform 40">
                  <a:extLst>
                    <a:ext uri="{FF2B5EF4-FFF2-40B4-BE49-F238E27FC236}">
                      <a16:creationId xmlns:a16="http://schemas.microsoft.com/office/drawing/2014/main" id="{790D8D9C-E5EC-4BD6-B7DD-459DADAD98E0}"/>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29" name="Freeform 5">
                  <a:extLst>
                    <a:ext uri="{FF2B5EF4-FFF2-40B4-BE49-F238E27FC236}">
                      <a16:creationId xmlns:a16="http://schemas.microsoft.com/office/drawing/2014/main" id="{D6956BCD-8F32-4B7D-B23B-4D74B226A212}"/>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60" name="Group 159">
              <a:extLst>
                <a:ext uri="{FF2B5EF4-FFF2-40B4-BE49-F238E27FC236}">
                  <a16:creationId xmlns:a16="http://schemas.microsoft.com/office/drawing/2014/main" id="{6CB3F229-BCCA-459F-8873-91C207FEBC31}"/>
                </a:ext>
              </a:extLst>
            </p:cNvPr>
            <p:cNvGrpSpPr/>
            <p:nvPr/>
          </p:nvGrpSpPr>
          <p:grpSpPr>
            <a:xfrm>
              <a:off x="2732385" y="3720249"/>
              <a:ext cx="128016" cy="128016"/>
              <a:chOff x="6617763" y="1494678"/>
              <a:chExt cx="188006" cy="188004"/>
            </a:xfrm>
          </p:grpSpPr>
          <p:sp>
            <p:nvSpPr>
              <p:cNvPr id="621" name="Oval 620">
                <a:extLst>
                  <a:ext uri="{FF2B5EF4-FFF2-40B4-BE49-F238E27FC236}">
                    <a16:creationId xmlns:a16="http://schemas.microsoft.com/office/drawing/2014/main" id="{43A141E3-E0FE-4349-B3C3-B07CB2584A3E}"/>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622" name="Freeform 10">
                <a:extLst>
                  <a:ext uri="{FF2B5EF4-FFF2-40B4-BE49-F238E27FC236}">
                    <a16:creationId xmlns:a16="http://schemas.microsoft.com/office/drawing/2014/main" id="{DDEE667F-F9E1-4EA8-9BB9-40BD27AFD481}"/>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61" name="Group 160">
              <a:extLst>
                <a:ext uri="{FF2B5EF4-FFF2-40B4-BE49-F238E27FC236}">
                  <a16:creationId xmlns:a16="http://schemas.microsoft.com/office/drawing/2014/main" id="{0FE8E90F-3284-421F-8F95-373B7725842D}"/>
                </a:ext>
              </a:extLst>
            </p:cNvPr>
            <p:cNvGrpSpPr/>
            <p:nvPr/>
          </p:nvGrpSpPr>
          <p:grpSpPr>
            <a:xfrm>
              <a:off x="2008099" y="3359245"/>
              <a:ext cx="128016" cy="128016"/>
              <a:chOff x="6617763" y="1494678"/>
              <a:chExt cx="188006" cy="188004"/>
            </a:xfrm>
          </p:grpSpPr>
          <p:sp>
            <p:nvSpPr>
              <p:cNvPr id="619" name="Oval 618">
                <a:extLst>
                  <a:ext uri="{FF2B5EF4-FFF2-40B4-BE49-F238E27FC236}">
                    <a16:creationId xmlns:a16="http://schemas.microsoft.com/office/drawing/2014/main" id="{461E9F35-BC17-49EA-8D03-D00901FD2A29}"/>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620" name="Freeform 10">
                <a:extLst>
                  <a:ext uri="{FF2B5EF4-FFF2-40B4-BE49-F238E27FC236}">
                    <a16:creationId xmlns:a16="http://schemas.microsoft.com/office/drawing/2014/main" id="{9BEBAC63-6727-463C-BF8D-C960BF6BC81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62" name="Group 161">
              <a:extLst>
                <a:ext uri="{FF2B5EF4-FFF2-40B4-BE49-F238E27FC236}">
                  <a16:creationId xmlns:a16="http://schemas.microsoft.com/office/drawing/2014/main" id="{8B6E4EE6-58AE-46A6-8593-E4FD765B09B1}"/>
                </a:ext>
              </a:extLst>
            </p:cNvPr>
            <p:cNvGrpSpPr/>
            <p:nvPr/>
          </p:nvGrpSpPr>
          <p:grpSpPr>
            <a:xfrm>
              <a:off x="3098553" y="3597691"/>
              <a:ext cx="128016" cy="128016"/>
              <a:chOff x="1520304" y="1939550"/>
              <a:chExt cx="726812" cy="726812"/>
            </a:xfrm>
          </p:grpSpPr>
          <p:sp>
            <p:nvSpPr>
              <p:cNvPr id="612" name="Oval 611">
                <a:extLst>
                  <a:ext uri="{FF2B5EF4-FFF2-40B4-BE49-F238E27FC236}">
                    <a16:creationId xmlns:a16="http://schemas.microsoft.com/office/drawing/2014/main" id="{01C896E3-98A3-405A-BF66-A4845D7B5C5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13" name="Group 612">
                <a:extLst>
                  <a:ext uri="{FF2B5EF4-FFF2-40B4-BE49-F238E27FC236}">
                    <a16:creationId xmlns:a16="http://schemas.microsoft.com/office/drawing/2014/main" id="{E22DAE07-2E12-42D8-BAD2-9FEBEF0B6FA4}"/>
                  </a:ext>
                </a:extLst>
              </p:cNvPr>
              <p:cNvGrpSpPr/>
              <p:nvPr/>
            </p:nvGrpSpPr>
            <p:grpSpPr>
              <a:xfrm>
                <a:off x="1627350" y="2071688"/>
                <a:ext cx="512722" cy="462536"/>
                <a:chOff x="1302898" y="1640683"/>
                <a:chExt cx="1201027" cy="1083468"/>
              </a:xfrm>
            </p:grpSpPr>
            <p:sp>
              <p:nvSpPr>
                <p:cNvPr id="614" name="Freeform 34">
                  <a:extLst>
                    <a:ext uri="{FF2B5EF4-FFF2-40B4-BE49-F238E27FC236}">
                      <a16:creationId xmlns:a16="http://schemas.microsoft.com/office/drawing/2014/main" id="{3D33588E-E055-400F-9E44-3A337BDAFC16}"/>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15" name="Freeform 37">
                  <a:extLst>
                    <a:ext uri="{FF2B5EF4-FFF2-40B4-BE49-F238E27FC236}">
                      <a16:creationId xmlns:a16="http://schemas.microsoft.com/office/drawing/2014/main" id="{39F340D2-5424-42B4-9745-5044A75478E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16" name="Freeform 39">
                  <a:extLst>
                    <a:ext uri="{FF2B5EF4-FFF2-40B4-BE49-F238E27FC236}">
                      <a16:creationId xmlns:a16="http://schemas.microsoft.com/office/drawing/2014/main" id="{A7C34A84-32B5-44B5-BC67-8B9BC6CDDC6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17" name="Freeform 40">
                  <a:extLst>
                    <a:ext uri="{FF2B5EF4-FFF2-40B4-BE49-F238E27FC236}">
                      <a16:creationId xmlns:a16="http://schemas.microsoft.com/office/drawing/2014/main" id="{8E927B8E-D439-4479-86BA-CF34AFFEC06B}"/>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18" name="Freeform 5">
                  <a:extLst>
                    <a:ext uri="{FF2B5EF4-FFF2-40B4-BE49-F238E27FC236}">
                      <a16:creationId xmlns:a16="http://schemas.microsoft.com/office/drawing/2014/main" id="{685F7FA1-DDE4-4848-8A02-A005FA3C3BD2}"/>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63" name="Group 162">
              <a:extLst>
                <a:ext uri="{FF2B5EF4-FFF2-40B4-BE49-F238E27FC236}">
                  <a16:creationId xmlns:a16="http://schemas.microsoft.com/office/drawing/2014/main" id="{E64DA297-C92C-4B0D-BE61-B47E56E0EDBF}"/>
                </a:ext>
              </a:extLst>
            </p:cNvPr>
            <p:cNvGrpSpPr/>
            <p:nvPr/>
          </p:nvGrpSpPr>
          <p:grpSpPr>
            <a:xfrm>
              <a:off x="2449930" y="3334677"/>
              <a:ext cx="128016" cy="128016"/>
              <a:chOff x="1520304" y="1939550"/>
              <a:chExt cx="726812" cy="726812"/>
            </a:xfrm>
          </p:grpSpPr>
          <p:sp>
            <p:nvSpPr>
              <p:cNvPr id="605" name="Oval 604">
                <a:extLst>
                  <a:ext uri="{FF2B5EF4-FFF2-40B4-BE49-F238E27FC236}">
                    <a16:creationId xmlns:a16="http://schemas.microsoft.com/office/drawing/2014/main" id="{E115B94C-5BE1-4DA5-B171-2699779A075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06" name="Group 605">
                <a:extLst>
                  <a:ext uri="{FF2B5EF4-FFF2-40B4-BE49-F238E27FC236}">
                    <a16:creationId xmlns:a16="http://schemas.microsoft.com/office/drawing/2014/main" id="{F4F90E81-AA9C-4C2C-8A52-1BC51062E3C9}"/>
                  </a:ext>
                </a:extLst>
              </p:cNvPr>
              <p:cNvGrpSpPr/>
              <p:nvPr/>
            </p:nvGrpSpPr>
            <p:grpSpPr>
              <a:xfrm>
                <a:off x="1627350" y="2071688"/>
                <a:ext cx="512722" cy="462536"/>
                <a:chOff x="1302898" y="1640683"/>
                <a:chExt cx="1201027" cy="1083468"/>
              </a:xfrm>
            </p:grpSpPr>
            <p:sp>
              <p:nvSpPr>
                <p:cNvPr id="607" name="Freeform 34">
                  <a:extLst>
                    <a:ext uri="{FF2B5EF4-FFF2-40B4-BE49-F238E27FC236}">
                      <a16:creationId xmlns:a16="http://schemas.microsoft.com/office/drawing/2014/main" id="{C4DF0852-8DB8-44A4-9AD7-B5076A20841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08" name="Freeform 37">
                  <a:extLst>
                    <a:ext uri="{FF2B5EF4-FFF2-40B4-BE49-F238E27FC236}">
                      <a16:creationId xmlns:a16="http://schemas.microsoft.com/office/drawing/2014/main" id="{160D0308-EB0E-4911-B1D0-5B747E61289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09" name="Freeform 39">
                  <a:extLst>
                    <a:ext uri="{FF2B5EF4-FFF2-40B4-BE49-F238E27FC236}">
                      <a16:creationId xmlns:a16="http://schemas.microsoft.com/office/drawing/2014/main" id="{5291A59D-2B2F-4629-9526-7C5B0145FDD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10" name="Freeform 40">
                  <a:extLst>
                    <a:ext uri="{FF2B5EF4-FFF2-40B4-BE49-F238E27FC236}">
                      <a16:creationId xmlns:a16="http://schemas.microsoft.com/office/drawing/2014/main" id="{4B699855-34CC-4C95-8998-5515E42C4F0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11" name="Freeform 5">
                  <a:extLst>
                    <a:ext uri="{FF2B5EF4-FFF2-40B4-BE49-F238E27FC236}">
                      <a16:creationId xmlns:a16="http://schemas.microsoft.com/office/drawing/2014/main" id="{D093A611-3A37-4CDF-A4AD-9497199D84B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64" name="Group 163">
              <a:extLst>
                <a:ext uri="{FF2B5EF4-FFF2-40B4-BE49-F238E27FC236}">
                  <a16:creationId xmlns:a16="http://schemas.microsoft.com/office/drawing/2014/main" id="{C5E995E7-F0E8-4671-8BC0-DE452984F0A5}"/>
                </a:ext>
              </a:extLst>
            </p:cNvPr>
            <p:cNvGrpSpPr/>
            <p:nvPr/>
          </p:nvGrpSpPr>
          <p:grpSpPr>
            <a:xfrm>
              <a:off x="2452748" y="3300497"/>
              <a:ext cx="128016" cy="128016"/>
              <a:chOff x="6617763" y="1494678"/>
              <a:chExt cx="188006" cy="188004"/>
            </a:xfrm>
          </p:grpSpPr>
          <p:sp>
            <p:nvSpPr>
              <p:cNvPr id="603" name="Oval 602">
                <a:extLst>
                  <a:ext uri="{FF2B5EF4-FFF2-40B4-BE49-F238E27FC236}">
                    <a16:creationId xmlns:a16="http://schemas.microsoft.com/office/drawing/2014/main" id="{DFE9CCC7-DDE4-4C9A-BDA3-D16C80C04EE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604" name="Freeform 10">
                <a:extLst>
                  <a:ext uri="{FF2B5EF4-FFF2-40B4-BE49-F238E27FC236}">
                    <a16:creationId xmlns:a16="http://schemas.microsoft.com/office/drawing/2014/main" id="{BE01A981-DB5D-47FD-B345-CADD9E6C6A94}"/>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B41A40EF-3F11-402B-A194-82C2E9FEF9E1}"/>
                </a:ext>
              </a:extLst>
            </p:cNvPr>
            <p:cNvGrpSpPr/>
            <p:nvPr/>
          </p:nvGrpSpPr>
          <p:grpSpPr>
            <a:xfrm>
              <a:off x="2818124" y="3258372"/>
              <a:ext cx="128016" cy="128016"/>
              <a:chOff x="6617763" y="1494678"/>
              <a:chExt cx="188006" cy="188004"/>
            </a:xfrm>
          </p:grpSpPr>
          <p:sp>
            <p:nvSpPr>
              <p:cNvPr id="601" name="Oval 600">
                <a:extLst>
                  <a:ext uri="{FF2B5EF4-FFF2-40B4-BE49-F238E27FC236}">
                    <a16:creationId xmlns:a16="http://schemas.microsoft.com/office/drawing/2014/main" id="{927F5730-D222-4ED2-8DD1-D5A9364B8A1F}"/>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602" name="Freeform 10">
                <a:extLst>
                  <a:ext uri="{FF2B5EF4-FFF2-40B4-BE49-F238E27FC236}">
                    <a16:creationId xmlns:a16="http://schemas.microsoft.com/office/drawing/2014/main" id="{1105B72E-D68A-4FFB-B62B-7EE764C5602B}"/>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66" name="Group 165">
              <a:extLst>
                <a:ext uri="{FF2B5EF4-FFF2-40B4-BE49-F238E27FC236}">
                  <a16:creationId xmlns:a16="http://schemas.microsoft.com/office/drawing/2014/main" id="{411CECC9-6F30-4D6F-BFC8-79044F8C60BF}"/>
                </a:ext>
              </a:extLst>
            </p:cNvPr>
            <p:cNvGrpSpPr/>
            <p:nvPr/>
          </p:nvGrpSpPr>
          <p:grpSpPr>
            <a:xfrm>
              <a:off x="3016133" y="3243441"/>
              <a:ext cx="128016" cy="128016"/>
              <a:chOff x="1520304" y="1939550"/>
              <a:chExt cx="726812" cy="726812"/>
            </a:xfrm>
          </p:grpSpPr>
          <p:sp>
            <p:nvSpPr>
              <p:cNvPr id="594" name="Oval 593">
                <a:extLst>
                  <a:ext uri="{FF2B5EF4-FFF2-40B4-BE49-F238E27FC236}">
                    <a16:creationId xmlns:a16="http://schemas.microsoft.com/office/drawing/2014/main" id="{9A5981AB-46EE-4C23-A2DA-D25BC7A1AB4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95" name="Group 594">
                <a:extLst>
                  <a:ext uri="{FF2B5EF4-FFF2-40B4-BE49-F238E27FC236}">
                    <a16:creationId xmlns:a16="http://schemas.microsoft.com/office/drawing/2014/main" id="{0FBEF536-B1DE-4BC1-92AB-0C75AD761878}"/>
                  </a:ext>
                </a:extLst>
              </p:cNvPr>
              <p:cNvGrpSpPr/>
              <p:nvPr/>
            </p:nvGrpSpPr>
            <p:grpSpPr>
              <a:xfrm>
                <a:off x="1627350" y="2071688"/>
                <a:ext cx="512722" cy="462536"/>
                <a:chOff x="1302898" y="1640683"/>
                <a:chExt cx="1201027" cy="1083468"/>
              </a:xfrm>
            </p:grpSpPr>
            <p:sp>
              <p:nvSpPr>
                <p:cNvPr id="596" name="Freeform 34">
                  <a:extLst>
                    <a:ext uri="{FF2B5EF4-FFF2-40B4-BE49-F238E27FC236}">
                      <a16:creationId xmlns:a16="http://schemas.microsoft.com/office/drawing/2014/main" id="{8DDA8B74-2E51-4DBE-B695-E2292DB6EBA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97" name="Freeform 37">
                  <a:extLst>
                    <a:ext uri="{FF2B5EF4-FFF2-40B4-BE49-F238E27FC236}">
                      <a16:creationId xmlns:a16="http://schemas.microsoft.com/office/drawing/2014/main" id="{E06FDB1C-28D3-40A8-AFB9-4C02F24C5ACF}"/>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98" name="Freeform 39">
                  <a:extLst>
                    <a:ext uri="{FF2B5EF4-FFF2-40B4-BE49-F238E27FC236}">
                      <a16:creationId xmlns:a16="http://schemas.microsoft.com/office/drawing/2014/main" id="{F489FE62-FB08-4DD9-A21C-505DD232A44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99" name="Freeform 40">
                  <a:extLst>
                    <a:ext uri="{FF2B5EF4-FFF2-40B4-BE49-F238E27FC236}">
                      <a16:creationId xmlns:a16="http://schemas.microsoft.com/office/drawing/2014/main" id="{629C08F0-1EB4-4025-BB0B-70B47211E65F}"/>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00" name="Freeform 5">
                  <a:extLst>
                    <a:ext uri="{FF2B5EF4-FFF2-40B4-BE49-F238E27FC236}">
                      <a16:creationId xmlns:a16="http://schemas.microsoft.com/office/drawing/2014/main" id="{F9045A37-DE54-4D26-B310-D4E8D40886A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67" name="Group 166">
              <a:extLst>
                <a:ext uri="{FF2B5EF4-FFF2-40B4-BE49-F238E27FC236}">
                  <a16:creationId xmlns:a16="http://schemas.microsoft.com/office/drawing/2014/main" id="{E5673F21-2381-4444-9D7E-8ADE2E194851}"/>
                </a:ext>
              </a:extLst>
            </p:cNvPr>
            <p:cNvGrpSpPr/>
            <p:nvPr/>
          </p:nvGrpSpPr>
          <p:grpSpPr>
            <a:xfrm>
              <a:off x="3001299" y="3228641"/>
              <a:ext cx="128016" cy="128016"/>
              <a:chOff x="6617763" y="1494678"/>
              <a:chExt cx="188006" cy="188004"/>
            </a:xfrm>
          </p:grpSpPr>
          <p:sp>
            <p:nvSpPr>
              <p:cNvPr id="592" name="Oval 591">
                <a:extLst>
                  <a:ext uri="{FF2B5EF4-FFF2-40B4-BE49-F238E27FC236}">
                    <a16:creationId xmlns:a16="http://schemas.microsoft.com/office/drawing/2014/main" id="{34882488-6B86-458C-B827-A0761BC07AE5}"/>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593" name="Freeform 10">
                <a:extLst>
                  <a:ext uri="{FF2B5EF4-FFF2-40B4-BE49-F238E27FC236}">
                    <a16:creationId xmlns:a16="http://schemas.microsoft.com/office/drawing/2014/main" id="{CAB126AB-5162-4B18-8B56-50D67D0C61C3}"/>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3940343A-E080-49B3-8905-D0F75BADD419}"/>
                </a:ext>
              </a:extLst>
            </p:cNvPr>
            <p:cNvGrpSpPr/>
            <p:nvPr/>
          </p:nvGrpSpPr>
          <p:grpSpPr>
            <a:xfrm>
              <a:off x="3526734" y="3231230"/>
              <a:ext cx="128016" cy="128016"/>
              <a:chOff x="1520304" y="1939550"/>
              <a:chExt cx="726812" cy="726812"/>
            </a:xfrm>
          </p:grpSpPr>
          <p:sp>
            <p:nvSpPr>
              <p:cNvPr id="585" name="Oval 584">
                <a:extLst>
                  <a:ext uri="{FF2B5EF4-FFF2-40B4-BE49-F238E27FC236}">
                    <a16:creationId xmlns:a16="http://schemas.microsoft.com/office/drawing/2014/main" id="{46BF2CAB-71A8-412B-BE8C-1FB6A58BF68C}"/>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86" name="Group 585">
                <a:extLst>
                  <a:ext uri="{FF2B5EF4-FFF2-40B4-BE49-F238E27FC236}">
                    <a16:creationId xmlns:a16="http://schemas.microsoft.com/office/drawing/2014/main" id="{7C398E29-7565-426B-A561-490659F5B851}"/>
                  </a:ext>
                </a:extLst>
              </p:cNvPr>
              <p:cNvGrpSpPr/>
              <p:nvPr/>
            </p:nvGrpSpPr>
            <p:grpSpPr>
              <a:xfrm>
                <a:off x="1627350" y="2071688"/>
                <a:ext cx="512722" cy="462536"/>
                <a:chOff x="1302898" y="1640683"/>
                <a:chExt cx="1201027" cy="1083468"/>
              </a:xfrm>
            </p:grpSpPr>
            <p:sp>
              <p:nvSpPr>
                <p:cNvPr id="587" name="Freeform 34">
                  <a:extLst>
                    <a:ext uri="{FF2B5EF4-FFF2-40B4-BE49-F238E27FC236}">
                      <a16:creationId xmlns:a16="http://schemas.microsoft.com/office/drawing/2014/main" id="{07FE4DD2-C423-47EC-97AE-655210CD28D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88" name="Freeform 37">
                  <a:extLst>
                    <a:ext uri="{FF2B5EF4-FFF2-40B4-BE49-F238E27FC236}">
                      <a16:creationId xmlns:a16="http://schemas.microsoft.com/office/drawing/2014/main" id="{14DF5C91-5C56-438B-A180-A0A3F13181C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89" name="Freeform 39">
                  <a:extLst>
                    <a:ext uri="{FF2B5EF4-FFF2-40B4-BE49-F238E27FC236}">
                      <a16:creationId xmlns:a16="http://schemas.microsoft.com/office/drawing/2014/main" id="{AD085992-BEF2-4958-B188-A7641D78B4D6}"/>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90" name="Freeform 40">
                  <a:extLst>
                    <a:ext uri="{FF2B5EF4-FFF2-40B4-BE49-F238E27FC236}">
                      <a16:creationId xmlns:a16="http://schemas.microsoft.com/office/drawing/2014/main" id="{7E919D9F-5AA6-43A9-8D4D-FE81921949C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91" name="Freeform 5">
                  <a:extLst>
                    <a:ext uri="{FF2B5EF4-FFF2-40B4-BE49-F238E27FC236}">
                      <a16:creationId xmlns:a16="http://schemas.microsoft.com/office/drawing/2014/main" id="{EDA13D47-9AFB-4BB7-BC99-17CBB0F796A3}"/>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69" name="Group 168">
              <a:extLst>
                <a:ext uri="{FF2B5EF4-FFF2-40B4-BE49-F238E27FC236}">
                  <a16:creationId xmlns:a16="http://schemas.microsoft.com/office/drawing/2014/main" id="{A0BD713D-4DA7-4797-8ADB-1DB6B170C5AC}"/>
                </a:ext>
              </a:extLst>
            </p:cNvPr>
            <p:cNvGrpSpPr/>
            <p:nvPr/>
          </p:nvGrpSpPr>
          <p:grpSpPr>
            <a:xfrm>
              <a:off x="3285207" y="3453325"/>
              <a:ext cx="128016" cy="128016"/>
              <a:chOff x="6617763" y="1494678"/>
              <a:chExt cx="188006" cy="188004"/>
            </a:xfrm>
          </p:grpSpPr>
          <p:sp>
            <p:nvSpPr>
              <p:cNvPr id="583" name="Oval 582">
                <a:extLst>
                  <a:ext uri="{FF2B5EF4-FFF2-40B4-BE49-F238E27FC236}">
                    <a16:creationId xmlns:a16="http://schemas.microsoft.com/office/drawing/2014/main" id="{49F5A661-83C9-4BB5-9D4C-3521088546BE}"/>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584" name="Freeform 10">
                <a:extLst>
                  <a:ext uri="{FF2B5EF4-FFF2-40B4-BE49-F238E27FC236}">
                    <a16:creationId xmlns:a16="http://schemas.microsoft.com/office/drawing/2014/main" id="{6CF2F0EE-4917-4EF0-87A2-14ECB7AA8915}"/>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70" name="Group 169">
              <a:extLst>
                <a:ext uri="{FF2B5EF4-FFF2-40B4-BE49-F238E27FC236}">
                  <a16:creationId xmlns:a16="http://schemas.microsoft.com/office/drawing/2014/main" id="{DB690C56-E3C4-4C86-9389-FDC41A66E09A}"/>
                </a:ext>
              </a:extLst>
            </p:cNvPr>
            <p:cNvGrpSpPr/>
            <p:nvPr/>
          </p:nvGrpSpPr>
          <p:grpSpPr>
            <a:xfrm>
              <a:off x="3339453" y="3168949"/>
              <a:ext cx="128016" cy="128016"/>
              <a:chOff x="6617763" y="1494678"/>
              <a:chExt cx="188006" cy="188004"/>
            </a:xfrm>
          </p:grpSpPr>
          <p:sp>
            <p:nvSpPr>
              <p:cNvPr id="581" name="Oval 580">
                <a:extLst>
                  <a:ext uri="{FF2B5EF4-FFF2-40B4-BE49-F238E27FC236}">
                    <a16:creationId xmlns:a16="http://schemas.microsoft.com/office/drawing/2014/main" id="{B6F0BAE8-DB21-4A3D-B584-D5BE0295D27A}"/>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582" name="Freeform 10">
                <a:extLst>
                  <a:ext uri="{FF2B5EF4-FFF2-40B4-BE49-F238E27FC236}">
                    <a16:creationId xmlns:a16="http://schemas.microsoft.com/office/drawing/2014/main" id="{F76300B4-7432-484D-B44E-0B9813F1E402}"/>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71" name="Group 170">
              <a:extLst>
                <a:ext uri="{FF2B5EF4-FFF2-40B4-BE49-F238E27FC236}">
                  <a16:creationId xmlns:a16="http://schemas.microsoft.com/office/drawing/2014/main" id="{BB135E03-92D7-41C8-8C76-078BD109A558}"/>
                </a:ext>
              </a:extLst>
            </p:cNvPr>
            <p:cNvGrpSpPr/>
            <p:nvPr/>
          </p:nvGrpSpPr>
          <p:grpSpPr>
            <a:xfrm>
              <a:off x="3610616" y="3130087"/>
              <a:ext cx="128016" cy="128016"/>
              <a:chOff x="1520304" y="1939550"/>
              <a:chExt cx="726812" cy="726812"/>
            </a:xfrm>
          </p:grpSpPr>
          <p:sp>
            <p:nvSpPr>
              <p:cNvPr id="574" name="Oval 573">
                <a:extLst>
                  <a:ext uri="{FF2B5EF4-FFF2-40B4-BE49-F238E27FC236}">
                    <a16:creationId xmlns:a16="http://schemas.microsoft.com/office/drawing/2014/main" id="{981267A1-761F-4E49-A4E7-0C842FACD0C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75" name="Group 574">
                <a:extLst>
                  <a:ext uri="{FF2B5EF4-FFF2-40B4-BE49-F238E27FC236}">
                    <a16:creationId xmlns:a16="http://schemas.microsoft.com/office/drawing/2014/main" id="{3BE4E7AA-CD34-4B2A-BD1D-8BA131277E98}"/>
                  </a:ext>
                </a:extLst>
              </p:cNvPr>
              <p:cNvGrpSpPr/>
              <p:nvPr/>
            </p:nvGrpSpPr>
            <p:grpSpPr>
              <a:xfrm>
                <a:off x="1627350" y="2071688"/>
                <a:ext cx="512722" cy="462536"/>
                <a:chOff x="1302898" y="1640683"/>
                <a:chExt cx="1201027" cy="1083468"/>
              </a:xfrm>
            </p:grpSpPr>
            <p:sp>
              <p:nvSpPr>
                <p:cNvPr id="576" name="Freeform 34">
                  <a:extLst>
                    <a:ext uri="{FF2B5EF4-FFF2-40B4-BE49-F238E27FC236}">
                      <a16:creationId xmlns:a16="http://schemas.microsoft.com/office/drawing/2014/main" id="{072B5251-2667-4F8A-A7D2-238028DA529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77" name="Freeform 37">
                  <a:extLst>
                    <a:ext uri="{FF2B5EF4-FFF2-40B4-BE49-F238E27FC236}">
                      <a16:creationId xmlns:a16="http://schemas.microsoft.com/office/drawing/2014/main" id="{10F541A6-1029-46BC-9F02-85E68B18E5E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78" name="Freeform 39">
                  <a:extLst>
                    <a:ext uri="{FF2B5EF4-FFF2-40B4-BE49-F238E27FC236}">
                      <a16:creationId xmlns:a16="http://schemas.microsoft.com/office/drawing/2014/main" id="{20FA79F2-77B8-40BC-83F7-0E387DD6DCC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79" name="Freeform 40">
                  <a:extLst>
                    <a:ext uri="{FF2B5EF4-FFF2-40B4-BE49-F238E27FC236}">
                      <a16:creationId xmlns:a16="http://schemas.microsoft.com/office/drawing/2014/main" id="{6A37249D-09F4-4811-AD22-9F9403496B18}"/>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80" name="Freeform 5">
                  <a:extLst>
                    <a:ext uri="{FF2B5EF4-FFF2-40B4-BE49-F238E27FC236}">
                      <a16:creationId xmlns:a16="http://schemas.microsoft.com/office/drawing/2014/main" id="{C4CAD204-F8C5-49CC-AC5F-A1CEDAA9CB9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72" name="Group 171">
              <a:extLst>
                <a:ext uri="{FF2B5EF4-FFF2-40B4-BE49-F238E27FC236}">
                  <a16:creationId xmlns:a16="http://schemas.microsoft.com/office/drawing/2014/main" id="{A7254991-7E7E-49A8-BF06-46F6ED686AFE}"/>
                </a:ext>
              </a:extLst>
            </p:cNvPr>
            <p:cNvGrpSpPr/>
            <p:nvPr/>
          </p:nvGrpSpPr>
          <p:grpSpPr>
            <a:xfrm>
              <a:off x="3515158" y="3018213"/>
              <a:ext cx="128016" cy="128016"/>
              <a:chOff x="1520304" y="1939550"/>
              <a:chExt cx="726812" cy="726812"/>
            </a:xfrm>
          </p:grpSpPr>
          <p:sp>
            <p:nvSpPr>
              <p:cNvPr id="567" name="Oval 566">
                <a:extLst>
                  <a:ext uri="{FF2B5EF4-FFF2-40B4-BE49-F238E27FC236}">
                    <a16:creationId xmlns:a16="http://schemas.microsoft.com/office/drawing/2014/main" id="{1FF3178D-A3AD-41F6-91EE-3445EA5E584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68" name="Group 567">
                <a:extLst>
                  <a:ext uri="{FF2B5EF4-FFF2-40B4-BE49-F238E27FC236}">
                    <a16:creationId xmlns:a16="http://schemas.microsoft.com/office/drawing/2014/main" id="{32FEC1F7-0417-4AF9-86D2-57690F008181}"/>
                  </a:ext>
                </a:extLst>
              </p:cNvPr>
              <p:cNvGrpSpPr/>
              <p:nvPr/>
            </p:nvGrpSpPr>
            <p:grpSpPr>
              <a:xfrm>
                <a:off x="1627350" y="2071688"/>
                <a:ext cx="512722" cy="462536"/>
                <a:chOff x="1302898" y="1640683"/>
                <a:chExt cx="1201027" cy="1083468"/>
              </a:xfrm>
            </p:grpSpPr>
            <p:sp>
              <p:nvSpPr>
                <p:cNvPr id="569" name="Freeform 34">
                  <a:extLst>
                    <a:ext uri="{FF2B5EF4-FFF2-40B4-BE49-F238E27FC236}">
                      <a16:creationId xmlns:a16="http://schemas.microsoft.com/office/drawing/2014/main" id="{4426A60B-4237-41F0-9C1D-E623FBE1FD7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70" name="Freeform 37">
                  <a:extLst>
                    <a:ext uri="{FF2B5EF4-FFF2-40B4-BE49-F238E27FC236}">
                      <a16:creationId xmlns:a16="http://schemas.microsoft.com/office/drawing/2014/main" id="{0E81378C-95B0-47C3-9D3D-64A0C2164F37}"/>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71" name="Freeform 39">
                  <a:extLst>
                    <a:ext uri="{FF2B5EF4-FFF2-40B4-BE49-F238E27FC236}">
                      <a16:creationId xmlns:a16="http://schemas.microsoft.com/office/drawing/2014/main" id="{7F08A331-F330-4E2A-A96A-2D00B421A780}"/>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72" name="Freeform 40">
                  <a:extLst>
                    <a:ext uri="{FF2B5EF4-FFF2-40B4-BE49-F238E27FC236}">
                      <a16:creationId xmlns:a16="http://schemas.microsoft.com/office/drawing/2014/main" id="{140F7504-CAA0-4D93-B2B8-EDB8E42B4FD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73" name="Freeform 5">
                  <a:extLst>
                    <a:ext uri="{FF2B5EF4-FFF2-40B4-BE49-F238E27FC236}">
                      <a16:creationId xmlns:a16="http://schemas.microsoft.com/office/drawing/2014/main" id="{16EE0775-521F-4F7F-8CA6-98526672A5D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73" name="Group 172">
              <a:extLst>
                <a:ext uri="{FF2B5EF4-FFF2-40B4-BE49-F238E27FC236}">
                  <a16:creationId xmlns:a16="http://schemas.microsoft.com/office/drawing/2014/main" id="{B456F4D1-C620-4B53-AE71-C593FD78B36D}"/>
                </a:ext>
              </a:extLst>
            </p:cNvPr>
            <p:cNvGrpSpPr/>
            <p:nvPr/>
          </p:nvGrpSpPr>
          <p:grpSpPr>
            <a:xfrm>
              <a:off x="3584433" y="2988966"/>
              <a:ext cx="128016" cy="128016"/>
              <a:chOff x="6617763" y="1494678"/>
              <a:chExt cx="188006" cy="188004"/>
            </a:xfrm>
          </p:grpSpPr>
          <p:sp>
            <p:nvSpPr>
              <p:cNvPr id="565" name="Oval 564">
                <a:extLst>
                  <a:ext uri="{FF2B5EF4-FFF2-40B4-BE49-F238E27FC236}">
                    <a16:creationId xmlns:a16="http://schemas.microsoft.com/office/drawing/2014/main" id="{E85D0A37-3F87-40D2-A675-282F817438A4}"/>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566" name="Freeform 10">
                <a:extLst>
                  <a:ext uri="{FF2B5EF4-FFF2-40B4-BE49-F238E27FC236}">
                    <a16:creationId xmlns:a16="http://schemas.microsoft.com/office/drawing/2014/main" id="{0D7A8700-6D76-409B-87E4-6E898F81D0F6}"/>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74" name="Group 173">
              <a:extLst>
                <a:ext uri="{FF2B5EF4-FFF2-40B4-BE49-F238E27FC236}">
                  <a16:creationId xmlns:a16="http://schemas.microsoft.com/office/drawing/2014/main" id="{4C06F545-95EC-4FC6-B9E0-8C4574DA2827}"/>
                </a:ext>
              </a:extLst>
            </p:cNvPr>
            <p:cNvGrpSpPr/>
            <p:nvPr/>
          </p:nvGrpSpPr>
          <p:grpSpPr>
            <a:xfrm>
              <a:off x="1930284" y="2970178"/>
              <a:ext cx="128016" cy="128016"/>
              <a:chOff x="1520304" y="1939550"/>
              <a:chExt cx="726812" cy="726812"/>
            </a:xfrm>
          </p:grpSpPr>
          <p:sp>
            <p:nvSpPr>
              <p:cNvPr id="558" name="Oval 557">
                <a:extLst>
                  <a:ext uri="{FF2B5EF4-FFF2-40B4-BE49-F238E27FC236}">
                    <a16:creationId xmlns:a16="http://schemas.microsoft.com/office/drawing/2014/main" id="{A091253E-5D78-48A1-ABAF-D95894F8D5AD}"/>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59" name="Group 558">
                <a:extLst>
                  <a:ext uri="{FF2B5EF4-FFF2-40B4-BE49-F238E27FC236}">
                    <a16:creationId xmlns:a16="http://schemas.microsoft.com/office/drawing/2014/main" id="{30D03C1E-DAF2-43A1-BA3E-A36E8E95D2D1}"/>
                  </a:ext>
                </a:extLst>
              </p:cNvPr>
              <p:cNvGrpSpPr/>
              <p:nvPr/>
            </p:nvGrpSpPr>
            <p:grpSpPr>
              <a:xfrm>
                <a:off x="1627350" y="2071688"/>
                <a:ext cx="512722" cy="462536"/>
                <a:chOff x="1302898" y="1640683"/>
                <a:chExt cx="1201027" cy="1083468"/>
              </a:xfrm>
            </p:grpSpPr>
            <p:sp>
              <p:nvSpPr>
                <p:cNvPr id="560" name="Freeform 34">
                  <a:extLst>
                    <a:ext uri="{FF2B5EF4-FFF2-40B4-BE49-F238E27FC236}">
                      <a16:creationId xmlns:a16="http://schemas.microsoft.com/office/drawing/2014/main" id="{8477BC36-2591-4F2C-9237-909DF6CA2FE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61" name="Freeform 37">
                  <a:extLst>
                    <a:ext uri="{FF2B5EF4-FFF2-40B4-BE49-F238E27FC236}">
                      <a16:creationId xmlns:a16="http://schemas.microsoft.com/office/drawing/2014/main" id="{CBA7FE91-0AAE-4031-8069-B05E3B4252CC}"/>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62" name="Freeform 39">
                  <a:extLst>
                    <a:ext uri="{FF2B5EF4-FFF2-40B4-BE49-F238E27FC236}">
                      <a16:creationId xmlns:a16="http://schemas.microsoft.com/office/drawing/2014/main" id="{3AD1D373-CDDA-48D3-A2FA-65ECF04D83D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63" name="Freeform 40">
                  <a:extLst>
                    <a:ext uri="{FF2B5EF4-FFF2-40B4-BE49-F238E27FC236}">
                      <a16:creationId xmlns:a16="http://schemas.microsoft.com/office/drawing/2014/main" id="{5A717DF4-BE86-4964-9796-09D5D7966FE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64" name="Freeform 5">
                  <a:extLst>
                    <a:ext uri="{FF2B5EF4-FFF2-40B4-BE49-F238E27FC236}">
                      <a16:creationId xmlns:a16="http://schemas.microsoft.com/office/drawing/2014/main" id="{23E60C2B-142B-44E7-B7C9-09FE82C93CB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75" name="Group 174">
              <a:extLst>
                <a:ext uri="{FF2B5EF4-FFF2-40B4-BE49-F238E27FC236}">
                  <a16:creationId xmlns:a16="http://schemas.microsoft.com/office/drawing/2014/main" id="{8388CFA7-1686-4EE2-AA8C-7F3219966652}"/>
                </a:ext>
              </a:extLst>
            </p:cNvPr>
            <p:cNvGrpSpPr/>
            <p:nvPr/>
          </p:nvGrpSpPr>
          <p:grpSpPr>
            <a:xfrm>
              <a:off x="1948342" y="2887415"/>
              <a:ext cx="128016" cy="128016"/>
              <a:chOff x="1520304" y="1939550"/>
              <a:chExt cx="726812" cy="726812"/>
            </a:xfrm>
          </p:grpSpPr>
          <p:sp>
            <p:nvSpPr>
              <p:cNvPr id="551" name="Oval 550">
                <a:extLst>
                  <a:ext uri="{FF2B5EF4-FFF2-40B4-BE49-F238E27FC236}">
                    <a16:creationId xmlns:a16="http://schemas.microsoft.com/office/drawing/2014/main" id="{381DC509-E3CA-449D-83E6-6D5B50504D4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52" name="Group 551">
                <a:extLst>
                  <a:ext uri="{FF2B5EF4-FFF2-40B4-BE49-F238E27FC236}">
                    <a16:creationId xmlns:a16="http://schemas.microsoft.com/office/drawing/2014/main" id="{078AEE4A-CF7B-467B-8C6F-002E1DD33B8D}"/>
                  </a:ext>
                </a:extLst>
              </p:cNvPr>
              <p:cNvGrpSpPr/>
              <p:nvPr/>
            </p:nvGrpSpPr>
            <p:grpSpPr>
              <a:xfrm>
                <a:off x="1627350" y="2071688"/>
                <a:ext cx="512722" cy="462536"/>
                <a:chOff x="1302898" y="1640683"/>
                <a:chExt cx="1201027" cy="1083468"/>
              </a:xfrm>
            </p:grpSpPr>
            <p:sp>
              <p:nvSpPr>
                <p:cNvPr id="553" name="Freeform 34">
                  <a:extLst>
                    <a:ext uri="{FF2B5EF4-FFF2-40B4-BE49-F238E27FC236}">
                      <a16:creationId xmlns:a16="http://schemas.microsoft.com/office/drawing/2014/main" id="{C127C846-B886-4428-8239-FE91EB1EE1B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54" name="Freeform 37">
                  <a:extLst>
                    <a:ext uri="{FF2B5EF4-FFF2-40B4-BE49-F238E27FC236}">
                      <a16:creationId xmlns:a16="http://schemas.microsoft.com/office/drawing/2014/main" id="{D768E5AE-0146-44CF-9ED7-B92053C871F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55" name="Freeform 39">
                  <a:extLst>
                    <a:ext uri="{FF2B5EF4-FFF2-40B4-BE49-F238E27FC236}">
                      <a16:creationId xmlns:a16="http://schemas.microsoft.com/office/drawing/2014/main" id="{99697A8E-120C-494F-A763-B30EC225FC3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56" name="Freeform 40">
                  <a:extLst>
                    <a:ext uri="{FF2B5EF4-FFF2-40B4-BE49-F238E27FC236}">
                      <a16:creationId xmlns:a16="http://schemas.microsoft.com/office/drawing/2014/main" id="{883BECC8-6C31-4503-B587-73E2E1511711}"/>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57" name="Freeform 5">
                  <a:extLst>
                    <a:ext uri="{FF2B5EF4-FFF2-40B4-BE49-F238E27FC236}">
                      <a16:creationId xmlns:a16="http://schemas.microsoft.com/office/drawing/2014/main" id="{862FC6D1-286F-4C4C-9C9B-598E484D572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76" name="Group 175">
              <a:extLst>
                <a:ext uri="{FF2B5EF4-FFF2-40B4-BE49-F238E27FC236}">
                  <a16:creationId xmlns:a16="http://schemas.microsoft.com/office/drawing/2014/main" id="{02F19947-2938-4F1A-99DB-BFC716920DCD}"/>
                </a:ext>
              </a:extLst>
            </p:cNvPr>
            <p:cNvGrpSpPr/>
            <p:nvPr/>
          </p:nvGrpSpPr>
          <p:grpSpPr>
            <a:xfrm>
              <a:off x="2060949" y="3025197"/>
              <a:ext cx="128016" cy="128016"/>
              <a:chOff x="6617763" y="1494678"/>
              <a:chExt cx="188006" cy="188004"/>
            </a:xfrm>
          </p:grpSpPr>
          <p:sp>
            <p:nvSpPr>
              <p:cNvPr id="549" name="Oval 548">
                <a:extLst>
                  <a:ext uri="{FF2B5EF4-FFF2-40B4-BE49-F238E27FC236}">
                    <a16:creationId xmlns:a16="http://schemas.microsoft.com/office/drawing/2014/main" id="{01216117-0B6E-405D-ACBA-58B83282AFB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550" name="Freeform 10">
                <a:extLst>
                  <a:ext uri="{FF2B5EF4-FFF2-40B4-BE49-F238E27FC236}">
                    <a16:creationId xmlns:a16="http://schemas.microsoft.com/office/drawing/2014/main" id="{44AC7320-92DD-428E-8B36-81684369C5CB}"/>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77" name="Group 176">
              <a:extLst>
                <a:ext uri="{FF2B5EF4-FFF2-40B4-BE49-F238E27FC236}">
                  <a16:creationId xmlns:a16="http://schemas.microsoft.com/office/drawing/2014/main" id="{A6F8C76B-A15A-426D-BE31-26E8437FC051}"/>
                </a:ext>
              </a:extLst>
            </p:cNvPr>
            <p:cNvGrpSpPr/>
            <p:nvPr/>
          </p:nvGrpSpPr>
          <p:grpSpPr>
            <a:xfrm>
              <a:off x="1077597" y="2322187"/>
              <a:ext cx="128016" cy="128016"/>
              <a:chOff x="1520304" y="1939550"/>
              <a:chExt cx="726812" cy="726812"/>
            </a:xfrm>
          </p:grpSpPr>
          <p:sp>
            <p:nvSpPr>
              <p:cNvPr id="542" name="Oval 541">
                <a:extLst>
                  <a:ext uri="{FF2B5EF4-FFF2-40B4-BE49-F238E27FC236}">
                    <a16:creationId xmlns:a16="http://schemas.microsoft.com/office/drawing/2014/main" id="{DFD60335-6F20-4BF1-9EF0-68E5CC1A2E4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43" name="Group 542">
                <a:extLst>
                  <a:ext uri="{FF2B5EF4-FFF2-40B4-BE49-F238E27FC236}">
                    <a16:creationId xmlns:a16="http://schemas.microsoft.com/office/drawing/2014/main" id="{18EA221D-9E36-44CC-8186-5D2FE913736C}"/>
                  </a:ext>
                </a:extLst>
              </p:cNvPr>
              <p:cNvGrpSpPr/>
              <p:nvPr/>
            </p:nvGrpSpPr>
            <p:grpSpPr>
              <a:xfrm>
                <a:off x="1627350" y="2071688"/>
                <a:ext cx="512722" cy="462536"/>
                <a:chOff x="1302898" y="1640683"/>
                <a:chExt cx="1201027" cy="1083468"/>
              </a:xfrm>
            </p:grpSpPr>
            <p:sp>
              <p:nvSpPr>
                <p:cNvPr id="544" name="Freeform 34">
                  <a:extLst>
                    <a:ext uri="{FF2B5EF4-FFF2-40B4-BE49-F238E27FC236}">
                      <a16:creationId xmlns:a16="http://schemas.microsoft.com/office/drawing/2014/main" id="{A1143154-30B7-4F71-A62A-77FD3E899B36}"/>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45" name="Freeform 37">
                  <a:extLst>
                    <a:ext uri="{FF2B5EF4-FFF2-40B4-BE49-F238E27FC236}">
                      <a16:creationId xmlns:a16="http://schemas.microsoft.com/office/drawing/2014/main" id="{7F998974-F08E-4E08-872F-453620B5D40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46" name="Freeform 39">
                  <a:extLst>
                    <a:ext uri="{FF2B5EF4-FFF2-40B4-BE49-F238E27FC236}">
                      <a16:creationId xmlns:a16="http://schemas.microsoft.com/office/drawing/2014/main" id="{8982986F-4C8F-4D66-92FE-B3BD905494E7}"/>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47" name="Freeform 40">
                  <a:extLst>
                    <a:ext uri="{FF2B5EF4-FFF2-40B4-BE49-F238E27FC236}">
                      <a16:creationId xmlns:a16="http://schemas.microsoft.com/office/drawing/2014/main" id="{0DA1D8F5-189F-46CA-909F-BDD2A7C4069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48" name="Freeform 5">
                  <a:extLst>
                    <a:ext uri="{FF2B5EF4-FFF2-40B4-BE49-F238E27FC236}">
                      <a16:creationId xmlns:a16="http://schemas.microsoft.com/office/drawing/2014/main" id="{06DA7B38-5D70-4743-95E4-974BF68D9DC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78" name="Group 177">
              <a:extLst>
                <a:ext uri="{FF2B5EF4-FFF2-40B4-BE49-F238E27FC236}">
                  <a16:creationId xmlns:a16="http://schemas.microsoft.com/office/drawing/2014/main" id="{ACE71090-49D7-411F-9D45-06467D5B5443}"/>
                </a:ext>
              </a:extLst>
            </p:cNvPr>
            <p:cNvGrpSpPr/>
            <p:nvPr/>
          </p:nvGrpSpPr>
          <p:grpSpPr>
            <a:xfrm>
              <a:off x="6371816" y="5896582"/>
              <a:ext cx="128016" cy="128016"/>
              <a:chOff x="1520304" y="1939550"/>
              <a:chExt cx="726812" cy="726812"/>
            </a:xfrm>
          </p:grpSpPr>
          <p:sp>
            <p:nvSpPr>
              <p:cNvPr id="535" name="Oval 534">
                <a:extLst>
                  <a:ext uri="{FF2B5EF4-FFF2-40B4-BE49-F238E27FC236}">
                    <a16:creationId xmlns:a16="http://schemas.microsoft.com/office/drawing/2014/main" id="{2C8A619B-C4A5-43EA-9D6B-B9092460BC3F}"/>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36" name="Group 535">
                <a:extLst>
                  <a:ext uri="{FF2B5EF4-FFF2-40B4-BE49-F238E27FC236}">
                    <a16:creationId xmlns:a16="http://schemas.microsoft.com/office/drawing/2014/main" id="{B96D4A9B-E2EA-4D32-9A1D-41B3E96C48DE}"/>
                  </a:ext>
                </a:extLst>
              </p:cNvPr>
              <p:cNvGrpSpPr/>
              <p:nvPr/>
            </p:nvGrpSpPr>
            <p:grpSpPr>
              <a:xfrm>
                <a:off x="1627350" y="2071688"/>
                <a:ext cx="512722" cy="462536"/>
                <a:chOff x="1302898" y="1640683"/>
                <a:chExt cx="1201027" cy="1083468"/>
              </a:xfrm>
            </p:grpSpPr>
            <p:sp>
              <p:nvSpPr>
                <p:cNvPr id="537" name="Freeform 34">
                  <a:extLst>
                    <a:ext uri="{FF2B5EF4-FFF2-40B4-BE49-F238E27FC236}">
                      <a16:creationId xmlns:a16="http://schemas.microsoft.com/office/drawing/2014/main" id="{2DB2FA45-67A7-4912-99EA-3996A0BD44AD}"/>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38" name="Freeform 37">
                  <a:extLst>
                    <a:ext uri="{FF2B5EF4-FFF2-40B4-BE49-F238E27FC236}">
                      <a16:creationId xmlns:a16="http://schemas.microsoft.com/office/drawing/2014/main" id="{60D5AD9E-316C-401C-90A4-8EB722C530A9}"/>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39" name="Freeform 39">
                  <a:extLst>
                    <a:ext uri="{FF2B5EF4-FFF2-40B4-BE49-F238E27FC236}">
                      <a16:creationId xmlns:a16="http://schemas.microsoft.com/office/drawing/2014/main" id="{28D0FF5B-619F-4B0D-93EE-CBD62101D5A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40" name="Freeform 40">
                  <a:extLst>
                    <a:ext uri="{FF2B5EF4-FFF2-40B4-BE49-F238E27FC236}">
                      <a16:creationId xmlns:a16="http://schemas.microsoft.com/office/drawing/2014/main" id="{F7E23B00-7A72-43D0-8756-2A9125B62FF0}"/>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41" name="Freeform 5">
                  <a:extLst>
                    <a:ext uri="{FF2B5EF4-FFF2-40B4-BE49-F238E27FC236}">
                      <a16:creationId xmlns:a16="http://schemas.microsoft.com/office/drawing/2014/main" id="{7F4A074F-4906-4F9B-AD04-8FDB8B0CD0E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79" name="Group 178">
              <a:extLst>
                <a:ext uri="{FF2B5EF4-FFF2-40B4-BE49-F238E27FC236}">
                  <a16:creationId xmlns:a16="http://schemas.microsoft.com/office/drawing/2014/main" id="{2EE47DB7-52B5-4314-840E-33572C71E3C7}"/>
                </a:ext>
              </a:extLst>
            </p:cNvPr>
            <p:cNvGrpSpPr/>
            <p:nvPr/>
          </p:nvGrpSpPr>
          <p:grpSpPr>
            <a:xfrm>
              <a:off x="6681781" y="5575018"/>
              <a:ext cx="128016" cy="128016"/>
              <a:chOff x="1520304" y="1939550"/>
              <a:chExt cx="726812" cy="726812"/>
            </a:xfrm>
          </p:grpSpPr>
          <p:sp>
            <p:nvSpPr>
              <p:cNvPr id="528" name="Oval 527">
                <a:extLst>
                  <a:ext uri="{FF2B5EF4-FFF2-40B4-BE49-F238E27FC236}">
                    <a16:creationId xmlns:a16="http://schemas.microsoft.com/office/drawing/2014/main" id="{681A3DC8-EC88-441E-8A96-0BDBBC9096E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29" name="Group 528">
                <a:extLst>
                  <a:ext uri="{FF2B5EF4-FFF2-40B4-BE49-F238E27FC236}">
                    <a16:creationId xmlns:a16="http://schemas.microsoft.com/office/drawing/2014/main" id="{99797D7A-0B36-417C-8D43-98C100E2F3B9}"/>
                  </a:ext>
                </a:extLst>
              </p:cNvPr>
              <p:cNvGrpSpPr/>
              <p:nvPr/>
            </p:nvGrpSpPr>
            <p:grpSpPr>
              <a:xfrm>
                <a:off x="1627350" y="2071688"/>
                <a:ext cx="512722" cy="462536"/>
                <a:chOff x="1302898" y="1640683"/>
                <a:chExt cx="1201027" cy="1083468"/>
              </a:xfrm>
            </p:grpSpPr>
            <p:sp>
              <p:nvSpPr>
                <p:cNvPr id="530" name="Freeform 34">
                  <a:extLst>
                    <a:ext uri="{FF2B5EF4-FFF2-40B4-BE49-F238E27FC236}">
                      <a16:creationId xmlns:a16="http://schemas.microsoft.com/office/drawing/2014/main" id="{C7DED3B5-6713-4330-8655-5CAD13CFD54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31" name="Freeform 37">
                  <a:extLst>
                    <a:ext uri="{FF2B5EF4-FFF2-40B4-BE49-F238E27FC236}">
                      <a16:creationId xmlns:a16="http://schemas.microsoft.com/office/drawing/2014/main" id="{F809AA72-AFBB-4612-B1BD-0986A40E31FE}"/>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32" name="Freeform 39">
                  <a:extLst>
                    <a:ext uri="{FF2B5EF4-FFF2-40B4-BE49-F238E27FC236}">
                      <a16:creationId xmlns:a16="http://schemas.microsoft.com/office/drawing/2014/main" id="{C71441FE-23F5-4110-9185-76DBC2FD4064}"/>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33" name="Freeform 40">
                  <a:extLst>
                    <a:ext uri="{FF2B5EF4-FFF2-40B4-BE49-F238E27FC236}">
                      <a16:creationId xmlns:a16="http://schemas.microsoft.com/office/drawing/2014/main" id="{D6997856-DDC8-410B-B27F-35C2CFD29CEA}"/>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34" name="Freeform 5">
                  <a:extLst>
                    <a:ext uri="{FF2B5EF4-FFF2-40B4-BE49-F238E27FC236}">
                      <a16:creationId xmlns:a16="http://schemas.microsoft.com/office/drawing/2014/main" id="{6F9126CC-78A6-4CF5-BDE3-43F2974A15E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80" name="Group 179">
              <a:extLst>
                <a:ext uri="{FF2B5EF4-FFF2-40B4-BE49-F238E27FC236}">
                  <a16:creationId xmlns:a16="http://schemas.microsoft.com/office/drawing/2014/main" id="{90344DF9-A26D-44AC-A4DE-F2657D1E11B5}"/>
                </a:ext>
              </a:extLst>
            </p:cNvPr>
            <p:cNvGrpSpPr/>
            <p:nvPr/>
          </p:nvGrpSpPr>
          <p:grpSpPr>
            <a:xfrm>
              <a:off x="6216663" y="4937921"/>
              <a:ext cx="128016" cy="128016"/>
              <a:chOff x="1520304" y="1939550"/>
              <a:chExt cx="726812" cy="726812"/>
            </a:xfrm>
          </p:grpSpPr>
          <p:sp>
            <p:nvSpPr>
              <p:cNvPr id="521" name="Oval 520">
                <a:extLst>
                  <a:ext uri="{FF2B5EF4-FFF2-40B4-BE49-F238E27FC236}">
                    <a16:creationId xmlns:a16="http://schemas.microsoft.com/office/drawing/2014/main" id="{2E2D1037-2285-467A-B871-50367B87056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22" name="Group 521">
                <a:extLst>
                  <a:ext uri="{FF2B5EF4-FFF2-40B4-BE49-F238E27FC236}">
                    <a16:creationId xmlns:a16="http://schemas.microsoft.com/office/drawing/2014/main" id="{0CED0FF6-D1C2-438F-BBF7-D5AC720BE0B9}"/>
                  </a:ext>
                </a:extLst>
              </p:cNvPr>
              <p:cNvGrpSpPr/>
              <p:nvPr/>
            </p:nvGrpSpPr>
            <p:grpSpPr>
              <a:xfrm>
                <a:off x="1627350" y="2071688"/>
                <a:ext cx="512722" cy="462536"/>
                <a:chOff x="1302898" y="1640683"/>
                <a:chExt cx="1201027" cy="1083468"/>
              </a:xfrm>
            </p:grpSpPr>
            <p:sp>
              <p:nvSpPr>
                <p:cNvPr id="523" name="Freeform 34">
                  <a:extLst>
                    <a:ext uri="{FF2B5EF4-FFF2-40B4-BE49-F238E27FC236}">
                      <a16:creationId xmlns:a16="http://schemas.microsoft.com/office/drawing/2014/main" id="{AD7FA234-9325-4E63-9791-575CA90D1CA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24" name="Freeform 37">
                  <a:extLst>
                    <a:ext uri="{FF2B5EF4-FFF2-40B4-BE49-F238E27FC236}">
                      <a16:creationId xmlns:a16="http://schemas.microsoft.com/office/drawing/2014/main" id="{1AC9185B-C012-4DAE-A79C-4F93AB33943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25" name="Freeform 39">
                  <a:extLst>
                    <a:ext uri="{FF2B5EF4-FFF2-40B4-BE49-F238E27FC236}">
                      <a16:creationId xmlns:a16="http://schemas.microsoft.com/office/drawing/2014/main" id="{E950C4A6-6687-4412-B91D-3197A0673337}"/>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26" name="Freeform 40">
                  <a:extLst>
                    <a:ext uri="{FF2B5EF4-FFF2-40B4-BE49-F238E27FC236}">
                      <a16:creationId xmlns:a16="http://schemas.microsoft.com/office/drawing/2014/main" id="{8AF63DF9-CD85-4ABF-B0AC-F9D0E98CC8D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27" name="Freeform 5">
                  <a:extLst>
                    <a:ext uri="{FF2B5EF4-FFF2-40B4-BE49-F238E27FC236}">
                      <a16:creationId xmlns:a16="http://schemas.microsoft.com/office/drawing/2014/main" id="{5CAE0315-F89D-4D27-A695-0A852B0E398D}"/>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81" name="Group 180">
              <a:extLst>
                <a:ext uri="{FF2B5EF4-FFF2-40B4-BE49-F238E27FC236}">
                  <a16:creationId xmlns:a16="http://schemas.microsoft.com/office/drawing/2014/main" id="{5F12D1A2-BF5B-49CC-B6CF-8B35CDE17A85}"/>
                </a:ext>
              </a:extLst>
            </p:cNvPr>
            <p:cNvGrpSpPr/>
            <p:nvPr/>
          </p:nvGrpSpPr>
          <p:grpSpPr>
            <a:xfrm>
              <a:off x="7659199" y="3891536"/>
              <a:ext cx="128016" cy="128016"/>
              <a:chOff x="1520304" y="1939550"/>
              <a:chExt cx="726812" cy="726812"/>
            </a:xfrm>
          </p:grpSpPr>
          <p:sp>
            <p:nvSpPr>
              <p:cNvPr id="514" name="Oval 513">
                <a:extLst>
                  <a:ext uri="{FF2B5EF4-FFF2-40B4-BE49-F238E27FC236}">
                    <a16:creationId xmlns:a16="http://schemas.microsoft.com/office/drawing/2014/main" id="{377E5A30-4342-4A07-9E2F-8ABFC70B5708}"/>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15" name="Group 514">
                <a:extLst>
                  <a:ext uri="{FF2B5EF4-FFF2-40B4-BE49-F238E27FC236}">
                    <a16:creationId xmlns:a16="http://schemas.microsoft.com/office/drawing/2014/main" id="{358CFD60-ED6F-43FD-9E76-964CA0D0785F}"/>
                  </a:ext>
                </a:extLst>
              </p:cNvPr>
              <p:cNvGrpSpPr/>
              <p:nvPr/>
            </p:nvGrpSpPr>
            <p:grpSpPr>
              <a:xfrm>
                <a:off x="1627350" y="2071688"/>
                <a:ext cx="512722" cy="462536"/>
                <a:chOff x="1302898" y="1640683"/>
                <a:chExt cx="1201027" cy="1083468"/>
              </a:xfrm>
            </p:grpSpPr>
            <p:sp>
              <p:nvSpPr>
                <p:cNvPr id="516" name="Freeform 34">
                  <a:extLst>
                    <a:ext uri="{FF2B5EF4-FFF2-40B4-BE49-F238E27FC236}">
                      <a16:creationId xmlns:a16="http://schemas.microsoft.com/office/drawing/2014/main" id="{CE20BA24-EB3F-48C0-96C0-45FCF6B728A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17" name="Freeform 37">
                  <a:extLst>
                    <a:ext uri="{FF2B5EF4-FFF2-40B4-BE49-F238E27FC236}">
                      <a16:creationId xmlns:a16="http://schemas.microsoft.com/office/drawing/2014/main" id="{410A9C43-CD6D-4089-A3AA-F44C841264A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18" name="Freeform 39">
                  <a:extLst>
                    <a:ext uri="{FF2B5EF4-FFF2-40B4-BE49-F238E27FC236}">
                      <a16:creationId xmlns:a16="http://schemas.microsoft.com/office/drawing/2014/main" id="{3E3C8CFF-F0A3-4CEF-A968-89127F238E5A}"/>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19" name="Freeform 40">
                  <a:extLst>
                    <a:ext uri="{FF2B5EF4-FFF2-40B4-BE49-F238E27FC236}">
                      <a16:creationId xmlns:a16="http://schemas.microsoft.com/office/drawing/2014/main" id="{A472DF93-9B31-436A-9683-9FB514E52C1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20" name="Freeform 5">
                  <a:extLst>
                    <a:ext uri="{FF2B5EF4-FFF2-40B4-BE49-F238E27FC236}">
                      <a16:creationId xmlns:a16="http://schemas.microsoft.com/office/drawing/2014/main" id="{F49D8AEF-92CD-4F18-B4C3-69A1FFE098C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82" name="Group 181">
              <a:extLst>
                <a:ext uri="{FF2B5EF4-FFF2-40B4-BE49-F238E27FC236}">
                  <a16:creationId xmlns:a16="http://schemas.microsoft.com/office/drawing/2014/main" id="{B14981C4-2F08-4FC6-BD0A-4247B1A93D88}"/>
                </a:ext>
              </a:extLst>
            </p:cNvPr>
            <p:cNvGrpSpPr/>
            <p:nvPr/>
          </p:nvGrpSpPr>
          <p:grpSpPr>
            <a:xfrm>
              <a:off x="7574781" y="3798829"/>
              <a:ext cx="128016" cy="128016"/>
              <a:chOff x="1520304" y="1939550"/>
              <a:chExt cx="726812" cy="726812"/>
            </a:xfrm>
          </p:grpSpPr>
          <p:sp>
            <p:nvSpPr>
              <p:cNvPr id="507" name="Oval 506">
                <a:extLst>
                  <a:ext uri="{FF2B5EF4-FFF2-40B4-BE49-F238E27FC236}">
                    <a16:creationId xmlns:a16="http://schemas.microsoft.com/office/drawing/2014/main" id="{7BFF8EAC-EC44-4CC3-AAB1-3EB2BEC999EA}"/>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08" name="Group 507">
                <a:extLst>
                  <a:ext uri="{FF2B5EF4-FFF2-40B4-BE49-F238E27FC236}">
                    <a16:creationId xmlns:a16="http://schemas.microsoft.com/office/drawing/2014/main" id="{C5DC0752-BB94-4AD8-9BF0-64CA3343CEB9}"/>
                  </a:ext>
                </a:extLst>
              </p:cNvPr>
              <p:cNvGrpSpPr/>
              <p:nvPr/>
            </p:nvGrpSpPr>
            <p:grpSpPr>
              <a:xfrm>
                <a:off x="1627350" y="2071688"/>
                <a:ext cx="512722" cy="462536"/>
                <a:chOff x="1302898" y="1640683"/>
                <a:chExt cx="1201027" cy="1083468"/>
              </a:xfrm>
            </p:grpSpPr>
            <p:sp>
              <p:nvSpPr>
                <p:cNvPr id="509" name="Freeform 34">
                  <a:extLst>
                    <a:ext uri="{FF2B5EF4-FFF2-40B4-BE49-F238E27FC236}">
                      <a16:creationId xmlns:a16="http://schemas.microsoft.com/office/drawing/2014/main" id="{227E7EF4-BE34-4F58-8134-874DECC83A9C}"/>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10" name="Freeform 37">
                  <a:extLst>
                    <a:ext uri="{FF2B5EF4-FFF2-40B4-BE49-F238E27FC236}">
                      <a16:creationId xmlns:a16="http://schemas.microsoft.com/office/drawing/2014/main" id="{C89382A3-9BD3-42DF-8987-9A65C59751F6}"/>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11" name="Freeform 39">
                  <a:extLst>
                    <a:ext uri="{FF2B5EF4-FFF2-40B4-BE49-F238E27FC236}">
                      <a16:creationId xmlns:a16="http://schemas.microsoft.com/office/drawing/2014/main" id="{BC2A0AB9-3971-454A-B142-EEC06C7A05F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12" name="Freeform 40">
                  <a:extLst>
                    <a:ext uri="{FF2B5EF4-FFF2-40B4-BE49-F238E27FC236}">
                      <a16:creationId xmlns:a16="http://schemas.microsoft.com/office/drawing/2014/main" id="{35ADF2C2-F6F7-441E-AA11-44DCC9AFD85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13" name="Freeform 5">
                  <a:extLst>
                    <a:ext uri="{FF2B5EF4-FFF2-40B4-BE49-F238E27FC236}">
                      <a16:creationId xmlns:a16="http://schemas.microsoft.com/office/drawing/2014/main" id="{92285F93-D0F3-4F3B-99C2-F7BD402B9FE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83" name="Group 182">
              <a:extLst>
                <a:ext uri="{FF2B5EF4-FFF2-40B4-BE49-F238E27FC236}">
                  <a16:creationId xmlns:a16="http://schemas.microsoft.com/office/drawing/2014/main" id="{4D4926D5-22F0-4218-AE54-EDFBBED83094}"/>
                </a:ext>
              </a:extLst>
            </p:cNvPr>
            <p:cNvGrpSpPr/>
            <p:nvPr/>
          </p:nvGrpSpPr>
          <p:grpSpPr>
            <a:xfrm>
              <a:off x="7421397" y="3843008"/>
              <a:ext cx="128016" cy="128016"/>
              <a:chOff x="1520304" y="1939550"/>
              <a:chExt cx="726812" cy="726812"/>
            </a:xfrm>
          </p:grpSpPr>
          <p:sp>
            <p:nvSpPr>
              <p:cNvPr id="500" name="Oval 499">
                <a:extLst>
                  <a:ext uri="{FF2B5EF4-FFF2-40B4-BE49-F238E27FC236}">
                    <a16:creationId xmlns:a16="http://schemas.microsoft.com/office/drawing/2014/main" id="{BD8CB924-F144-4DF5-B892-010064136ABC}"/>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01" name="Group 500">
                <a:extLst>
                  <a:ext uri="{FF2B5EF4-FFF2-40B4-BE49-F238E27FC236}">
                    <a16:creationId xmlns:a16="http://schemas.microsoft.com/office/drawing/2014/main" id="{C063B8EC-4FF5-4DFB-AA6D-602365955D1F}"/>
                  </a:ext>
                </a:extLst>
              </p:cNvPr>
              <p:cNvGrpSpPr/>
              <p:nvPr/>
            </p:nvGrpSpPr>
            <p:grpSpPr>
              <a:xfrm>
                <a:off x="1627350" y="2071688"/>
                <a:ext cx="512722" cy="462536"/>
                <a:chOff x="1302898" y="1640683"/>
                <a:chExt cx="1201027" cy="1083468"/>
              </a:xfrm>
            </p:grpSpPr>
            <p:sp>
              <p:nvSpPr>
                <p:cNvPr id="502" name="Freeform 34">
                  <a:extLst>
                    <a:ext uri="{FF2B5EF4-FFF2-40B4-BE49-F238E27FC236}">
                      <a16:creationId xmlns:a16="http://schemas.microsoft.com/office/drawing/2014/main" id="{2DE39B23-6C60-4B75-B09B-DDD96E63A92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03" name="Freeform 37">
                  <a:extLst>
                    <a:ext uri="{FF2B5EF4-FFF2-40B4-BE49-F238E27FC236}">
                      <a16:creationId xmlns:a16="http://schemas.microsoft.com/office/drawing/2014/main" id="{E860B22B-6F69-4752-812A-76A3E4032AD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04" name="Freeform 39">
                  <a:extLst>
                    <a:ext uri="{FF2B5EF4-FFF2-40B4-BE49-F238E27FC236}">
                      <a16:creationId xmlns:a16="http://schemas.microsoft.com/office/drawing/2014/main" id="{F9980855-0A15-40FE-9D49-ABD3886D93BB}"/>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05" name="Freeform 40">
                  <a:extLst>
                    <a:ext uri="{FF2B5EF4-FFF2-40B4-BE49-F238E27FC236}">
                      <a16:creationId xmlns:a16="http://schemas.microsoft.com/office/drawing/2014/main" id="{A0D96E15-4F8B-4353-A038-7F7EF0D0E09A}"/>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06" name="Freeform 5">
                  <a:extLst>
                    <a:ext uri="{FF2B5EF4-FFF2-40B4-BE49-F238E27FC236}">
                      <a16:creationId xmlns:a16="http://schemas.microsoft.com/office/drawing/2014/main" id="{C70C6B26-636E-4665-A3EC-FCEEDA4509B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84" name="Group 183">
              <a:extLst>
                <a:ext uri="{FF2B5EF4-FFF2-40B4-BE49-F238E27FC236}">
                  <a16:creationId xmlns:a16="http://schemas.microsoft.com/office/drawing/2014/main" id="{9C3DD55F-5CAC-4F98-9A55-75927BA178FF}"/>
                </a:ext>
              </a:extLst>
            </p:cNvPr>
            <p:cNvGrpSpPr/>
            <p:nvPr/>
          </p:nvGrpSpPr>
          <p:grpSpPr>
            <a:xfrm>
              <a:off x="7355888" y="3752480"/>
              <a:ext cx="128016" cy="128016"/>
              <a:chOff x="1520304" y="1939550"/>
              <a:chExt cx="726812" cy="726812"/>
            </a:xfrm>
          </p:grpSpPr>
          <p:sp>
            <p:nvSpPr>
              <p:cNvPr id="493" name="Oval 492">
                <a:extLst>
                  <a:ext uri="{FF2B5EF4-FFF2-40B4-BE49-F238E27FC236}">
                    <a16:creationId xmlns:a16="http://schemas.microsoft.com/office/drawing/2014/main" id="{EA0E21EF-FF50-456C-8B16-28112C00A18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94" name="Group 493">
                <a:extLst>
                  <a:ext uri="{FF2B5EF4-FFF2-40B4-BE49-F238E27FC236}">
                    <a16:creationId xmlns:a16="http://schemas.microsoft.com/office/drawing/2014/main" id="{52999DF1-BFCB-47E5-B908-F442673E828A}"/>
                  </a:ext>
                </a:extLst>
              </p:cNvPr>
              <p:cNvGrpSpPr/>
              <p:nvPr/>
            </p:nvGrpSpPr>
            <p:grpSpPr>
              <a:xfrm>
                <a:off x="1627350" y="2071688"/>
                <a:ext cx="512722" cy="462536"/>
                <a:chOff x="1302898" y="1640683"/>
                <a:chExt cx="1201027" cy="1083468"/>
              </a:xfrm>
            </p:grpSpPr>
            <p:sp>
              <p:nvSpPr>
                <p:cNvPr id="495" name="Freeform 34">
                  <a:extLst>
                    <a:ext uri="{FF2B5EF4-FFF2-40B4-BE49-F238E27FC236}">
                      <a16:creationId xmlns:a16="http://schemas.microsoft.com/office/drawing/2014/main" id="{A537B6DB-09C9-4C6D-8276-F9CB48FC963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96" name="Freeform 37">
                  <a:extLst>
                    <a:ext uri="{FF2B5EF4-FFF2-40B4-BE49-F238E27FC236}">
                      <a16:creationId xmlns:a16="http://schemas.microsoft.com/office/drawing/2014/main" id="{34E4FEBD-5655-4727-88BE-0D3F7004260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97" name="Freeform 39">
                  <a:extLst>
                    <a:ext uri="{FF2B5EF4-FFF2-40B4-BE49-F238E27FC236}">
                      <a16:creationId xmlns:a16="http://schemas.microsoft.com/office/drawing/2014/main" id="{DA5B4BE7-709E-45D4-819D-E3ABE23CF0C8}"/>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98" name="Freeform 40">
                  <a:extLst>
                    <a:ext uri="{FF2B5EF4-FFF2-40B4-BE49-F238E27FC236}">
                      <a16:creationId xmlns:a16="http://schemas.microsoft.com/office/drawing/2014/main" id="{F099B2A0-F49B-46E5-84CE-15E451CF500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99" name="Freeform 5">
                  <a:extLst>
                    <a:ext uri="{FF2B5EF4-FFF2-40B4-BE49-F238E27FC236}">
                      <a16:creationId xmlns:a16="http://schemas.microsoft.com/office/drawing/2014/main" id="{B190EFC9-1E7E-4344-8B1E-9A2C043620B4}"/>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85" name="Group 184">
              <a:extLst>
                <a:ext uri="{FF2B5EF4-FFF2-40B4-BE49-F238E27FC236}">
                  <a16:creationId xmlns:a16="http://schemas.microsoft.com/office/drawing/2014/main" id="{AB2A13B8-C288-48F5-9302-AC19270B5882}"/>
                </a:ext>
              </a:extLst>
            </p:cNvPr>
            <p:cNvGrpSpPr/>
            <p:nvPr/>
          </p:nvGrpSpPr>
          <p:grpSpPr>
            <a:xfrm>
              <a:off x="8358726" y="4471457"/>
              <a:ext cx="128016" cy="128016"/>
              <a:chOff x="1520304" y="1939550"/>
              <a:chExt cx="726812" cy="726812"/>
            </a:xfrm>
          </p:grpSpPr>
          <p:sp>
            <p:nvSpPr>
              <p:cNvPr id="486" name="Oval 485">
                <a:extLst>
                  <a:ext uri="{FF2B5EF4-FFF2-40B4-BE49-F238E27FC236}">
                    <a16:creationId xmlns:a16="http://schemas.microsoft.com/office/drawing/2014/main" id="{43D4BA8E-D85F-4085-806B-B502A3E15D8F}"/>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87" name="Group 486">
                <a:extLst>
                  <a:ext uri="{FF2B5EF4-FFF2-40B4-BE49-F238E27FC236}">
                    <a16:creationId xmlns:a16="http://schemas.microsoft.com/office/drawing/2014/main" id="{ECB081F1-A925-4E86-BD69-D5DABEB61B0B}"/>
                  </a:ext>
                </a:extLst>
              </p:cNvPr>
              <p:cNvGrpSpPr/>
              <p:nvPr/>
            </p:nvGrpSpPr>
            <p:grpSpPr>
              <a:xfrm>
                <a:off x="1627350" y="2071688"/>
                <a:ext cx="512722" cy="462536"/>
                <a:chOff x="1302898" y="1640683"/>
                <a:chExt cx="1201027" cy="1083468"/>
              </a:xfrm>
            </p:grpSpPr>
            <p:sp>
              <p:nvSpPr>
                <p:cNvPr id="488" name="Freeform 34">
                  <a:extLst>
                    <a:ext uri="{FF2B5EF4-FFF2-40B4-BE49-F238E27FC236}">
                      <a16:creationId xmlns:a16="http://schemas.microsoft.com/office/drawing/2014/main" id="{F5D72EE6-E8B9-4779-8A4A-964F97827B5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89" name="Freeform 37">
                  <a:extLst>
                    <a:ext uri="{FF2B5EF4-FFF2-40B4-BE49-F238E27FC236}">
                      <a16:creationId xmlns:a16="http://schemas.microsoft.com/office/drawing/2014/main" id="{E04AD47E-625E-430A-96E1-14ADA95B0389}"/>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90" name="Freeform 39">
                  <a:extLst>
                    <a:ext uri="{FF2B5EF4-FFF2-40B4-BE49-F238E27FC236}">
                      <a16:creationId xmlns:a16="http://schemas.microsoft.com/office/drawing/2014/main" id="{B05C84C2-FB26-4F91-8DBF-899012BD6AB0}"/>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91" name="Freeform 40">
                  <a:extLst>
                    <a:ext uri="{FF2B5EF4-FFF2-40B4-BE49-F238E27FC236}">
                      <a16:creationId xmlns:a16="http://schemas.microsoft.com/office/drawing/2014/main" id="{5C23494C-A38D-44F1-A4FB-7C00EC1C71FA}"/>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92" name="Freeform 5">
                  <a:extLst>
                    <a:ext uri="{FF2B5EF4-FFF2-40B4-BE49-F238E27FC236}">
                      <a16:creationId xmlns:a16="http://schemas.microsoft.com/office/drawing/2014/main" id="{AC2B6649-7E95-44A9-BFE4-53E7F5FC3F3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86" name="Group 185">
              <a:extLst>
                <a:ext uri="{FF2B5EF4-FFF2-40B4-BE49-F238E27FC236}">
                  <a16:creationId xmlns:a16="http://schemas.microsoft.com/office/drawing/2014/main" id="{99D5A371-84C8-486D-A55F-D6F1946EF235}"/>
                </a:ext>
              </a:extLst>
            </p:cNvPr>
            <p:cNvGrpSpPr/>
            <p:nvPr/>
          </p:nvGrpSpPr>
          <p:grpSpPr>
            <a:xfrm>
              <a:off x="8279275" y="3779599"/>
              <a:ext cx="128016" cy="128016"/>
              <a:chOff x="1520304" y="1939550"/>
              <a:chExt cx="726812" cy="726812"/>
            </a:xfrm>
          </p:grpSpPr>
          <p:sp>
            <p:nvSpPr>
              <p:cNvPr id="479" name="Oval 478">
                <a:extLst>
                  <a:ext uri="{FF2B5EF4-FFF2-40B4-BE49-F238E27FC236}">
                    <a16:creationId xmlns:a16="http://schemas.microsoft.com/office/drawing/2014/main" id="{BD88A445-4ABB-4F5C-90C2-8E91C82A063C}"/>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80" name="Group 479">
                <a:extLst>
                  <a:ext uri="{FF2B5EF4-FFF2-40B4-BE49-F238E27FC236}">
                    <a16:creationId xmlns:a16="http://schemas.microsoft.com/office/drawing/2014/main" id="{2F5F255F-DA40-4C76-9BCD-F1F65DA47139}"/>
                  </a:ext>
                </a:extLst>
              </p:cNvPr>
              <p:cNvGrpSpPr/>
              <p:nvPr/>
            </p:nvGrpSpPr>
            <p:grpSpPr>
              <a:xfrm>
                <a:off x="1627350" y="2071688"/>
                <a:ext cx="512722" cy="462536"/>
                <a:chOff x="1302898" y="1640683"/>
                <a:chExt cx="1201027" cy="1083468"/>
              </a:xfrm>
            </p:grpSpPr>
            <p:sp>
              <p:nvSpPr>
                <p:cNvPr id="481" name="Freeform 34">
                  <a:extLst>
                    <a:ext uri="{FF2B5EF4-FFF2-40B4-BE49-F238E27FC236}">
                      <a16:creationId xmlns:a16="http://schemas.microsoft.com/office/drawing/2014/main" id="{38429A8B-EE19-4A79-9E8F-09AB7E07F6D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82" name="Freeform 37">
                  <a:extLst>
                    <a:ext uri="{FF2B5EF4-FFF2-40B4-BE49-F238E27FC236}">
                      <a16:creationId xmlns:a16="http://schemas.microsoft.com/office/drawing/2014/main" id="{87AF1AFB-15C6-4FFE-B0C8-B27B62611DD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83" name="Freeform 39">
                  <a:extLst>
                    <a:ext uri="{FF2B5EF4-FFF2-40B4-BE49-F238E27FC236}">
                      <a16:creationId xmlns:a16="http://schemas.microsoft.com/office/drawing/2014/main" id="{1A8BA8E1-510D-4AFB-8D7C-297C4C5B870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84" name="Freeform 40">
                  <a:extLst>
                    <a:ext uri="{FF2B5EF4-FFF2-40B4-BE49-F238E27FC236}">
                      <a16:creationId xmlns:a16="http://schemas.microsoft.com/office/drawing/2014/main" id="{A71CF4AC-1751-4BEE-9F23-5790688A3E8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85" name="Freeform 5">
                  <a:extLst>
                    <a:ext uri="{FF2B5EF4-FFF2-40B4-BE49-F238E27FC236}">
                      <a16:creationId xmlns:a16="http://schemas.microsoft.com/office/drawing/2014/main" id="{0431995A-C3E9-4A18-B374-4C3D65FB024D}"/>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87" name="Group 186">
              <a:extLst>
                <a:ext uri="{FF2B5EF4-FFF2-40B4-BE49-F238E27FC236}">
                  <a16:creationId xmlns:a16="http://schemas.microsoft.com/office/drawing/2014/main" id="{54A03C57-45C7-4678-833F-2012E7997D07}"/>
                </a:ext>
              </a:extLst>
            </p:cNvPr>
            <p:cNvGrpSpPr/>
            <p:nvPr/>
          </p:nvGrpSpPr>
          <p:grpSpPr>
            <a:xfrm>
              <a:off x="8101497" y="3936542"/>
              <a:ext cx="128016" cy="128016"/>
              <a:chOff x="6617763" y="1494678"/>
              <a:chExt cx="188006" cy="188004"/>
            </a:xfrm>
          </p:grpSpPr>
          <p:sp>
            <p:nvSpPr>
              <p:cNvPr id="477" name="Oval 476">
                <a:extLst>
                  <a:ext uri="{FF2B5EF4-FFF2-40B4-BE49-F238E27FC236}">
                    <a16:creationId xmlns:a16="http://schemas.microsoft.com/office/drawing/2014/main" id="{BA7853CF-4726-43CF-9CF6-CAE9F4ED23AC}"/>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478" name="Freeform 10">
                <a:extLst>
                  <a:ext uri="{FF2B5EF4-FFF2-40B4-BE49-F238E27FC236}">
                    <a16:creationId xmlns:a16="http://schemas.microsoft.com/office/drawing/2014/main" id="{29A2B4EC-496C-45D7-B8F1-2BC620B4010D}"/>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88" name="Group 187">
              <a:extLst>
                <a:ext uri="{FF2B5EF4-FFF2-40B4-BE49-F238E27FC236}">
                  <a16:creationId xmlns:a16="http://schemas.microsoft.com/office/drawing/2014/main" id="{211089C9-A32C-4C7D-A0BC-6AA8CBD460F3}"/>
                </a:ext>
              </a:extLst>
            </p:cNvPr>
            <p:cNvGrpSpPr/>
            <p:nvPr/>
          </p:nvGrpSpPr>
          <p:grpSpPr>
            <a:xfrm>
              <a:off x="8139267" y="4017332"/>
              <a:ext cx="128016" cy="128016"/>
              <a:chOff x="6617763" y="1494678"/>
              <a:chExt cx="188006" cy="188004"/>
            </a:xfrm>
          </p:grpSpPr>
          <p:sp>
            <p:nvSpPr>
              <p:cNvPr id="475" name="Oval 474">
                <a:extLst>
                  <a:ext uri="{FF2B5EF4-FFF2-40B4-BE49-F238E27FC236}">
                    <a16:creationId xmlns:a16="http://schemas.microsoft.com/office/drawing/2014/main" id="{D60336F9-01EE-4000-96F1-FE3A7537C461}"/>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476" name="Freeform 10">
                <a:extLst>
                  <a:ext uri="{FF2B5EF4-FFF2-40B4-BE49-F238E27FC236}">
                    <a16:creationId xmlns:a16="http://schemas.microsoft.com/office/drawing/2014/main" id="{BA538B63-FBAD-466C-92B3-0C0B71FBA0EF}"/>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89" name="Group 188">
              <a:extLst>
                <a:ext uri="{FF2B5EF4-FFF2-40B4-BE49-F238E27FC236}">
                  <a16:creationId xmlns:a16="http://schemas.microsoft.com/office/drawing/2014/main" id="{EB8ACCAB-F045-42C1-B76F-A1B4D71FAA51}"/>
                </a:ext>
              </a:extLst>
            </p:cNvPr>
            <p:cNvGrpSpPr/>
            <p:nvPr/>
          </p:nvGrpSpPr>
          <p:grpSpPr>
            <a:xfrm>
              <a:off x="8310059" y="4212595"/>
              <a:ext cx="128016" cy="128016"/>
              <a:chOff x="6617763" y="1494678"/>
              <a:chExt cx="188006" cy="188004"/>
            </a:xfrm>
          </p:grpSpPr>
          <p:sp>
            <p:nvSpPr>
              <p:cNvPr id="473" name="Oval 472">
                <a:extLst>
                  <a:ext uri="{FF2B5EF4-FFF2-40B4-BE49-F238E27FC236}">
                    <a16:creationId xmlns:a16="http://schemas.microsoft.com/office/drawing/2014/main" id="{400F8B12-8F89-4C8A-A18B-2306E9B8F5C7}"/>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474" name="Freeform 10">
                <a:extLst>
                  <a:ext uri="{FF2B5EF4-FFF2-40B4-BE49-F238E27FC236}">
                    <a16:creationId xmlns:a16="http://schemas.microsoft.com/office/drawing/2014/main" id="{140ABF19-1548-47FA-94E7-4E0135CF0B10}"/>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90" name="Group 189">
              <a:extLst>
                <a:ext uri="{FF2B5EF4-FFF2-40B4-BE49-F238E27FC236}">
                  <a16:creationId xmlns:a16="http://schemas.microsoft.com/office/drawing/2014/main" id="{E12CA7F4-C043-4DE1-827B-C4FAC3C0D22E}"/>
                </a:ext>
              </a:extLst>
            </p:cNvPr>
            <p:cNvGrpSpPr/>
            <p:nvPr/>
          </p:nvGrpSpPr>
          <p:grpSpPr>
            <a:xfrm>
              <a:off x="8965076" y="4234032"/>
              <a:ext cx="128016" cy="128016"/>
              <a:chOff x="1520304" y="1939550"/>
              <a:chExt cx="726812" cy="726812"/>
            </a:xfrm>
          </p:grpSpPr>
          <p:sp>
            <p:nvSpPr>
              <p:cNvPr id="466" name="Oval 465">
                <a:extLst>
                  <a:ext uri="{FF2B5EF4-FFF2-40B4-BE49-F238E27FC236}">
                    <a16:creationId xmlns:a16="http://schemas.microsoft.com/office/drawing/2014/main" id="{A962CAF3-E7DB-46FB-B0FD-59B3BD389BB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67" name="Group 466">
                <a:extLst>
                  <a:ext uri="{FF2B5EF4-FFF2-40B4-BE49-F238E27FC236}">
                    <a16:creationId xmlns:a16="http://schemas.microsoft.com/office/drawing/2014/main" id="{58608406-19DE-48A3-8EF1-652D9D5BCDCD}"/>
                  </a:ext>
                </a:extLst>
              </p:cNvPr>
              <p:cNvGrpSpPr/>
              <p:nvPr/>
            </p:nvGrpSpPr>
            <p:grpSpPr>
              <a:xfrm>
                <a:off x="1627350" y="2071688"/>
                <a:ext cx="512722" cy="462536"/>
                <a:chOff x="1302898" y="1640683"/>
                <a:chExt cx="1201027" cy="1083468"/>
              </a:xfrm>
            </p:grpSpPr>
            <p:sp>
              <p:nvSpPr>
                <p:cNvPr id="468" name="Freeform 34">
                  <a:extLst>
                    <a:ext uri="{FF2B5EF4-FFF2-40B4-BE49-F238E27FC236}">
                      <a16:creationId xmlns:a16="http://schemas.microsoft.com/office/drawing/2014/main" id="{A563B0A4-CD76-4617-9755-56FAF4BAF0D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69" name="Freeform 37">
                  <a:extLst>
                    <a:ext uri="{FF2B5EF4-FFF2-40B4-BE49-F238E27FC236}">
                      <a16:creationId xmlns:a16="http://schemas.microsoft.com/office/drawing/2014/main" id="{2AA78514-CFC0-446E-A3A0-2E4B706B5B4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70" name="Freeform 39">
                  <a:extLst>
                    <a:ext uri="{FF2B5EF4-FFF2-40B4-BE49-F238E27FC236}">
                      <a16:creationId xmlns:a16="http://schemas.microsoft.com/office/drawing/2014/main" id="{B8EB5EAB-0857-4CAE-AABD-F366C092DD0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71" name="Freeform 40">
                  <a:extLst>
                    <a:ext uri="{FF2B5EF4-FFF2-40B4-BE49-F238E27FC236}">
                      <a16:creationId xmlns:a16="http://schemas.microsoft.com/office/drawing/2014/main" id="{3C5B9FD5-2647-4E11-88FE-96140C31A1F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72" name="Freeform 5">
                  <a:extLst>
                    <a:ext uri="{FF2B5EF4-FFF2-40B4-BE49-F238E27FC236}">
                      <a16:creationId xmlns:a16="http://schemas.microsoft.com/office/drawing/2014/main" id="{259CF1B8-F29C-4715-BADA-80072B0AC549}"/>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91" name="Group 190">
              <a:extLst>
                <a:ext uri="{FF2B5EF4-FFF2-40B4-BE49-F238E27FC236}">
                  <a16:creationId xmlns:a16="http://schemas.microsoft.com/office/drawing/2014/main" id="{54BFE9C1-CC28-47D9-BE47-4E89EDE611F4}"/>
                </a:ext>
              </a:extLst>
            </p:cNvPr>
            <p:cNvGrpSpPr/>
            <p:nvPr/>
          </p:nvGrpSpPr>
          <p:grpSpPr>
            <a:xfrm>
              <a:off x="8984289" y="4562660"/>
              <a:ext cx="128016" cy="128016"/>
              <a:chOff x="1520304" y="1939550"/>
              <a:chExt cx="726812" cy="726812"/>
            </a:xfrm>
          </p:grpSpPr>
          <p:sp>
            <p:nvSpPr>
              <p:cNvPr id="459" name="Oval 458">
                <a:extLst>
                  <a:ext uri="{FF2B5EF4-FFF2-40B4-BE49-F238E27FC236}">
                    <a16:creationId xmlns:a16="http://schemas.microsoft.com/office/drawing/2014/main" id="{847F9B7B-FDB4-427B-BA55-91DEC2530C5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60" name="Group 459">
                <a:extLst>
                  <a:ext uri="{FF2B5EF4-FFF2-40B4-BE49-F238E27FC236}">
                    <a16:creationId xmlns:a16="http://schemas.microsoft.com/office/drawing/2014/main" id="{AD988CA5-54E1-48D7-9D85-799C8EB926DC}"/>
                  </a:ext>
                </a:extLst>
              </p:cNvPr>
              <p:cNvGrpSpPr/>
              <p:nvPr/>
            </p:nvGrpSpPr>
            <p:grpSpPr>
              <a:xfrm>
                <a:off x="1627350" y="2071688"/>
                <a:ext cx="512722" cy="462536"/>
                <a:chOff x="1302898" y="1640683"/>
                <a:chExt cx="1201027" cy="1083468"/>
              </a:xfrm>
            </p:grpSpPr>
            <p:sp>
              <p:nvSpPr>
                <p:cNvPr id="461" name="Freeform 34">
                  <a:extLst>
                    <a:ext uri="{FF2B5EF4-FFF2-40B4-BE49-F238E27FC236}">
                      <a16:creationId xmlns:a16="http://schemas.microsoft.com/office/drawing/2014/main" id="{A9DA2E7C-62E8-4754-A7DA-1B2A7A131582}"/>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62" name="Freeform 37">
                  <a:extLst>
                    <a:ext uri="{FF2B5EF4-FFF2-40B4-BE49-F238E27FC236}">
                      <a16:creationId xmlns:a16="http://schemas.microsoft.com/office/drawing/2014/main" id="{5F2FF1A8-009A-45BA-A0D1-C4E9D21589EE}"/>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63" name="Freeform 39">
                  <a:extLst>
                    <a:ext uri="{FF2B5EF4-FFF2-40B4-BE49-F238E27FC236}">
                      <a16:creationId xmlns:a16="http://schemas.microsoft.com/office/drawing/2014/main" id="{45735190-DE1B-4E56-B5F6-E367BA87D98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64" name="Freeform 40">
                  <a:extLst>
                    <a:ext uri="{FF2B5EF4-FFF2-40B4-BE49-F238E27FC236}">
                      <a16:creationId xmlns:a16="http://schemas.microsoft.com/office/drawing/2014/main" id="{0284272F-30A4-4C8B-835C-288ACE2E9F2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65" name="Freeform 5">
                  <a:extLst>
                    <a:ext uri="{FF2B5EF4-FFF2-40B4-BE49-F238E27FC236}">
                      <a16:creationId xmlns:a16="http://schemas.microsoft.com/office/drawing/2014/main" id="{EC6A1A47-7E23-4500-B8F0-E2D10B2E612A}"/>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92" name="Group 191">
              <a:extLst>
                <a:ext uri="{FF2B5EF4-FFF2-40B4-BE49-F238E27FC236}">
                  <a16:creationId xmlns:a16="http://schemas.microsoft.com/office/drawing/2014/main" id="{CA7E24E3-0441-4EFB-8E12-33B39946408D}"/>
                </a:ext>
              </a:extLst>
            </p:cNvPr>
            <p:cNvGrpSpPr/>
            <p:nvPr/>
          </p:nvGrpSpPr>
          <p:grpSpPr>
            <a:xfrm>
              <a:off x="9065689" y="4625413"/>
              <a:ext cx="128016" cy="128016"/>
              <a:chOff x="6617763" y="1494678"/>
              <a:chExt cx="188006" cy="188004"/>
            </a:xfrm>
          </p:grpSpPr>
          <p:sp>
            <p:nvSpPr>
              <p:cNvPr id="457" name="Oval 456">
                <a:extLst>
                  <a:ext uri="{FF2B5EF4-FFF2-40B4-BE49-F238E27FC236}">
                    <a16:creationId xmlns:a16="http://schemas.microsoft.com/office/drawing/2014/main" id="{CEC7BB65-D581-4628-B4D9-F8AEB4C785DD}"/>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458" name="Freeform 10">
                <a:extLst>
                  <a:ext uri="{FF2B5EF4-FFF2-40B4-BE49-F238E27FC236}">
                    <a16:creationId xmlns:a16="http://schemas.microsoft.com/office/drawing/2014/main" id="{4F5B2A4A-4AC0-4B86-BD50-89542D637B1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93" name="Group 192">
              <a:extLst>
                <a:ext uri="{FF2B5EF4-FFF2-40B4-BE49-F238E27FC236}">
                  <a16:creationId xmlns:a16="http://schemas.microsoft.com/office/drawing/2014/main" id="{984A609D-9B5C-477C-B9B7-71C4D14ED5CC}"/>
                </a:ext>
              </a:extLst>
            </p:cNvPr>
            <p:cNvGrpSpPr/>
            <p:nvPr/>
          </p:nvGrpSpPr>
          <p:grpSpPr>
            <a:xfrm>
              <a:off x="9130220" y="4693240"/>
              <a:ext cx="128016" cy="128016"/>
              <a:chOff x="6617763" y="1494678"/>
              <a:chExt cx="188006" cy="188004"/>
            </a:xfrm>
          </p:grpSpPr>
          <p:sp>
            <p:nvSpPr>
              <p:cNvPr id="455" name="Oval 454">
                <a:extLst>
                  <a:ext uri="{FF2B5EF4-FFF2-40B4-BE49-F238E27FC236}">
                    <a16:creationId xmlns:a16="http://schemas.microsoft.com/office/drawing/2014/main" id="{CF5CAC33-24D6-4EE6-BCEA-E2FBFE3B858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456" name="Freeform 10">
                <a:extLst>
                  <a:ext uri="{FF2B5EF4-FFF2-40B4-BE49-F238E27FC236}">
                    <a16:creationId xmlns:a16="http://schemas.microsoft.com/office/drawing/2014/main" id="{8F9CE630-A84F-471B-B820-5547C36A3F64}"/>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94" name="Group 193">
              <a:extLst>
                <a:ext uri="{FF2B5EF4-FFF2-40B4-BE49-F238E27FC236}">
                  <a16:creationId xmlns:a16="http://schemas.microsoft.com/office/drawing/2014/main" id="{AEF58C78-846B-4BE6-B249-DDEA26EDF0F7}"/>
                </a:ext>
              </a:extLst>
            </p:cNvPr>
            <p:cNvGrpSpPr/>
            <p:nvPr/>
          </p:nvGrpSpPr>
          <p:grpSpPr>
            <a:xfrm>
              <a:off x="9461007" y="5876557"/>
              <a:ext cx="128016" cy="128016"/>
              <a:chOff x="1520304" y="1939550"/>
              <a:chExt cx="726812" cy="726812"/>
            </a:xfrm>
          </p:grpSpPr>
          <p:sp>
            <p:nvSpPr>
              <p:cNvPr id="448" name="Oval 447">
                <a:extLst>
                  <a:ext uri="{FF2B5EF4-FFF2-40B4-BE49-F238E27FC236}">
                    <a16:creationId xmlns:a16="http://schemas.microsoft.com/office/drawing/2014/main" id="{475D54DF-A954-464F-AF64-5C35E14AA7A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49" name="Group 448">
                <a:extLst>
                  <a:ext uri="{FF2B5EF4-FFF2-40B4-BE49-F238E27FC236}">
                    <a16:creationId xmlns:a16="http://schemas.microsoft.com/office/drawing/2014/main" id="{E583E4A0-807D-418F-A8C8-5646B86E4736}"/>
                  </a:ext>
                </a:extLst>
              </p:cNvPr>
              <p:cNvGrpSpPr/>
              <p:nvPr/>
            </p:nvGrpSpPr>
            <p:grpSpPr>
              <a:xfrm>
                <a:off x="1627350" y="2071688"/>
                <a:ext cx="512722" cy="462536"/>
                <a:chOff x="1302898" y="1640683"/>
                <a:chExt cx="1201027" cy="1083468"/>
              </a:xfrm>
            </p:grpSpPr>
            <p:sp>
              <p:nvSpPr>
                <p:cNvPr id="450" name="Freeform 34">
                  <a:extLst>
                    <a:ext uri="{FF2B5EF4-FFF2-40B4-BE49-F238E27FC236}">
                      <a16:creationId xmlns:a16="http://schemas.microsoft.com/office/drawing/2014/main" id="{54BD8589-864A-4B34-9623-8538F5BB33D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51" name="Freeform 37">
                  <a:extLst>
                    <a:ext uri="{FF2B5EF4-FFF2-40B4-BE49-F238E27FC236}">
                      <a16:creationId xmlns:a16="http://schemas.microsoft.com/office/drawing/2014/main" id="{0A75E9D4-2D37-4A32-A585-ABBFAE3BC49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52" name="Freeform 39">
                  <a:extLst>
                    <a:ext uri="{FF2B5EF4-FFF2-40B4-BE49-F238E27FC236}">
                      <a16:creationId xmlns:a16="http://schemas.microsoft.com/office/drawing/2014/main" id="{59F41D3C-9AFD-4341-B549-6CDA2F2FED65}"/>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53" name="Freeform 40">
                  <a:extLst>
                    <a:ext uri="{FF2B5EF4-FFF2-40B4-BE49-F238E27FC236}">
                      <a16:creationId xmlns:a16="http://schemas.microsoft.com/office/drawing/2014/main" id="{1A340C58-30A5-40BD-B03E-63BD71CAE788}"/>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54" name="Freeform 5">
                  <a:extLst>
                    <a:ext uri="{FF2B5EF4-FFF2-40B4-BE49-F238E27FC236}">
                      <a16:creationId xmlns:a16="http://schemas.microsoft.com/office/drawing/2014/main" id="{C58D980B-647A-4485-9ECF-6BF502900A19}"/>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95" name="Group 194">
              <a:extLst>
                <a:ext uri="{FF2B5EF4-FFF2-40B4-BE49-F238E27FC236}">
                  <a16:creationId xmlns:a16="http://schemas.microsoft.com/office/drawing/2014/main" id="{6555636E-4BEA-4580-800F-59257A27DD77}"/>
                </a:ext>
              </a:extLst>
            </p:cNvPr>
            <p:cNvGrpSpPr/>
            <p:nvPr/>
          </p:nvGrpSpPr>
          <p:grpSpPr>
            <a:xfrm>
              <a:off x="10362554" y="6094424"/>
              <a:ext cx="128016" cy="128016"/>
              <a:chOff x="6617763" y="1494678"/>
              <a:chExt cx="188006" cy="188004"/>
            </a:xfrm>
          </p:grpSpPr>
          <p:sp>
            <p:nvSpPr>
              <p:cNvPr id="446" name="Oval 445">
                <a:extLst>
                  <a:ext uri="{FF2B5EF4-FFF2-40B4-BE49-F238E27FC236}">
                    <a16:creationId xmlns:a16="http://schemas.microsoft.com/office/drawing/2014/main" id="{6915CB78-510D-402C-A764-D5F1BEAFFC5D}"/>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447" name="Freeform 10">
                <a:extLst>
                  <a:ext uri="{FF2B5EF4-FFF2-40B4-BE49-F238E27FC236}">
                    <a16:creationId xmlns:a16="http://schemas.microsoft.com/office/drawing/2014/main" id="{2B9FFFD4-A8EC-4B01-9188-794E76BE7A2E}"/>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96" name="Group 195">
              <a:extLst>
                <a:ext uri="{FF2B5EF4-FFF2-40B4-BE49-F238E27FC236}">
                  <a16:creationId xmlns:a16="http://schemas.microsoft.com/office/drawing/2014/main" id="{4B0E8E88-6F50-4D31-9257-46A36DC33EEA}"/>
                </a:ext>
              </a:extLst>
            </p:cNvPr>
            <p:cNvGrpSpPr/>
            <p:nvPr/>
          </p:nvGrpSpPr>
          <p:grpSpPr>
            <a:xfrm>
              <a:off x="10553974" y="5958102"/>
              <a:ext cx="128016" cy="128016"/>
              <a:chOff x="1520304" y="1939550"/>
              <a:chExt cx="726812" cy="726812"/>
            </a:xfrm>
          </p:grpSpPr>
          <p:sp>
            <p:nvSpPr>
              <p:cNvPr id="439" name="Oval 438">
                <a:extLst>
                  <a:ext uri="{FF2B5EF4-FFF2-40B4-BE49-F238E27FC236}">
                    <a16:creationId xmlns:a16="http://schemas.microsoft.com/office/drawing/2014/main" id="{440C0309-E02C-4DCC-8EE5-257BFBB773CD}"/>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40" name="Group 439">
                <a:extLst>
                  <a:ext uri="{FF2B5EF4-FFF2-40B4-BE49-F238E27FC236}">
                    <a16:creationId xmlns:a16="http://schemas.microsoft.com/office/drawing/2014/main" id="{F953BBE5-B8CF-4A18-8FF2-4B7CED95D3BD}"/>
                  </a:ext>
                </a:extLst>
              </p:cNvPr>
              <p:cNvGrpSpPr/>
              <p:nvPr/>
            </p:nvGrpSpPr>
            <p:grpSpPr>
              <a:xfrm>
                <a:off x="1627350" y="2071688"/>
                <a:ext cx="512722" cy="462536"/>
                <a:chOff x="1302898" y="1640683"/>
                <a:chExt cx="1201027" cy="1083468"/>
              </a:xfrm>
            </p:grpSpPr>
            <p:sp>
              <p:nvSpPr>
                <p:cNvPr id="441" name="Freeform 34">
                  <a:extLst>
                    <a:ext uri="{FF2B5EF4-FFF2-40B4-BE49-F238E27FC236}">
                      <a16:creationId xmlns:a16="http://schemas.microsoft.com/office/drawing/2014/main" id="{3F00E1BC-9CCE-452A-B10C-1157B6A03CD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42" name="Freeform 37">
                  <a:extLst>
                    <a:ext uri="{FF2B5EF4-FFF2-40B4-BE49-F238E27FC236}">
                      <a16:creationId xmlns:a16="http://schemas.microsoft.com/office/drawing/2014/main" id="{C363F66B-34A1-4C72-B10F-7B6D23B32B40}"/>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43" name="Freeform 39">
                  <a:extLst>
                    <a:ext uri="{FF2B5EF4-FFF2-40B4-BE49-F238E27FC236}">
                      <a16:creationId xmlns:a16="http://schemas.microsoft.com/office/drawing/2014/main" id="{FDB55A55-8AAA-4AD1-92CC-151978E9731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44" name="Freeform 40">
                  <a:extLst>
                    <a:ext uri="{FF2B5EF4-FFF2-40B4-BE49-F238E27FC236}">
                      <a16:creationId xmlns:a16="http://schemas.microsoft.com/office/drawing/2014/main" id="{4B569E0D-B3DF-47FB-91CD-3744F34D601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45" name="Freeform 5">
                  <a:extLst>
                    <a:ext uri="{FF2B5EF4-FFF2-40B4-BE49-F238E27FC236}">
                      <a16:creationId xmlns:a16="http://schemas.microsoft.com/office/drawing/2014/main" id="{E9218575-7923-4DD3-9A9B-ADA051B7F13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97" name="Group 196">
              <a:extLst>
                <a:ext uri="{FF2B5EF4-FFF2-40B4-BE49-F238E27FC236}">
                  <a16:creationId xmlns:a16="http://schemas.microsoft.com/office/drawing/2014/main" id="{E7557354-44F3-43BB-A4C8-E36BD02B1ADE}"/>
                </a:ext>
              </a:extLst>
            </p:cNvPr>
            <p:cNvGrpSpPr/>
            <p:nvPr/>
          </p:nvGrpSpPr>
          <p:grpSpPr>
            <a:xfrm>
              <a:off x="10612346" y="5638821"/>
              <a:ext cx="128016" cy="128016"/>
              <a:chOff x="1520304" y="1939550"/>
              <a:chExt cx="726812" cy="726812"/>
            </a:xfrm>
          </p:grpSpPr>
          <p:sp>
            <p:nvSpPr>
              <p:cNvPr id="432" name="Oval 431">
                <a:extLst>
                  <a:ext uri="{FF2B5EF4-FFF2-40B4-BE49-F238E27FC236}">
                    <a16:creationId xmlns:a16="http://schemas.microsoft.com/office/drawing/2014/main" id="{4D164BD3-A818-4D2E-9F29-1FB7E1F326AF}"/>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33" name="Group 432">
                <a:extLst>
                  <a:ext uri="{FF2B5EF4-FFF2-40B4-BE49-F238E27FC236}">
                    <a16:creationId xmlns:a16="http://schemas.microsoft.com/office/drawing/2014/main" id="{5060EB5B-D36D-495D-8EFD-C9023A3188C8}"/>
                  </a:ext>
                </a:extLst>
              </p:cNvPr>
              <p:cNvGrpSpPr/>
              <p:nvPr/>
            </p:nvGrpSpPr>
            <p:grpSpPr>
              <a:xfrm>
                <a:off x="1627350" y="2071688"/>
                <a:ext cx="512722" cy="462536"/>
                <a:chOff x="1302898" y="1640683"/>
                <a:chExt cx="1201027" cy="1083468"/>
              </a:xfrm>
            </p:grpSpPr>
            <p:sp>
              <p:nvSpPr>
                <p:cNvPr id="434" name="Freeform 34">
                  <a:extLst>
                    <a:ext uri="{FF2B5EF4-FFF2-40B4-BE49-F238E27FC236}">
                      <a16:creationId xmlns:a16="http://schemas.microsoft.com/office/drawing/2014/main" id="{F65A64EB-C8C5-431B-A868-07FCC30F9D2E}"/>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35" name="Freeform 37">
                  <a:extLst>
                    <a:ext uri="{FF2B5EF4-FFF2-40B4-BE49-F238E27FC236}">
                      <a16:creationId xmlns:a16="http://schemas.microsoft.com/office/drawing/2014/main" id="{3B3AA064-127B-43B0-8F23-256A2E21B0F3}"/>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36" name="Freeform 39">
                  <a:extLst>
                    <a:ext uri="{FF2B5EF4-FFF2-40B4-BE49-F238E27FC236}">
                      <a16:creationId xmlns:a16="http://schemas.microsoft.com/office/drawing/2014/main" id="{95600F71-0EE2-4535-9D2B-4B42C4E560C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37" name="Freeform 40">
                  <a:extLst>
                    <a:ext uri="{FF2B5EF4-FFF2-40B4-BE49-F238E27FC236}">
                      <a16:creationId xmlns:a16="http://schemas.microsoft.com/office/drawing/2014/main" id="{1CBE0FA2-3CF8-44A2-BDAB-9ABE37D7E41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38" name="Freeform 5">
                  <a:extLst>
                    <a:ext uri="{FF2B5EF4-FFF2-40B4-BE49-F238E27FC236}">
                      <a16:creationId xmlns:a16="http://schemas.microsoft.com/office/drawing/2014/main" id="{3A314F0B-4440-40B7-A0EA-86C7389273F5}"/>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98" name="Group 197">
              <a:extLst>
                <a:ext uri="{FF2B5EF4-FFF2-40B4-BE49-F238E27FC236}">
                  <a16:creationId xmlns:a16="http://schemas.microsoft.com/office/drawing/2014/main" id="{3149C6D8-BFCB-42F6-BCC7-B53FA099AE09}"/>
                </a:ext>
              </a:extLst>
            </p:cNvPr>
            <p:cNvGrpSpPr/>
            <p:nvPr/>
          </p:nvGrpSpPr>
          <p:grpSpPr>
            <a:xfrm>
              <a:off x="10543566" y="5959402"/>
              <a:ext cx="128016" cy="128016"/>
              <a:chOff x="6617763" y="1494678"/>
              <a:chExt cx="188006" cy="188004"/>
            </a:xfrm>
          </p:grpSpPr>
          <p:sp>
            <p:nvSpPr>
              <p:cNvPr id="430" name="Oval 429">
                <a:extLst>
                  <a:ext uri="{FF2B5EF4-FFF2-40B4-BE49-F238E27FC236}">
                    <a16:creationId xmlns:a16="http://schemas.microsoft.com/office/drawing/2014/main" id="{CC8A2E21-760D-41FB-8327-DA15D1B8B284}"/>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431" name="Freeform 10">
                <a:extLst>
                  <a:ext uri="{FF2B5EF4-FFF2-40B4-BE49-F238E27FC236}">
                    <a16:creationId xmlns:a16="http://schemas.microsoft.com/office/drawing/2014/main" id="{90207120-CD3A-47B1-B877-F5D0AB970E7A}"/>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99" name="Group 198">
              <a:extLst>
                <a:ext uri="{FF2B5EF4-FFF2-40B4-BE49-F238E27FC236}">
                  <a16:creationId xmlns:a16="http://schemas.microsoft.com/office/drawing/2014/main" id="{1732843F-8F74-4E35-9008-ADF90DB1C313}"/>
                </a:ext>
              </a:extLst>
            </p:cNvPr>
            <p:cNvGrpSpPr/>
            <p:nvPr/>
          </p:nvGrpSpPr>
          <p:grpSpPr>
            <a:xfrm>
              <a:off x="11296156" y="6115860"/>
              <a:ext cx="128016" cy="128016"/>
              <a:chOff x="1520304" y="1939550"/>
              <a:chExt cx="726812" cy="726812"/>
            </a:xfrm>
          </p:grpSpPr>
          <p:sp>
            <p:nvSpPr>
              <p:cNvPr id="423" name="Oval 422">
                <a:extLst>
                  <a:ext uri="{FF2B5EF4-FFF2-40B4-BE49-F238E27FC236}">
                    <a16:creationId xmlns:a16="http://schemas.microsoft.com/office/drawing/2014/main" id="{DA2498E5-B2D2-430D-8367-32CB418E3526}"/>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24" name="Group 423">
                <a:extLst>
                  <a:ext uri="{FF2B5EF4-FFF2-40B4-BE49-F238E27FC236}">
                    <a16:creationId xmlns:a16="http://schemas.microsoft.com/office/drawing/2014/main" id="{B5C4F473-DBB8-4504-9677-7C38CB7226CB}"/>
                  </a:ext>
                </a:extLst>
              </p:cNvPr>
              <p:cNvGrpSpPr/>
              <p:nvPr/>
            </p:nvGrpSpPr>
            <p:grpSpPr>
              <a:xfrm>
                <a:off x="1627350" y="2071688"/>
                <a:ext cx="512722" cy="462536"/>
                <a:chOff x="1302898" y="1640683"/>
                <a:chExt cx="1201027" cy="1083468"/>
              </a:xfrm>
            </p:grpSpPr>
            <p:sp>
              <p:nvSpPr>
                <p:cNvPr id="425" name="Freeform 34">
                  <a:extLst>
                    <a:ext uri="{FF2B5EF4-FFF2-40B4-BE49-F238E27FC236}">
                      <a16:creationId xmlns:a16="http://schemas.microsoft.com/office/drawing/2014/main" id="{DD45BE08-D6F9-460E-A24F-50EEB8396D5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26" name="Freeform 37">
                  <a:extLst>
                    <a:ext uri="{FF2B5EF4-FFF2-40B4-BE49-F238E27FC236}">
                      <a16:creationId xmlns:a16="http://schemas.microsoft.com/office/drawing/2014/main" id="{C9544D97-0A79-4DDF-8A69-A0D9BEC7FA4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27" name="Freeform 39">
                  <a:extLst>
                    <a:ext uri="{FF2B5EF4-FFF2-40B4-BE49-F238E27FC236}">
                      <a16:creationId xmlns:a16="http://schemas.microsoft.com/office/drawing/2014/main" id="{CBA12ADD-4CAE-4257-9039-77453295C87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28" name="Freeform 40">
                  <a:extLst>
                    <a:ext uri="{FF2B5EF4-FFF2-40B4-BE49-F238E27FC236}">
                      <a16:creationId xmlns:a16="http://schemas.microsoft.com/office/drawing/2014/main" id="{6275F74E-DE9B-46FD-AFE2-217BA5170768}"/>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29" name="Freeform 5">
                  <a:extLst>
                    <a:ext uri="{FF2B5EF4-FFF2-40B4-BE49-F238E27FC236}">
                      <a16:creationId xmlns:a16="http://schemas.microsoft.com/office/drawing/2014/main" id="{1AC66E5D-01DE-43FF-97F3-68DB85DA70AC}"/>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00" name="Group 199">
              <a:extLst>
                <a:ext uri="{FF2B5EF4-FFF2-40B4-BE49-F238E27FC236}">
                  <a16:creationId xmlns:a16="http://schemas.microsoft.com/office/drawing/2014/main" id="{A4CF4FEB-8EEB-433A-99E4-21F02A96A187}"/>
                </a:ext>
              </a:extLst>
            </p:cNvPr>
            <p:cNvGrpSpPr/>
            <p:nvPr/>
          </p:nvGrpSpPr>
          <p:grpSpPr>
            <a:xfrm>
              <a:off x="10496410" y="4324037"/>
              <a:ext cx="128016" cy="128016"/>
              <a:chOff x="1520304" y="1939550"/>
              <a:chExt cx="726812" cy="726812"/>
            </a:xfrm>
          </p:grpSpPr>
          <p:sp>
            <p:nvSpPr>
              <p:cNvPr id="416" name="Oval 415">
                <a:extLst>
                  <a:ext uri="{FF2B5EF4-FFF2-40B4-BE49-F238E27FC236}">
                    <a16:creationId xmlns:a16="http://schemas.microsoft.com/office/drawing/2014/main" id="{AAF8FCD7-5846-4994-AA62-CE6CFA3CAB9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17" name="Group 416">
                <a:extLst>
                  <a:ext uri="{FF2B5EF4-FFF2-40B4-BE49-F238E27FC236}">
                    <a16:creationId xmlns:a16="http://schemas.microsoft.com/office/drawing/2014/main" id="{F0109CE0-11DD-47BA-8219-AF2AEFADDFF5}"/>
                  </a:ext>
                </a:extLst>
              </p:cNvPr>
              <p:cNvGrpSpPr/>
              <p:nvPr/>
            </p:nvGrpSpPr>
            <p:grpSpPr>
              <a:xfrm>
                <a:off x="1627350" y="2071688"/>
                <a:ext cx="512722" cy="462536"/>
                <a:chOff x="1302898" y="1640683"/>
                <a:chExt cx="1201027" cy="1083468"/>
              </a:xfrm>
            </p:grpSpPr>
            <p:sp>
              <p:nvSpPr>
                <p:cNvPr id="418" name="Freeform 34">
                  <a:extLst>
                    <a:ext uri="{FF2B5EF4-FFF2-40B4-BE49-F238E27FC236}">
                      <a16:creationId xmlns:a16="http://schemas.microsoft.com/office/drawing/2014/main" id="{2381B812-3D9E-453F-BAE3-D37B4B94968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19" name="Freeform 37">
                  <a:extLst>
                    <a:ext uri="{FF2B5EF4-FFF2-40B4-BE49-F238E27FC236}">
                      <a16:creationId xmlns:a16="http://schemas.microsoft.com/office/drawing/2014/main" id="{2B8B0F14-0F40-466A-AA97-E482AA604B0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20" name="Freeform 39">
                  <a:extLst>
                    <a:ext uri="{FF2B5EF4-FFF2-40B4-BE49-F238E27FC236}">
                      <a16:creationId xmlns:a16="http://schemas.microsoft.com/office/drawing/2014/main" id="{5DD55BE5-3B49-4081-ABDC-594E3E958FF5}"/>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21" name="Freeform 40">
                  <a:extLst>
                    <a:ext uri="{FF2B5EF4-FFF2-40B4-BE49-F238E27FC236}">
                      <a16:creationId xmlns:a16="http://schemas.microsoft.com/office/drawing/2014/main" id="{6AD505CB-A4F0-4CAC-8AD6-ADB225E2607F}"/>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22" name="Freeform 5">
                  <a:extLst>
                    <a:ext uri="{FF2B5EF4-FFF2-40B4-BE49-F238E27FC236}">
                      <a16:creationId xmlns:a16="http://schemas.microsoft.com/office/drawing/2014/main" id="{8477AC1E-C1B7-48E6-B749-08ACBEB3B87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01" name="Group 200">
              <a:extLst>
                <a:ext uri="{FF2B5EF4-FFF2-40B4-BE49-F238E27FC236}">
                  <a16:creationId xmlns:a16="http://schemas.microsoft.com/office/drawing/2014/main" id="{1789CA11-BF51-45D6-9D80-E1391FE7FE36}"/>
                </a:ext>
              </a:extLst>
            </p:cNvPr>
            <p:cNvGrpSpPr/>
            <p:nvPr/>
          </p:nvGrpSpPr>
          <p:grpSpPr>
            <a:xfrm>
              <a:off x="9648033" y="3897186"/>
              <a:ext cx="128016" cy="128016"/>
              <a:chOff x="1520304" y="1939550"/>
              <a:chExt cx="726812" cy="726812"/>
            </a:xfrm>
          </p:grpSpPr>
          <p:sp>
            <p:nvSpPr>
              <p:cNvPr id="409" name="Oval 408">
                <a:extLst>
                  <a:ext uri="{FF2B5EF4-FFF2-40B4-BE49-F238E27FC236}">
                    <a16:creationId xmlns:a16="http://schemas.microsoft.com/office/drawing/2014/main" id="{3A58C444-BFF3-4636-A99C-C2275D049D08}"/>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10" name="Group 409">
                <a:extLst>
                  <a:ext uri="{FF2B5EF4-FFF2-40B4-BE49-F238E27FC236}">
                    <a16:creationId xmlns:a16="http://schemas.microsoft.com/office/drawing/2014/main" id="{43D018E6-75C0-4C66-B5F2-84532B4F2E90}"/>
                  </a:ext>
                </a:extLst>
              </p:cNvPr>
              <p:cNvGrpSpPr/>
              <p:nvPr/>
            </p:nvGrpSpPr>
            <p:grpSpPr>
              <a:xfrm>
                <a:off x="1627350" y="2071688"/>
                <a:ext cx="512722" cy="462536"/>
                <a:chOff x="1302898" y="1640683"/>
                <a:chExt cx="1201027" cy="1083468"/>
              </a:xfrm>
            </p:grpSpPr>
            <p:sp>
              <p:nvSpPr>
                <p:cNvPr id="411" name="Freeform 34">
                  <a:extLst>
                    <a:ext uri="{FF2B5EF4-FFF2-40B4-BE49-F238E27FC236}">
                      <a16:creationId xmlns:a16="http://schemas.microsoft.com/office/drawing/2014/main" id="{A5E34C0A-5AA7-4010-8D2E-42DE79D5698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12" name="Freeform 37">
                  <a:extLst>
                    <a:ext uri="{FF2B5EF4-FFF2-40B4-BE49-F238E27FC236}">
                      <a16:creationId xmlns:a16="http://schemas.microsoft.com/office/drawing/2014/main" id="{B542B89B-EB44-4B50-959A-EA4008580B5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13" name="Freeform 39">
                  <a:extLst>
                    <a:ext uri="{FF2B5EF4-FFF2-40B4-BE49-F238E27FC236}">
                      <a16:creationId xmlns:a16="http://schemas.microsoft.com/office/drawing/2014/main" id="{F9B59386-F9CE-4689-A4DB-52D3A1A144F8}"/>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14" name="Freeform 40">
                  <a:extLst>
                    <a:ext uri="{FF2B5EF4-FFF2-40B4-BE49-F238E27FC236}">
                      <a16:creationId xmlns:a16="http://schemas.microsoft.com/office/drawing/2014/main" id="{6D7FFA37-8F2C-48B3-9A05-C4013C19A590}"/>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15" name="Freeform 5">
                  <a:extLst>
                    <a:ext uri="{FF2B5EF4-FFF2-40B4-BE49-F238E27FC236}">
                      <a16:creationId xmlns:a16="http://schemas.microsoft.com/office/drawing/2014/main" id="{60E6AFBC-B7E7-4909-ABE3-84D7B06AFB1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02" name="Group 201">
              <a:extLst>
                <a:ext uri="{FF2B5EF4-FFF2-40B4-BE49-F238E27FC236}">
                  <a16:creationId xmlns:a16="http://schemas.microsoft.com/office/drawing/2014/main" id="{0422E425-C5B6-4B51-B292-FC9783F10DA1}"/>
                </a:ext>
              </a:extLst>
            </p:cNvPr>
            <p:cNvGrpSpPr/>
            <p:nvPr/>
          </p:nvGrpSpPr>
          <p:grpSpPr>
            <a:xfrm>
              <a:off x="9621184" y="4177691"/>
              <a:ext cx="128016" cy="128016"/>
              <a:chOff x="1520304" y="1939550"/>
              <a:chExt cx="726812" cy="726812"/>
            </a:xfrm>
          </p:grpSpPr>
          <p:sp>
            <p:nvSpPr>
              <p:cNvPr id="402" name="Oval 401">
                <a:extLst>
                  <a:ext uri="{FF2B5EF4-FFF2-40B4-BE49-F238E27FC236}">
                    <a16:creationId xmlns:a16="http://schemas.microsoft.com/office/drawing/2014/main" id="{4F044AD1-5669-4B18-89F8-22470F6AF4B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03" name="Group 402">
                <a:extLst>
                  <a:ext uri="{FF2B5EF4-FFF2-40B4-BE49-F238E27FC236}">
                    <a16:creationId xmlns:a16="http://schemas.microsoft.com/office/drawing/2014/main" id="{BE275BE1-E4AC-45A6-899E-CB8C59C67FDF}"/>
                  </a:ext>
                </a:extLst>
              </p:cNvPr>
              <p:cNvGrpSpPr/>
              <p:nvPr/>
            </p:nvGrpSpPr>
            <p:grpSpPr>
              <a:xfrm>
                <a:off x="1627350" y="2071688"/>
                <a:ext cx="512722" cy="462536"/>
                <a:chOff x="1302898" y="1640683"/>
                <a:chExt cx="1201027" cy="1083468"/>
              </a:xfrm>
            </p:grpSpPr>
            <p:sp>
              <p:nvSpPr>
                <p:cNvPr id="404" name="Freeform 34">
                  <a:extLst>
                    <a:ext uri="{FF2B5EF4-FFF2-40B4-BE49-F238E27FC236}">
                      <a16:creationId xmlns:a16="http://schemas.microsoft.com/office/drawing/2014/main" id="{A3FD1563-D020-45F3-9FDA-F0E044586DF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05" name="Freeform 37">
                  <a:extLst>
                    <a:ext uri="{FF2B5EF4-FFF2-40B4-BE49-F238E27FC236}">
                      <a16:creationId xmlns:a16="http://schemas.microsoft.com/office/drawing/2014/main" id="{832EFE07-20C5-4099-B331-4AE585B5B85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06" name="Freeform 39">
                  <a:extLst>
                    <a:ext uri="{FF2B5EF4-FFF2-40B4-BE49-F238E27FC236}">
                      <a16:creationId xmlns:a16="http://schemas.microsoft.com/office/drawing/2014/main" id="{D8D40F15-3B22-49F8-844E-5F0DBCE759A9}"/>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07" name="Freeform 40">
                  <a:extLst>
                    <a:ext uri="{FF2B5EF4-FFF2-40B4-BE49-F238E27FC236}">
                      <a16:creationId xmlns:a16="http://schemas.microsoft.com/office/drawing/2014/main" id="{4AAC9E6F-33A5-497A-B829-32923A6FFA3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08" name="Freeform 5">
                  <a:extLst>
                    <a:ext uri="{FF2B5EF4-FFF2-40B4-BE49-F238E27FC236}">
                      <a16:creationId xmlns:a16="http://schemas.microsoft.com/office/drawing/2014/main" id="{EC8D5815-69D7-47FF-99FB-8ED9217ED88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03" name="Group 202">
              <a:extLst>
                <a:ext uri="{FF2B5EF4-FFF2-40B4-BE49-F238E27FC236}">
                  <a16:creationId xmlns:a16="http://schemas.microsoft.com/office/drawing/2014/main" id="{FE4F1D51-0E11-4016-9D6C-70ACBEC19726}"/>
                </a:ext>
              </a:extLst>
            </p:cNvPr>
            <p:cNvGrpSpPr/>
            <p:nvPr/>
          </p:nvGrpSpPr>
          <p:grpSpPr>
            <a:xfrm>
              <a:off x="9366344" y="3933422"/>
              <a:ext cx="128016" cy="128016"/>
              <a:chOff x="6617763" y="1494678"/>
              <a:chExt cx="188006" cy="188004"/>
            </a:xfrm>
          </p:grpSpPr>
          <p:sp>
            <p:nvSpPr>
              <p:cNvPr id="400" name="Oval 399">
                <a:extLst>
                  <a:ext uri="{FF2B5EF4-FFF2-40B4-BE49-F238E27FC236}">
                    <a16:creationId xmlns:a16="http://schemas.microsoft.com/office/drawing/2014/main" id="{19212AE7-4448-4AC8-B293-6D9DFCC59E18}"/>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401" name="Freeform 10">
                <a:extLst>
                  <a:ext uri="{FF2B5EF4-FFF2-40B4-BE49-F238E27FC236}">
                    <a16:creationId xmlns:a16="http://schemas.microsoft.com/office/drawing/2014/main" id="{066B4AD5-E385-443D-A68A-893698E653BC}"/>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04" name="Group 203">
              <a:extLst>
                <a:ext uri="{FF2B5EF4-FFF2-40B4-BE49-F238E27FC236}">
                  <a16:creationId xmlns:a16="http://schemas.microsoft.com/office/drawing/2014/main" id="{43C15A48-E909-4406-BC41-57B9B3D2F578}"/>
                </a:ext>
              </a:extLst>
            </p:cNvPr>
            <p:cNvGrpSpPr/>
            <p:nvPr/>
          </p:nvGrpSpPr>
          <p:grpSpPr>
            <a:xfrm>
              <a:off x="9594675" y="3694023"/>
              <a:ext cx="128016" cy="128016"/>
              <a:chOff x="6617763" y="1494678"/>
              <a:chExt cx="188006" cy="188004"/>
            </a:xfrm>
          </p:grpSpPr>
          <p:sp>
            <p:nvSpPr>
              <p:cNvPr id="398" name="Oval 397">
                <a:extLst>
                  <a:ext uri="{FF2B5EF4-FFF2-40B4-BE49-F238E27FC236}">
                    <a16:creationId xmlns:a16="http://schemas.microsoft.com/office/drawing/2014/main" id="{D80F3986-1276-41C2-B4ED-E73AC9312920}"/>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99" name="Freeform 10">
                <a:extLst>
                  <a:ext uri="{FF2B5EF4-FFF2-40B4-BE49-F238E27FC236}">
                    <a16:creationId xmlns:a16="http://schemas.microsoft.com/office/drawing/2014/main" id="{EB568A6A-2556-4832-8EE8-3498716BF75D}"/>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05" name="Group 204">
              <a:extLst>
                <a:ext uri="{FF2B5EF4-FFF2-40B4-BE49-F238E27FC236}">
                  <a16:creationId xmlns:a16="http://schemas.microsoft.com/office/drawing/2014/main" id="{25945D72-258C-4890-B213-D071DBEB3458}"/>
                </a:ext>
              </a:extLst>
            </p:cNvPr>
            <p:cNvGrpSpPr/>
            <p:nvPr/>
          </p:nvGrpSpPr>
          <p:grpSpPr>
            <a:xfrm>
              <a:off x="9473140" y="3267537"/>
              <a:ext cx="128016" cy="128016"/>
              <a:chOff x="6617763" y="1494678"/>
              <a:chExt cx="188006" cy="188004"/>
            </a:xfrm>
          </p:grpSpPr>
          <p:sp>
            <p:nvSpPr>
              <p:cNvPr id="396" name="Oval 395">
                <a:extLst>
                  <a:ext uri="{FF2B5EF4-FFF2-40B4-BE49-F238E27FC236}">
                    <a16:creationId xmlns:a16="http://schemas.microsoft.com/office/drawing/2014/main" id="{A5864746-3F50-450C-82BA-DA1D13A3E17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97" name="Freeform 10">
                <a:extLst>
                  <a:ext uri="{FF2B5EF4-FFF2-40B4-BE49-F238E27FC236}">
                    <a16:creationId xmlns:a16="http://schemas.microsoft.com/office/drawing/2014/main" id="{5F14FA1D-4CF5-4983-9BD7-C188A9ECD72B}"/>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06" name="Group 205">
              <a:extLst>
                <a:ext uri="{FF2B5EF4-FFF2-40B4-BE49-F238E27FC236}">
                  <a16:creationId xmlns:a16="http://schemas.microsoft.com/office/drawing/2014/main" id="{1B0778B9-F2B7-4603-9481-E33F93FD0B1F}"/>
                </a:ext>
              </a:extLst>
            </p:cNvPr>
            <p:cNvGrpSpPr/>
            <p:nvPr/>
          </p:nvGrpSpPr>
          <p:grpSpPr>
            <a:xfrm>
              <a:off x="9823344" y="3384512"/>
              <a:ext cx="128016" cy="128016"/>
              <a:chOff x="6617763" y="1494678"/>
              <a:chExt cx="188006" cy="188004"/>
            </a:xfrm>
          </p:grpSpPr>
          <p:sp>
            <p:nvSpPr>
              <p:cNvPr id="394" name="Oval 393">
                <a:extLst>
                  <a:ext uri="{FF2B5EF4-FFF2-40B4-BE49-F238E27FC236}">
                    <a16:creationId xmlns:a16="http://schemas.microsoft.com/office/drawing/2014/main" id="{2AF41944-BF33-436F-B995-09FBB31BBBC2}"/>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95" name="Freeform 10">
                <a:extLst>
                  <a:ext uri="{FF2B5EF4-FFF2-40B4-BE49-F238E27FC236}">
                    <a16:creationId xmlns:a16="http://schemas.microsoft.com/office/drawing/2014/main" id="{344B0568-B0AC-4643-9E5C-9CF04A766C6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07" name="Group 206">
              <a:extLst>
                <a:ext uri="{FF2B5EF4-FFF2-40B4-BE49-F238E27FC236}">
                  <a16:creationId xmlns:a16="http://schemas.microsoft.com/office/drawing/2014/main" id="{A7DC0C7C-0E9A-4572-9E04-83B8E7B36A18}"/>
                </a:ext>
              </a:extLst>
            </p:cNvPr>
            <p:cNvGrpSpPr/>
            <p:nvPr/>
          </p:nvGrpSpPr>
          <p:grpSpPr>
            <a:xfrm>
              <a:off x="10265029" y="3334847"/>
              <a:ext cx="128016" cy="128016"/>
              <a:chOff x="6617763" y="1494678"/>
              <a:chExt cx="188006" cy="188004"/>
            </a:xfrm>
          </p:grpSpPr>
          <p:sp>
            <p:nvSpPr>
              <p:cNvPr id="392" name="Oval 391">
                <a:extLst>
                  <a:ext uri="{FF2B5EF4-FFF2-40B4-BE49-F238E27FC236}">
                    <a16:creationId xmlns:a16="http://schemas.microsoft.com/office/drawing/2014/main" id="{EB1FFA55-3A82-4E86-B93D-F021BCCFC04B}"/>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93" name="Freeform 10">
                <a:extLst>
                  <a:ext uri="{FF2B5EF4-FFF2-40B4-BE49-F238E27FC236}">
                    <a16:creationId xmlns:a16="http://schemas.microsoft.com/office/drawing/2014/main" id="{79644626-EAC5-4620-9600-317EA37B2254}"/>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08" name="Group 207">
              <a:extLst>
                <a:ext uri="{FF2B5EF4-FFF2-40B4-BE49-F238E27FC236}">
                  <a16:creationId xmlns:a16="http://schemas.microsoft.com/office/drawing/2014/main" id="{669B561A-BC96-4901-A58B-41C5B2732A21}"/>
                </a:ext>
              </a:extLst>
            </p:cNvPr>
            <p:cNvGrpSpPr/>
            <p:nvPr/>
          </p:nvGrpSpPr>
          <p:grpSpPr>
            <a:xfrm>
              <a:off x="10179590" y="3419650"/>
              <a:ext cx="128016" cy="128016"/>
              <a:chOff x="6617763" y="1494678"/>
              <a:chExt cx="188006" cy="188004"/>
            </a:xfrm>
          </p:grpSpPr>
          <p:sp>
            <p:nvSpPr>
              <p:cNvPr id="390" name="Oval 389">
                <a:extLst>
                  <a:ext uri="{FF2B5EF4-FFF2-40B4-BE49-F238E27FC236}">
                    <a16:creationId xmlns:a16="http://schemas.microsoft.com/office/drawing/2014/main" id="{2B13F173-5995-48A8-BACC-645A8374BE38}"/>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91" name="Freeform 10">
                <a:extLst>
                  <a:ext uri="{FF2B5EF4-FFF2-40B4-BE49-F238E27FC236}">
                    <a16:creationId xmlns:a16="http://schemas.microsoft.com/office/drawing/2014/main" id="{DF8544E4-F62C-48CB-BF35-5F52D1F7ABA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09" name="Group 208">
              <a:extLst>
                <a:ext uri="{FF2B5EF4-FFF2-40B4-BE49-F238E27FC236}">
                  <a16:creationId xmlns:a16="http://schemas.microsoft.com/office/drawing/2014/main" id="{936BA826-9304-421D-8C4E-87829AA29C60}"/>
                </a:ext>
              </a:extLst>
            </p:cNvPr>
            <p:cNvGrpSpPr/>
            <p:nvPr/>
          </p:nvGrpSpPr>
          <p:grpSpPr>
            <a:xfrm>
              <a:off x="6605117" y="3331728"/>
              <a:ext cx="128016" cy="128016"/>
              <a:chOff x="1520304" y="1939550"/>
              <a:chExt cx="726812" cy="726812"/>
            </a:xfrm>
          </p:grpSpPr>
          <p:sp>
            <p:nvSpPr>
              <p:cNvPr id="383" name="Oval 382">
                <a:extLst>
                  <a:ext uri="{FF2B5EF4-FFF2-40B4-BE49-F238E27FC236}">
                    <a16:creationId xmlns:a16="http://schemas.microsoft.com/office/drawing/2014/main" id="{A5AC6E03-4ED6-4494-A7FE-5078F9C118A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84" name="Group 383">
                <a:extLst>
                  <a:ext uri="{FF2B5EF4-FFF2-40B4-BE49-F238E27FC236}">
                    <a16:creationId xmlns:a16="http://schemas.microsoft.com/office/drawing/2014/main" id="{DE26695C-869E-4C69-8715-E5842CB21F8B}"/>
                  </a:ext>
                </a:extLst>
              </p:cNvPr>
              <p:cNvGrpSpPr/>
              <p:nvPr/>
            </p:nvGrpSpPr>
            <p:grpSpPr>
              <a:xfrm>
                <a:off x="1627350" y="2071688"/>
                <a:ext cx="512722" cy="462536"/>
                <a:chOff x="1302898" y="1640683"/>
                <a:chExt cx="1201027" cy="1083468"/>
              </a:xfrm>
            </p:grpSpPr>
            <p:sp>
              <p:nvSpPr>
                <p:cNvPr id="385" name="Freeform 34">
                  <a:extLst>
                    <a:ext uri="{FF2B5EF4-FFF2-40B4-BE49-F238E27FC236}">
                      <a16:creationId xmlns:a16="http://schemas.microsoft.com/office/drawing/2014/main" id="{BD517A4B-794F-42F3-8C13-6366C80EE44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86" name="Freeform 37">
                  <a:extLst>
                    <a:ext uri="{FF2B5EF4-FFF2-40B4-BE49-F238E27FC236}">
                      <a16:creationId xmlns:a16="http://schemas.microsoft.com/office/drawing/2014/main" id="{21ACEDBB-A2D7-405B-9C8D-F56DCEA074D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87" name="Freeform 39">
                  <a:extLst>
                    <a:ext uri="{FF2B5EF4-FFF2-40B4-BE49-F238E27FC236}">
                      <a16:creationId xmlns:a16="http://schemas.microsoft.com/office/drawing/2014/main" id="{680778D9-06F2-4D3D-AC7E-28CDC723AB09}"/>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88" name="Freeform 40">
                  <a:extLst>
                    <a:ext uri="{FF2B5EF4-FFF2-40B4-BE49-F238E27FC236}">
                      <a16:creationId xmlns:a16="http://schemas.microsoft.com/office/drawing/2014/main" id="{A130A76D-2939-449A-8FB1-2C44AF915D66}"/>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89" name="Freeform 5">
                  <a:extLst>
                    <a:ext uri="{FF2B5EF4-FFF2-40B4-BE49-F238E27FC236}">
                      <a16:creationId xmlns:a16="http://schemas.microsoft.com/office/drawing/2014/main" id="{F447E182-E922-42FD-A088-CBC376C38D43}"/>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10" name="Group 209">
              <a:extLst>
                <a:ext uri="{FF2B5EF4-FFF2-40B4-BE49-F238E27FC236}">
                  <a16:creationId xmlns:a16="http://schemas.microsoft.com/office/drawing/2014/main" id="{A299B49D-7CBF-4858-A1DD-A98DF217ED9C}"/>
                </a:ext>
              </a:extLst>
            </p:cNvPr>
            <p:cNvGrpSpPr/>
            <p:nvPr/>
          </p:nvGrpSpPr>
          <p:grpSpPr>
            <a:xfrm>
              <a:off x="5564440" y="3318951"/>
              <a:ext cx="128016" cy="128016"/>
              <a:chOff x="1520304" y="1939550"/>
              <a:chExt cx="726812" cy="726812"/>
            </a:xfrm>
          </p:grpSpPr>
          <p:sp>
            <p:nvSpPr>
              <p:cNvPr id="376" name="Oval 375">
                <a:extLst>
                  <a:ext uri="{FF2B5EF4-FFF2-40B4-BE49-F238E27FC236}">
                    <a16:creationId xmlns:a16="http://schemas.microsoft.com/office/drawing/2014/main" id="{E4DB0E07-0EF9-4481-8F23-80A0D74D22E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77" name="Group 376">
                <a:extLst>
                  <a:ext uri="{FF2B5EF4-FFF2-40B4-BE49-F238E27FC236}">
                    <a16:creationId xmlns:a16="http://schemas.microsoft.com/office/drawing/2014/main" id="{F4A76F09-114A-4335-A8D8-DD061334E21D}"/>
                  </a:ext>
                </a:extLst>
              </p:cNvPr>
              <p:cNvGrpSpPr/>
              <p:nvPr/>
            </p:nvGrpSpPr>
            <p:grpSpPr>
              <a:xfrm>
                <a:off x="1627350" y="2071688"/>
                <a:ext cx="512722" cy="462536"/>
                <a:chOff x="1302898" y="1640683"/>
                <a:chExt cx="1201027" cy="1083468"/>
              </a:xfrm>
            </p:grpSpPr>
            <p:sp>
              <p:nvSpPr>
                <p:cNvPr id="378" name="Freeform 34">
                  <a:extLst>
                    <a:ext uri="{FF2B5EF4-FFF2-40B4-BE49-F238E27FC236}">
                      <a16:creationId xmlns:a16="http://schemas.microsoft.com/office/drawing/2014/main" id="{1E6EC908-3E9A-47A2-88B0-51421473D2F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79" name="Freeform 37">
                  <a:extLst>
                    <a:ext uri="{FF2B5EF4-FFF2-40B4-BE49-F238E27FC236}">
                      <a16:creationId xmlns:a16="http://schemas.microsoft.com/office/drawing/2014/main" id="{A37E0680-4DD4-46E9-AB77-B07857DE1D8F}"/>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80" name="Freeform 39">
                  <a:extLst>
                    <a:ext uri="{FF2B5EF4-FFF2-40B4-BE49-F238E27FC236}">
                      <a16:creationId xmlns:a16="http://schemas.microsoft.com/office/drawing/2014/main" id="{CB9D2FB9-E729-4F29-96A5-D8DD8FDBCBE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81" name="Freeform 40">
                  <a:extLst>
                    <a:ext uri="{FF2B5EF4-FFF2-40B4-BE49-F238E27FC236}">
                      <a16:creationId xmlns:a16="http://schemas.microsoft.com/office/drawing/2014/main" id="{D73E2CDE-88F8-4A59-A540-8D783B876DBB}"/>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82" name="Freeform 5">
                  <a:extLst>
                    <a:ext uri="{FF2B5EF4-FFF2-40B4-BE49-F238E27FC236}">
                      <a16:creationId xmlns:a16="http://schemas.microsoft.com/office/drawing/2014/main" id="{09C92C8B-7F6C-4DFE-AA99-27DDCDCA3E7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11" name="Group 210">
              <a:extLst>
                <a:ext uri="{FF2B5EF4-FFF2-40B4-BE49-F238E27FC236}">
                  <a16:creationId xmlns:a16="http://schemas.microsoft.com/office/drawing/2014/main" id="{060E4832-D670-4C4A-A836-0699843A7AAA}"/>
                </a:ext>
              </a:extLst>
            </p:cNvPr>
            <p:cNvGrpSpPr/>
            <p:nvPr/>
          </p:nvGrpSpPr>
          <p:grpSpPr>
            <a:xfrm>
              <a:off x="5904086" y="3130087"/>
              <a:ext cx="128016" cy="128016"/>
              <a:chOff x="1520304" y="1939550"/>
              <a:chExt cx="726812" cy="726812"/>
            </a:xfrm>
          </p:grpSpPr>
          <p:sp>
            <p:nvSpPr>
              <p:cNvPr id="369" name="Oval 368">
                <a:extLst>
                  <a:ext uri="{FF2B5EF4-FFF2-40B4-BE49-F238E27FC236}">
                    <a16:creationId xmlns:a16="http://schemas.microsoft.com/office/drawing/2014/main" id="{067EA785-C984-4599-A17F-1495AB72F6C6}"/>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70" name="Group 369">
                <a:extLst>
                  <a:ext uri="{FF2B5EF4-FFF2-40B4-BE49-F238E27FC236}">
                    <a16:creationId xmlns:a16="http://schemas.microsoft.com/office/drawing/2014/main" id="{EE000B40-975A-4FD6-8FE3-F4A7304A9D37}"/>
                  </a:ext>
                </a:extLst>
              </p:cNvPr>
              <p:cNvGrpSpPr/>
              <p:nvPr/>
            </p:nvGrpSpPr>
            <p:grpSpPr>
              <a:xfrm>
                <a:off x="1627350" y="2071688"/>
                <a:ext cx="512722" cy="462536"/>
                <a:chOff x="1302898" y="1640683"/>
                <a:chExt cx="1201027" cy="1083468"/>
              </a:xfrm>
            </p:grpSpPr>
            <p:sp>
              <p:nvSpPr>
                <p:cNvPr id="371" name="Freeform 34">
                  <a:extLst>
                    <a:ext uri="{FF2B5EF4-FFF2-40B4-BE49-F238E27FC236}">
                      <a16:creationId xmlns:a16="http://schemas.microsoft.com/office/drawing/2014/main" id="{54DF67F4-4CF6-40FA-AD92-3913D2B55AE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72" name="Freeform 37">
                  <a:extLst>
                    <a:ext uri="{FF2B5EF4-FFF2-40B4-BE49-F238E27FC236}">
                      <a16:creationId xmlns:a16="http://schemas.microsoft.com/office/drawing/2014/main" id="{079136D9-C681-45FC-AB9A-F2FB15B56AC4}"/>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73" name="Freeform 39">
                  <a:extLst>
                    <a:ext uri="{FF2B5EF4-FFF2-40B4-BE49-F238E27FC236}">
                      <a16:creationId xmlns:a16="http://schemas.microsoft.com/office/drawing/2014/main" id="{35F226F0-3283-4DF1-B167-335351356E79}"/>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74" name="Freeform 40">
                  <a:extLst>
                    <a:ext uri="{FF2B5EF4-FFF2-40B4-BE49-F238E27FC236}">
                      <a16:creationId xmlns:a16="http://schemas.microsoft.com/office/drawing/2014/main" id="{4DBDFB46-6544-4F30-805A-00331B5E1E85}"/>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75" name="Freeform 5">
                  <a:extLst>
                    <a:ext uri="{FF2B5EF4-FFF2-40B4-BE49-F238E27FC236}">
                      <a16:creationId xmlns:a16="http://schemas.microsoft.com/office/drawing/2014/main" id="{018CBA9A-91D6-4400-A2A9-04D75AC3670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12" name="Group 211">
              <a:extLst>
                <a:ext uri="{FF2B5EF4-FFF2-40B4-BE49-F238E27FC236}">
                  <a16:creationId xmlns:a16="http://schemas.microsoft.com/office/drawing/2014/main" id="{901D52A4-FEED-433F-B3BC-6A29626F588F}"/>
                </a:ext>
              </a:extLst>
            </p:cNvPr>
            <p:cNvGrpSpPr/>
            <p:nvPr/>
          </p:nvGrpSpPr>
          <p:grpSpPr>
            <a:xfrm>
              <a:off x="5618629" y="2661186"/>
              <a:ext cx="128016" cy="128016"/>
              <a:chOff x="6617763" y="1494678"/>
              <a:chExt cx="188006" cy="188004"/>
            </a:xfrm>
          </p:grpSpPr>
          <p:sp>
            <p:nvSpPr>
              <p:cNvPr id="367" name="Oval 366">
                <a:extLst>
                  <a:ext uri="{FF2B5EF4-FFF2-40B4-BE49-F238E27FC236}">
                    <a16:creationId xmlns:a16="http://schemas.microsoft.com/office/drawing/2014/main" id="{7C8A2BE5-874D-453D-9B14-4DF5D55CFA9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68" name="Freeform 10">
                <a:extLst>
                  <a:ext uri="{FF2B5EF4-FFF2-40B4-BE49-F238E27FC236}">
                    <a16:creationId xmlns:a16="http://schemas.microsoft.com/office/drawing/2014/main" id="{0A0C56EC-D196-423D-AC84-66BD1C80DB8E}"/>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13" name="Group 212">
              <a:extLst>
                <a:ext uri="{FF2B5EF4-FFF2-40B4-BE49-F238E27FC236}">
                  <a16:creationId xmlns:a16="http://schemas.microsoft.com/office/drawing/2014/main" id="{8010BCB5-8FE8-49AB-B488-36946D835944}"/>
                </a:ext>
              </a:extLst>
            </p:cNvPr>
            <p:cNvGrpSpPr/>
            <p:nvPr/>
          </p:nvGrpSpPr>
          <p:grpSpPr>
            <a:xfrm>
              <a:off x="5778036" y="2766582"/>
              <a:ext cx="128016" cy="128016"/>
              <a:chOff x="1520304" y="1939550"/>
              <a:chExt cx="726812" cy="726812"/>
            </a:xfrm>
          </p:grpSpPr>
          <p:sp>
            <p:nvSpPr>
              <p:cNvPr id="360" name="Oval 359">
                <a:extLst>
                  <a:ext uri="{FF2B5EF4-FFF2-40B4-BE49-F238E27FC236}">
                    <a16:creationId xmlns:a16="http://schemas.microsoft.com/office/drawing/2014/main" id="{3FF1D23C-6524-4B8A-B0D6-5426291F1566}"/>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61" name="Group 360">
                <a:extLst>
                  <a:ext uri="{FF2B5EF4-FFF2-40B4-BE49-F238E27FC236}">
                    <a16:creationId xmlns:a16="http://schemas.microsoft.com/office/drawing/2014/main" id="{1317D0E9-E873-4DC0-9D68-53E11E8C3617}"/>
                  </a:ext>
                </a:extLst>
              </p:cNvPr>
              <p:cNvGrpSpPr/>
              <p:nvPr/>
            </p:nvGrpSpPr>
            <p:grpSpPr>
              <a:xfrm>
                <a:off x="1627350" y="2071688"/>
                <a:ext cx="512722" cy="462536"/>
                <a:chOff x="1302898" y="1640683"/>
                <a:chExt cx="1201027" cy="1083468"/>
              </a:xfrm>
            </p:grpSpPr>
            <p:sp>
              <p:nvSpPr>
                <p:cNvPr id="362" name="Freeform 34">
                  <a:extLst>
                    <a:ext uri="{FF2B5EF4-FFF2-40B4-BE49-F238E27FC236}">
                      <a16:creationId xmlns:a16="http://schemas.microsoft.com/office/drawing/2014/main" id="{415B1F0F-0FF4-45BE-A7FF-9599976B195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63" name="Freeform 37">
                  <a:extLst>
                    <a:ext uri="{FF2B5EF4-FFF2-40B4-BE49-F238E27FC236}">
                      <a16:creationId xmlns:a16="http://schemas.microsoft.com/office/drawing/2014/main" id="{59691862-B076-4C73-816C-6C4238EE3731}"/>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64" name="Freeform 39">
                  <a:extLst>
                    <a:ext uri="{FF2B5EF4-FFF2-40B4-BE49-F238E27FC236}">
                      <a16:creationId xmlns:a16="http://schemas.microsoft.com/office/drawing/2014/main" id="{91A54B83-1F49-418E-930E-23EB4B07655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65" name="Freeform 40">
                  <a:extLst>
                    <a:ext uri="{FF2B5EF4-FFF2-40B4-BE49-F238E27FC236}">
                      <a16:creationId xmlns:a16="http://schemas.microsoft.com/office/drawing/2014/main" id="{BCE93B5A-DE27-4B4B-9BD5-30F32A8FFD1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66" name="Freeform 5">
                  <a:extLst>
                    <a:ext uri="{FF2B5EF4-FFF2-40B4-BE49-F238E27FC236}">
                      <a16:creationId xmlns:a16="http://schemas.microsoft.com/office/drawing/2014/main" id="{570DFCDF-A140-4F11-B211-A610154BA14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14" name="Group 213">
              <a:extLst>
                <a:ext uri="{FF2B5EF4-FFF2-40B4-BE49-F238E27FC236}">
                  <a16:creationId xmlns:a16="http://schemas.microsoft.com/office/drawing/2014/main" id="{B20FAF65-1B9F-4BC0-809B-65FC69CD89BE}"/>
                </a:ext>
              </a:extLst>
            </p:cNvPr>
            <p:cNvGrpSpPr/>
            <p:nvPr/>
          </p:nvGrpSpPr>
          <p:grpSpPr>
            <a:xfrm>
              <a:off x="5842650" y="2841892"/>
              <a:ext cx="128016" cy="128016"/>
              <a:chOff x="1520304" y="1939550"/>
              <a:chExt cx="726812" cy="726812"/>
            </a:xfrm>
          </p:grpSpPr>
          <p:sp>
            <p:nvSpPr>
              <p:cNvPr id="353" name="Oval 352">
                <a:extLst>
                  <a:ext uri="{FF2B5EF4-FFF2-40B4-BE49-F238E27FC236}">
                    <a16:creationId xmlns:a16="http://schemas.microsoft.com/office/drawing/2014/main" id="{9D0E17D9-EA7D-4653-AA00-088CFA4A195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54" name="Group 353">
                <a:extLst>
                  <a:ext uri="{FF2B5EF4-FFF2-40B4-BE49-F238E27FC236}">
                    <a16:creationId xmlns:a16="http://schemas.microsoft.com/office/drawing/2014/main" id="{1059DE7B-AF21-4A50-8587-9B0972D5873F}"/>
                  </a:ext>
                </a:extLst>
              </p:cNvPr>
              <p:cNvGrpSpPr/>
              <p:nvPr/>
            </p:nvGrpSpPr>
            <p:grpSpPr>
              <a:xfrm>
                <a:off x="1627350" y="2071688"/>
                <a:ext cx="512722" cy="462536"/>
                <a:chOff x="1302898" y="1640683"/>
                <a:chExt cx="1201027" cy="1083468"/>
              </a:xfrm>
            </p:grpSpPr>
            <p:sp>
              <p:nvSpPr>
                <p:cNvPr id="355" name="Freeform 34">
                  <a:extLst>
                    <a:ext uri="{FF2B5EF4-FFF2-40B4-BE49-F238E27FC236}">
                      <a16:creationId xmlns:a16="http://schemas.microsoft.com/office/drawing/2014/main" id="{007ACCE9-ABF1-4BD8-A8EA-FE0AD068091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56" name="Freeform 37">
                  <a:extLst>
                    <a:ext uri="{FF2B5EF4-FFF2-40B4-BE49-F238E27FC236}">
                      <a16:creationId xmlns:a16="http://schemas.microsoft.com/office/drawing/2014/main" id="{03B99AC4-7E96-4C57-9F01-7F57E4605A1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57" name="Freeform 39">
                  <a:extLst>
                    <a:ext uri="{FF2B5EF4-FFF2-40B4-BE49-F238E27FC236}">
                      <a16:creationId xmlns:a16="http://schemas.microsoft.com/office/drawing/2014/main" id="{38558ACF-2411-40B6-8072-CC19125FAA31}"/>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58" name="Freeform 40">
                  <a:extLst>
                    <a:ext uri="{FF2B5EF4-FFF2-40B4-BE49-F238E27FC236}">
                      <a16:creationId xmlns:a16="http://schemas.microsoft.com/office/drawing/2014/main" id="{F37E8678-57E7-4D8A-8F0E-DF33FDD675EF}"/>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59" name="Freeform 5">
                  <a:extLst>
                    <a:ext uri="{FF2B5EF4-FFF2-40B4-BE49-F238E27FC236}">
                      <a16:creationId xmlns:a16="http://schemas.microsoft.com/office/drawing/2014/main" id="{C4739893-FB52-4834-866B-BDDE646D9AC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15" name="Group 214">
              <a:extLst>
                <a:ext uri="{FF2B5EF4-FFF2-40B4-BE49-F238E27FC236}">
                  <a16:creationId xmlns:a16="http://schemas.microsoft.com/office/drawing/2014/main" id="{18ED622D-2442-4EB1-9BB3-E1D41E1CFD85}"/>
                </a:ext>
              </a:extLst>
            </p:cNvPr>
            <p:cNvGrpSpPr/>
            <p:nvPr/>
          </p:nvGrpSpPr>
          <p:grpSpPr>
            <a:xfrm>
              <a:off x="6226509" y="2936922"/>
              <a:ext cx="128016" cy="128016"/>
              <a:chOff x="1520304" y="1939550"/>
              <a:chExt cx="726812" cy="726812"/>
            </a:xfrm>
          </p:grpSpPr>
          <p:sp>
            <p:nvSpPr>
              <p:cNvPr id="346" name="Oval 345">
                <a:extLst>
                  <a:ext uri="{FF2B5EF4-FFF2-40B4-BE49-F238E27FC236}">
                    <a16:creationId xmlns:a16="http://schemas.microsoft.com/office/drawing/2014/main" id="{92953C00-4AA7-4B38-9C4A-CA0AD13C3C35}"/>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47" name="Group 346">
                <a:extLst>
                  <a:ext uri="{FF2B5EF4-FFF2-40B4-BE49-F238E27FC236}">
                    <a16:creationId xmlns:a16="http://schemas.microsoft.com/office/drawing/2014/main" id="{CAF43BFD-FC42-46A6-A588-79A1BF3E0CC0}"/>
                  </a:ext>
                </a:extLst>
              </p:cNvPr>
              <p:cNvGrpSpPr/>
              <p:nvPr/>
            </p:nvGrpSpPr>
            <p:grpSpPr>
              <a:xfrm>
                <a:off x="1627350" y="2071688"/>
                <a:ext cx="512722" cy="462536"/>
                <a:chOff x="1302898" y="1640683"/>
                <a:chExt cx="1201027" cy="1083468"/>
              </a:xfrm>
            </p:grpSpPr>
            <p:sp>
              <p:nvSpPr>
                <p:cNvPr id="348" name="Freeform 34">
                  <a:extLst>
                    <a:ext uri="{FF2B5EF4-FFF2-40B4-BE49-F238E27FC236}">
                      <a16:creationId xmlns:a16="http://schemas.microsoft.com/office/drawing/2014/main" id="{D6217C5F-F4D7-425E-B71E-407DA525E88A}"/>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49" name="Freeform 37">
                  <a:extLst>
                    <a:ext uri="{FF2B5EF4-FFF2-40B4-BE49-F238E27FC236}">
                      <a16:creationId xmlns:a16="http://schemas.microsoft.com/office/drawing/2014/main" id="{8A95CFD4-4CC3-4DDB-B6C3-0A1D06D28F09}"/>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50" name="Freeform 39">
                  <a:extLst>
                    <a:ext uri="{FF2B5EF4-FFF2-40B4-BE49-F238E27FC236}">
                      <a16:creationId xmlns:a16="http://schemas.microsoft.com/office/drawing/2014/main" id="{70E4A87A-B469-4F4D-9A78-2350847CA7A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51" name="Freeform 40">
                  <a:extLst>
                    <a:ext uri="{FF2B5EF4-FFF2-40B4-BE49-F238E27FC236}">
                      <a16:creationId xmlns:a16="http://schemas.microsoft.com/office/drawing/2014/main" id="{1A17C0FA-297E-45E2-8B9D-2DC6A6BC81D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52" name="Freeform 5">
                  <a:extLst>
                    <a:ext uri="{FF2B5EF4-FFF2-40B4-BE49-F238E27FC236}">
                      <a16:creationId xmlns:a16="http://schemas.microsoft.com/office/drawing/2014/main" id="{9645C202-7EDF-4D13-829E-D32AAF87881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16" name="Group 215">
              <a:extLst>
                <a:ext uri="{FF2B5EF4-FFF2-40B4-BE49-F238E27FC236}">
                  <a16:creationId xmlns:a16="http://schemas.microsoft.com/office/drawing/2014/main" id="{FD969AF4-DDF0-477B-A2F2-6256EFF2A5BF}"/>
                </a:ext>
              </a:extLst>
            </p:cNvPr>
            <p:cNvGrpSpPr/>
            <p:nvPr/>
          </p:nvGrpSpPr>
          <p:grpSpPr>
            <a:xfrm>
              <a:off x="6551918" y="3147823"/>
              <a:ext cx="128016" cy="128016"/>
              <a:chOff x="1520304" y="1939550"/>
              <a:chExt cx="726812" cy="726812"/>
            </a:xfrm>
          </p:grpSpPr>
          <p:sp>
            <p:nvSpPr>
              <p:cNvPr id="339" name="Oval 338">
                <a:extLst>
                  <a:ext uri="{FF2B5EF4-FFF2-40B4-BE49-F238E27FC236}">
                    <a16:creationId xmlns:a16="http://schemas.microsoft.com/office/drawing/2014/main" id="{9B680D0B-7FC0-4595-B0E4-FDFE66DE357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40" name="Group 339">
                <a:extLst>
                  <a:ext uri="{FF2B5EF4-FFF2-40B4-BE49-F238E27FC236}">
                    <a16:creationId xmlns:a16="http://schemas.microsoft.com/office/drawing/2014/main" id="{B9AC57E1-1964-4EFD-95CE-D58F6CBD68C5}"/>
                  </a:ext>
                </a:extLst>
              </p:cNvPr>
              <p:cNvGrpSpPr/>
              <p:nvPr/>
            </p:nvGrpSpPr>
            <p:grpSpPr>
              <a:xfrm>
                <a:off x="1627350" y="2071688"/>
                <a:ext cx="512722" cy="462536"/>
                <a:chOff x="1302898" y="1640683"/>
                <a:chExt cx="1201027" cy="1083468"/>
              </a:xfrm>
            </p:grpSpPr>
            <p:sp>
              <p:nvSpPr>
                <p:cNvPr id="341" name="Freeform 34">
                  <a:extLst>
                    <a:ext uri="{FF2B5EF4-FFF2-40B4-BE49-F238E27FC236}">
                      <a16:creationId xmlns:a16="http://schemas.microsoft.com/office/drawing/2014/main" id="{66FA249E-83C4-4C9D-98BF-385012F61C7D}"/>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42" name="Freeform 37">
                  <a:extLst>
                    <a:ext uri="{FF2B5EF4-FFF2-40B4-BE49-F238E27FC236}">
                      <a16:creationId xmlns:a16="http://schemas.microsoft.com/office/drawing/2014/main" id="{D0F36A1D-E4C5-45A2-999E-374CC433010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43" name="Freeform 39">
                  <a:extLst>
                    <a:ext uri="{FF2B5EF4-FFF2-40B4-BE49-F238E27FC236}">
                      <a16:creationId xmlns:a16="http://schemas.microsoft.com/office/drawing/2014/main" id="{C6137B82-A0DD-460C-A386-25796270CC4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44" name="Freeform 40">
                  <a:extLst>
                    <a:ext uri="{FF2B5EF4-FFF2-40B4-BE49-F238E27FC236}">
                      <a16:creationId xmlns:a16="http://schemas.microsoft.com/office/drawing/2014/main" id="{7796107A-8A02-4F5C-B99B-0A3121E187B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45" name="Freeform 5">
                  <a:extLst>
                    <a:ext uri="{FF2B5EF4-FFF2-40B4-BE49-F238E27FC236}">
                      <a16:creationId xmlns:a16="http://schemas.microsoft.com/office/drawing/2014/main" id="{0D034C8E-4F0F-429E-9268-19DDDA15A83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17" name="Group 216">
              <a:extLst>
                <a:ext uri="{FF2B5EF4-FFF2-40B4-BE49-F238E27FC236}">
                  <a16:creationId xmlns:a16="http://schemas.microsoft.com/office/drawing/2014/main" id="{0B8BF873-0E91-4675-A281-96695D28905A}"/>
                </a:ext>
              </a:extLst>
            </p:cNvPr>
            <p:cNvGrpSpPr/>
            <p:nvPr/>
          </p:nvGrpSpPr>
          <p:grpSpPr>
            <a:xfrm>
              <a:off x="6673143" y="3103793"/>
              <a:ext cx="128016" cy="128016"/>
              <a:chOff x="1520304" y="1939550"/>
              <a:chExt cx="726812" cy="726812"/>
            </a:xfrm>
          </p:grpSpPr>
          <p:sp>
            <p:nvSpPr>
              <p:cNvPr id="332" name="Oval 331">
                <a:extLst>
                  <a:ext uri="{FF2B5EF4-FFF2-40B4-BE49-F238E27FC236}">
                    <a16:creationId xmlns:a16="http://schemas.microsoft.com/office/drawing/2014/main" id="{08340484-466B-406F-99BA-C45D7FE1FDD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33" name="Group 332">
                <a:extLst>
                  <a:ext uri="{FF2B5EF4-FFF2-40B4-BE49-F238E27FC236}">
                    <a16:creationId xmlns:a16="http://schemas.microsoft.com/office/drawing/2014/main" id="{FD941143-4681-4A45-A8CD-660F530464B2}"/>
                  </a:ext>
                </a:extLst>
              </p:cNvPr>
              <p:cNvGrpSpPr/>
              <p:nvPr/>
            </p:nvGrpSpPr>
            <p:grpSpPr>
              <a:xfrm>
                <a:off x="1627350" y="2071688"/>
                <a:ext cx="512722" cy="462536"/>
                <a:chOff x="1302898" y="1640683"/>
                <a:chExt cx="1201027" cy="1083468"/>
              </a:xfrm>
            </p:grpSpPr>
            <p:sp>
              <p:nvSpPr>
                <p:cNvPr id="334" name="Freeform 34">
                  <a:extLst>
                    <a:ext uri="{FF2B5EF4-FFF2-40B4-BE49-F238E27FC236}">
                      <a16:creationId xmlns:a16="http://schemas.microsoft.com/office/drawing/2014/main" id="{740EF571-CA69-4675-92A7-043642F02B9A}"/>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35" name="Freeform 37">
                  <a:extLst>
                    <a:ext uri="{FF2B5EF4-FFF2-40B4-BE49-F238E27FC236}">
                      <a16:creationId xmlns:a16="http://schemas.microsoft.com/office/drawing/2014/main" id="{2EEB1808-5C39-4059-8FD9-CFF49931921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36" name="Freeform 39">
                  <a:extLst>
                    <a:ext uri="{FF2B5EF4-FFF2-40B4-BE49-F238E27FC236}">
                      <a16:creationId xmlns:a16="http://schemas.microsoft.com/office/drawing/2014/main" id="{0C94FF30-F464-491A-B635-44F7E13B245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37" name="Freeform 40">
                  <a:extLst>
                    <a:ext uri="{FF2B5EF4-FFF2-40B4-BE49-F238E27FC236}">
                      <a16:creationId xmlns:a16="http://schemas.microsoft.com/office/drawing/2014/main" id="{D00F750E-03DE-48C2-A85D-3B78F588278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38" name="Freeform 5">
                  <a:extLst>
                    <a:ext uri="{FF2B5EF4-FFF2-40B4-BE49-F238E27FC236}">
                      <a16:creationId xmlns:a16="http://schemas.microsoft.com/office/drawing/2014/main" id="{869B093D-E195-47B8-960E-7E94A33FAC1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18" name="Group 217">
              <a:extLst>
                <a:ext uri="{FF2B5EF4-FFF2-40B4-BE49-F238E27FC236}">
                  <a16:creationId xmlns:a16="http://schemas.microsoft.com/office/drawing/2014/main" id="{E3271C7D-9926-4ABB-B87A-4C22D891B331}"/>
                </a:ext>
              </a:extLst>
            </p:cNvPr>
            <p:cNvGrpSpPr/>
            <p:nvPr/>
          </p:nvGrpSpPr>
          <p:grpSpPr>
            <a:xfrm>
              <a:off x="6367720" y="3032667"/>
              <a:ext cx="128016" cy="128016"/>
              <a:chOff x="1520304" y="1939550"/>
              <a:chExt cx="726812" cy="726812"/>
            </a:xfrm>
          </p:grpSpPr>
          <p:sp>
            <p:nvSpPr>
              <p:cNvPr id="325" name="Oval 324">
                <a:extLst>
                  <a:ext uri="{FF2B5EF4-FFF2-40B4-BE49-F238E27FC236}">
                    <a16:creationId xmlns:a16="http://schemas.microsoft.com/office/drawing/2014/main" id="{F6DBC05B-3F07-4AF9-B27E-62001147725D}"/>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26" name="Group 325">
                <a:extLst>
                  <a:ext uri="{FF2B5EF4-FFF2-40B4-BE49-F238E27FC236}">
                    <a16:creationId xmlns:a16="http://schemas.microsoft.com/office/drawing/2014/main" id="{27BADDC0-A42D-4844-AFE7-A99F837FAD3A}"/>
                  </a:ext>
                </a:extLst>
              </p:cNvPr>
              <p:cNvGrpSpPr/>
              <p:nvPr/>
            </p:nvGrpSpPr>
            <p:grpSpPr>
              <a:xfrm>
                <a:off x="1627350" y="2071688"/>
                <a:ext cx="512722" cy="462536"/>
                <a:chOff x="1302898" y="1640683"/>
                <a:chExt cx="1201027" cy="1083468"/>
              </a:xfrm>
            </p:grpSpPr>
            <p:sp>
              <p:nvSpPr>
                <p:cNvPr id="327" name="Freeform 34">
                  <a:extLst>
                    <a:ext uri="{FF2B5EF4-FFF2-40B4-BE49-F238E27FC236}">
                      <a16:creationId xmlns:a16="http://schemas.microsoft.com/office/drawing/2014/main" id="{030588F1-88BD-46E4-A184-7B85723A05E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28" name="Freeform 37">
                  <a:extLst>
                    <a:ext uri="{FF2B5EF4-FFF2-40B4-BE49-F238E27FC236}">
                      <a16:creationId xmlns:a16="http://schemas.microsoft.com/office/drawing/2014/main" id="{683162D4-3FE6-4173-804B-AB0C948075E6}"/>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29" name="Freeform 39">
                  <a:extLst>
                    <a:ext uri="{FF2B5EF4-FFF2-40B4-BE49-F238E27FC236}">
                      <a16:creationId xmlns:a16="http://schemas.microsoft.com/office/drawing/2014/main" id="{BB9FEE04-124C-4F00-885E-5E25909CD00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30" name="Freeform 40">
                  <a:extLst>
                    <a:ext uri="{FF2B5EF4-FFF2-40B4-BE49-F238E27FC236}">
                      <a16:creationId xmlns:a16="http://schemas.microsoft.com/office/drawing/2014/main" id="{D04129DF-EBDE-497E-A57E-5D1B246F9D16}"/>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31" name="Freeform 5">
                  <a:extLst>
                    <a:ext uri="{FF2B5EF4-FFF2-40B4-BE49-F238E27FC236}">
                      <a16:creationId xmlns:a16="http://schemas.microsoft.com/office/drawing/2014/main" id="{6FC25B74-CF29-40AE-99B0-430EFA8BCFD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19" name="Group 218">
              <a:extLst>
                <a:ext uri="{FF2B5EF4-FFF2-40B4-BE49-F238E27FC236}">
                  <a16:creationId xmlns:a16="http://schemas.microsoft.com/office/drawing/2014/main" id="{7E1649B5-CDFC-4087-AB36-A24C5CF2DC85}"/>
                </a:ext>
              </a:extLst>
            </p:cNvPr>
            <p:cNvGrpSpPr/>
            <p:nvPr/>
          </p:nvGrpSpPr>
          <p:grpSpPr>
            <a:xfrm>
              <a:off x="6292634" y="3028406"/>
              <a:ext cx="128016" cy="128016"/>
              <a:chOff x="6617763" y="1494678"/>
              <a:chExt cx="188006" cy="188004"/>
            </a:xfrm>
          </p:grpSpPr>
          <p:sp>
            <p:nvSpPr>
              <p:cNvPr id="323" name="Oval 322">
                <a:extLst>
                  <a:ext uri="{FF2B5EF4-FFF2-40B4-BE49-F238E27FC236}">
                    <a16:creationId xmlns:a16="http://schemas.microsoft.com/office/drawing/2014/main" id="{EC5A9886-E5EA-4F98-8C74-06392DB7C11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24" name="Freeform 10">
                <a:extLst>
                  <a:ext uri="{FF2B5EF4-FFF2-40B4-BE49-F238E27FC236}">
                    <a16:creationId xmlns:a16="http://schemas.microsoft.com/office/drawing/2014/main" id="{BBE35E9A-44B6-406D-8A81-F4833A5DCCF1}"/>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20" name="Group 219">
              <a:extLst>
                <a:ext uri="{FF2B5EF4-FFF2-40B4-BE49-F238E27FC236}">
                  <a16:creationId xmlns:a16="http://schemas.microsoft.com/office/drawing/2014/main" id="{99EC19B6-910F-4B7E-B808-B47DF83A825F}"/>
                </a:ext>
              </a:extLst>
            </p:cNvPr>
            <p:cNvGrpSpPr/>
            <p:nvPr/>
          </p:nvGrpSpPr>
          <p:grpSpPr>
            <a:xfrm>
              <a:off x="6010177" y="2870139"/>
              <a:ext cx="128016" cy="128016"/>
              <a:chOff x="6617763" y="1494678"/>
              <a:chExt cx="188006" cy="188004"/>
            </a:xfrm>
          </p:grpSpPr>
          <p:sp>
            <p:nvSpPr>
              <p:cNvPr id="321" name="Oval 320">
                <a:extLst>
                  <a:ext uri="{FF2B5EF4-FFF2-40B4-BE49-F238E27FC236}">
                    <a16:creationId xmlns:a16="http://schemas.microsoft.com/office/drawing/2014/main" id="{04C9DD07-3374-4322-9645-61D2476DAAB6}"/>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22" name="Freeform 10">
                <a:extLst>
                  <a:ext uri="{FF2B5EF4-FFF2-40B4-BE49-F238E27FC236}">
                    <a16:creationId xmlns:a16="http://schemas.microsoft.com/office/drawing/2014/main" id="{5F660918-9D26-438A-8872-B3DD2B8259BB}"/>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21" name="Group 220">
              <a:extLst>
                <a:ext uri="{FF2B5EF4-FFF2-40B4-BE49-F238E27FC236}">
                  <a16:creationId xmlns:a16="http://schemas.microsoft.com/office/drawing/2014/main" id="{036B6C9A-55C7-4576-868E-206D9EEE6D2D}"/>
                </a:ext>
              </a:extLst>
            </p:cNvPr>
            <p:cNvGrpSpPr/>
            <p:nvPr/>
          </p:nvGrpSpPr>
          <p:grpSpPr>
            <a:xfrm>
              <a:off x="6091574" y="2963005"/>
              <a:ext cx="128016" cy="128016"/>
              <a:chOff x="1520304" y="1939550"/>
              <a:chExt cx="726812" cy="726812"/>
            </a:xfrm>
          </p:grpSpPr>
          <p:sp>
            <p:nvSpPr>
              <p:cNvPr id="314" name="Oval 313">
                <a:extLst>
                  <a:ext uri="{FF2B5EF4-FFF2-40B4-BE49-F238E27FC236}">
                    <a16:creationId xmlns:a16="http://schemas.microsoft.com/office/drawing/2014/main" id="{75523481-F11C-4747-B062-79EB437881F4}"/>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15" name="Group 314">
                <a:extLst>
                  <a:ext uri="{FF2B5EF4-FFF2-40B4-BE49-F238E27FC236}">
                    <a16:creationId xmlns:a16="http://schemas.microsoft.com/office/drawing/2014/main" id="{BA5FB4B3-8166-4025-A360-BD7236D874B8}"/>
                  </a:ext>
                </a:extLst>
              </p:cNvPr>
              <p:cNvGrpSpPr/>
              <p:nvPr/>
            </p:nvGrpSpPr>
            <p:grpSpPr>
              <a:xfrm>
                <a:off x="1627350" y="2071688"/>
                <a:ext cx="512722" cy="462536"/>
                <a:chOff x="1302898" y="1640683"/>
                <a:chExt cx="1201027" cy="1083468"/>
              </a:xfrm>
            </p:grpSpPr>
            <p:sp>
              <p:nvSpPr>
                <p:cNvPr id="316" name="Freeform 34">
                  <a:extLst>
                    <a:ext uri="{FF2B5EF4-FFF2-40B4-BE49-F238E27FC236}">
                      <a16:creationId xmlns:a16="http://schemas.microsoft.com/office/drawing/2014/main" id="{373D210D-7847-447B-99CD-AB7AD2A5E3C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17" name="Freeform 37">
                  <a:extLst>
                    <a:ext uri="{FF2B5EF4-FFF2-40B4-BE49-F238E27FC236}">
                      <a16:creationId xmlns:a16="http://schemas.microsoft.com/office/drawing/2014/main" id="{C7663C10-79A0-4F19-86DA-4699DF35728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18" name="Freeform 39">
                  <a:extLst>
                    <a:ext uri="{FF2B5EF4-FFF2-40B4-BE49-F238E27FC236}">
                      <a16:creationId xmlns:a16="http://schemas.microsoft.com/office/drawing/2014/main" id="{B28BD8FF-2B2B-4357-A981-90A7694338A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19" name="Freeform 40">
                  <a:extLst>
                    <a:ext uri="{FF2B5EF4-FFF2-40B4-BE49-F238E27FC236}">
                      <a16:creationId xmlns:a16="http://schemas.microsoft.com/office/drawing/2014/main" id="{847C121A-6786-4821-97BE-6C45AE5E3F6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20" name="Freeform 5">
                  <a:extLst>
                    <a:ext uri="{FF2B5EF4-FFF2-40B4-BE49-F238E27FC236}">
                      <a16:creationId xmlns:a16="http://schemas.microsoft.com/office/drawing/2014/main" id="{A532EAAA-2C38-438F-9F3B-20304B2CE0F2}"/>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22" name="Group 221">
              <a:extLst>
                <a:ext uri="{FF2B5EF4-FFF2-40B4-BE49-F238E27FC236}">
                  <a16:creationId xmlns:a16="http://schemas.microsoft.com/office/drawing/2014/main" id="{F54DD44B-32C6-414D-9413-D4E8291127C4}"/>
                </a:ext>
              </a:extLst>
            </p:cNvPr>
            <p:cNvGrpSpPr/>
            <p:nvPr/>
          </p:nvGrpSpPr>
          <p:grpSpPr>
            <a:xfrm>
              <a:off x="5958328" y="2898085"/>
              <a:ext cx="128016" cy="128016"/>
              <a:chOff x="6617763" y="1494678"/>
              <a:chExt cx="188006" cy="188004"/>
            </a:xfrm>
          </p:grpSpPr>
          <p:sp>
            <p:nvSpPr>
              <p:cNvPr id="312" name="Oval 311">
                <a:extLst>
                  <a:ext uri="{FF2B5EF4-FFF2-40B4-BE49-F238E27FC236}">
                    <a16:creationId xmlns:a16="http://schemas.microsoft.com/office/drawing/2014/main" id="{68F61EA5-D119-4A1C-A182-07F918700022}"/>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13" name="Freeform 10">
                <a:extLst>
                  <a:ext uri="{FF2B5EF4-FFF2-40B4-BE49-F238E27FC236}">
                    <a16:creationId xmlns:a16="http://schemas.microsoft.com/office/drawing/2014/main" id="{E52DC4CE-C7FB-43A1-973B-652E987E4486}"/>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23" name="Group 222">
              <a:extLst>
                <a:ext uri="{FF2B5EF4-FFF2-40B4-BE49-F238E27FC236}">
                  <a16:creationId xmlns:a16="http://schemas.microsoft.com/office/drawing/2014/main" id="{437D9578-F9A4-4C26-9A64-614141C533AD}"/>
                </a:ext>
              </a:extLst>
            </p:cNvPr>
            <p:cNvGrpSpPr/>
            <p:nvPr/>
          </p:nvGrpSpPr>
          <p:grpSpPr>
            <a:xfrm>
              <a:off x="5986967" y="2748047"/>
              <a:ext cx="128016" cy="128016"/>
              <a:chOff x="6617763" y="1494678"/>
              <a:chExt cx="188006" cy="188004"/>
            </a:xfrm>
          </p:grpSpPr>
          <p:sp>
            <p:nvSpPr>
              <p:cNvPr id="310" name="Oval 309">
                <a:extLst>
                  <a:ext uri="{FF2B5EF4-FFF2-40B4-BE49-F238E27FC236}">
                    <a16:creationId xmlns:a16="http://schemas.microsoft.com/office/drawing/2014/main" id="{2F77BC65-542B-49EA-A948-07656870D6C5}"/>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11" name="Freeform 10">
                <a:extLst>
                  <a:ext uri="{FF2B5EF4-FFF2-40B4-BE49-F238E27FC236}">
                    <a16:creationId xmlns:a16="http://schemas.microsoft.com/office/drawing/2014/main" id="{86262747-734E-4233-A5BA-EC81593A2149}"/>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24" name="Group 223">
              <a:extLst>
                <a:ext uri="{FF2B5EF4-FFF2-40B4-BE49-F238E27FC236}">
                  <a16:creationId xmlns:a16="http://schemas.microsoft.com/office/drawing/2014/main" id="{2DBAC749-F0B9-4C26-9F35-2869F58D27D9}"/>
                </a:ext>
              </a:extLst>
            </p:cNvPr>
            <p:cNvGrpSpPr/>
            <p:nvPr/>
          </p:nvGrpSpPr>
          <p:grpSpPr>
            <a:xfrm>
              <a:off x="6096325" y="2824225"/>
              <a:ext cx="128016" cy="128016"/>
              <a:chOff x="6617763" y="1494678"/>
              <a:chExt cx="188006" cy="188004"/>
            </a:xfrm>
          </p:grpSpPr>
          <p:sp>
            <p:nvSpPr>
              <p:cNvPr id="308" name="Oval 307">
                <a:extLst>
                  <a:ext uri="{FF2B5EF4-FFF2-40B4-BE49-F238E27FC236}">
                    <a16:creationId xmlns:a16="http://schemas.microsoft.com/office/drawing/2014/main" id="{1F05F850-CE22-4E0B-826C-FC9B1D1DF8F6}"/>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09" name="Freeform 10">
                <a:extLst>
                  <a:ext uri="{FF2B5EF4-FFF2-40B4-BE49-F238E27FC236}">
                    <a16:creationId xmlns:a16="http://schemas.microsoft.com/office/drawing/2014/main" id="{B5896E86-F0C6-448A-A01B-BED065386AF1}"/>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25" name="Group 224">
              <a:extLst>
                <a:ext uri="{FF2B5EF4-FFF2-40B4-BE49-F238E27FC236}">
                  <a16:creationId xmlns:a16="http://schemas.microsoft.com/office/drawing/2014/main" id="{AE7954A4-FF79-4F14-B54B-7FE7D7962D8C}"/>
                </a:ext>
              </a:extLst>
            </p:cNvPr>
            <p:cNvGrpSpPr/>
            <p:nvPr/>
          </p:nvGrpSpPr>
          <p:grpSpPr>
            <a:xfrm>
              <a:off x="6482255" y="2850541"/>
              <a:ext cx="128016" cy="128016"/>
              <a:chOff x="1520304" y="1939550"/>
              <a:chExt cx="726812" cy="726812"/>
            </a:xfrm>
          </p:grpSpPr>
          <p:sp>
            <p:nvSpPr>
              <p:cNvPr id="301" name="Oval 300">
                <a:extLst>
                  <a:ext uri="{FF2B5EF4-FFF2-40B4-BE49-F238E27FC236}">
                    <a16:creationId xmlns:a16="http://schemas.microsoft.com/office/drawing/2014/main" id="{34AD7176-C361-4F82-9A88-C5B5D53BF9B6}"/>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02" name="Group 301">
                <a:extLst>
                  <a:ext uri="{FF2B5EF4-FFF2-40B4-BE49-F238E27FC236}">
                    <a16:creationId xmlns:a16="http://schemas.microsoft.com/office/drawing/2014/main" id="{6F7FA7F7-4FDA-4A25-9960-5B6A5C8563B1}"/>
                  </a:ext>
                </a:extLst>
              </p:cNvPr>
              <p:cNvGrpSpPr/>
              <p:nvPr/>
            </p:nvGrpSpPr>
            <p:grpSpPr>
              <a:xfrm>
                <a:off x="1627350" y="2071688"/>
                <a:ext cx="512722" cy="462536"/>
                <a:chOff x="1302898" y="1640683"/>
                <a:chExt cx="1201027" cy="1083468"/>
              </a:xfrm>
            </p:grpSpPr>
            <p:sp>
              <p:nvSpPr>
                <p:cNvPr id="303" name="Freeform 34">
                  <a:extLst>
                    <a:ext uri="{FF2B5EF4-FFF2-40B4-BE49-F238E27FC236}">
                      <a16:creationId xmlns:a16="http://schemas.microsoft.com/office/drawing/2014/main" id="{CFA4BE15-C8D9-4BE5-8744-91DA0D2FE94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04" name="Freeform 37">
                  <a:extLst>
                    <a:ext uri="{FF2B5EF4-FFF2-40B4-BE49-F238E27FC236}">
                      <a16:creationId xmlns:a16="http://schemas.microsoft.com/office/drawing/2014/main" id="{8C36FEA0-DF6A-4A0D-82F3-6317455AD12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05" name="Freeform 39">
                  <a:extLst>
                    <a:ext uri="{FF2B5EF4-FFF2-40B4-BE49-F238E27FC236}">
                      <a16:creationId xmlns:a16="http://schemas.microsoft.com/office/drawing/2014/main" id="{12801B8A-1689-43E8-BA0E-1425E2119C8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06" name="Freeform 40">
                  <a:extLst>
                    <a:ext uri="{FF2B5EF4-FFF2-40B4-BE49-F238E27FC236}">
                      <a16:creationId xmlns:a16="http://schemas.microsoft.com/office/drawing/2014/main" id="{55D3B2FB-EF09-46DD-9EE6-6306A6354984}"/>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07" name="Freeform 5">
                  <a:extLst>
                    <a:ext uri="{FF2B5EF4-FFF2-40B4-BE49-F238E27FC236}">
                      <a16:creationId xmlns:a16="http://schemas.microsoft.com/office/drawing/2014/main" id="{ADDFE6D1-19D7-4D34-AD73-DBDCF95C98DD}"/>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26" name="Group 225">
              <a:extLst>
                <a:ext uri="{FF2B5EF4-FFF2-40B4-BE49-F238E27FC236}">
                  <a16:creationId xmlns:a16="http://schemas.microsoft.com/office/drawing/2014/main" id="{BD78CD94-37D0-40A0-B986-9D033E066EE6}"/>
                </a:ext>
              </a:extLst>
            </p:cNvPr>
            <p:cNvGrpSpPr/>
            <p:nvPr/>
          </p:nvGrpSpPr>
          <p:grpSpPr>
            <a:xfrm>
              <a:off x="7015867" y="2597886"/>
              <a:ext cx="128016" cy="128016"/>
              <a:chOff x="1520304" y="1939550"/>
              <a:chExt cx="726812" cy="726812"/>
            </a:xfrm>
          </p:grpSpPr>
          <p:sp>
            <p:nvSpPr>
              <p:cNvPr id="294" name="Oval 293">
                <a:extLst>
                  <a:ext uri="{FF2B5EF4-FFF2-40B4-BE49-F238E27FC236}">
                    <a16:creationId xmlns:a16="http://schemas.microsoft.com/office/drawing/2014/main" id="{A61B0E3E-EEE8-449F-BAE3-C542A07655F8}"/>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295" name="Group 294">
                <a:extLst>
                  <a:ext uri="{FF2B5EF4-FFF2-40B4-BE49-F238E27FC236}">
                    <a16:creationId xmlns:a16="http://schemas.microsoft.com/office/drawing/2014/main" id="{33C2F1C4-0828-4161-B790-6CA3DD8A4DE9}"/>
                  </a:ext>
                </a:extLst>
              </p:cNvPr>
              <p:cNvGrpSpPr/>
              <p:nvPr/>
            </p:nvGrpSpPr>
            <p:grpSpPr>
              <a:xfrm>
                <a:off x="1627350" y="2071688"/>
                <a:ext cx="512722" cy="462536"/>
                <a:chOff x="1302898" y="1640683"/>
                <a:chExt cx="1201027" cy="1083468"/>
              </a:xfrm>
            </p:grpSpPr>
            <p:sp>
              <p:nvSpPr>
                <p:cNvPr id="296" name="Freeform 34">
                  <a:extLst>
                    <a:ext uri="{FF2B5EF4-FFF2-40B4-BE49-F238E27FC236}">
                      <a16:creationId xmlns:a16="http://schemas.microsoft.com/office/drawing/2014/main" id="{A44BA99E-FBCE-408A-ADD6-A13A8DC3A53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97" name="Freeform 37">
                  <a:extLst>
                    <a:ext uri="{FF2B5EF4-FFF2-40B4-BE49-F238E27FC236}">
                      <a16:creationId xmlns:a16="http://schemas.microsoft.com/office/drawing/2014/main" id="{30BBA6A5-CA1D-4106-886C-82978191BD2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98" name="Freeform 39">
                  <a:extLst>
                    <a:ext uri="{FF2B5EF4-FFF2-40B4-BE49-F238E27FC236}">
                      <a16:creationId xmlns:a16="http://schemas.microsoft.com/office/drawing/2014/main" id="{03B29148-7824-45BB-9158-3FAC9BB1458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99" name="Freeform 40">
                  <a:extLst>
                    <a:ext uri="{FF2B5EF4-FFF2-40B4-BE49-F238E27FC236}">
                      <a16:creationId xmlns:a16="http://schemas.microsoft.com/office/drawing/2014/main" id="{0C0EB12F-82AC-4841-BD5C-070AEBBDCF3B}"/>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00" name="Freeform 5">
                  <a:extLst>
                    <a:ext uri="{FF2B5EF4-FFF2-40B4-BE49-F238E27FC236}">
                      <a16:creationId xmlns:a16="http://schemas.microsoft.com/office/drawing/2014/main" id="{02E71133-8664-4590-BC7C-1DF3C43DF53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DBF42A3D-BB4D-4705-9466-3C21F5B9443B}"/>
                </a:ext>
              </a:extLst>
            </p:cNvPr>
            <p:cNvGrpSpPr/>
            <p:nvPr/>
          </p:nvGrpSpPr>
          <p:grpSpPr>
            <a:xfrm>
              <a:off x="6346145" y="2427405"/>
              <a:ext cx="128016" cy="128016"/>
              <a:chOff x="1520304" y="1939550"/>
              <a:chExt cx="726812" cy="726812"/>
            </a:xfrm>
          </p:grpSpPr>
          <p:sp>
            <p:nvSpPr>
              <p:cNvPr id="287" name="Oval 286">
                <a:extLst>
                  <a:ext uri="{FF2B5EF4-FFF2-40B4-BE49-F238E27FC236}">
                    <a16:creationId xmlns:a16="http://schemas.microsoft.com/office/drawing/2014/main" id="{54276380-2275-45B3-81EA-96669197C63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288" name="Group 287">
                <a:extLst>
                  <a:ext uri="{FF2B5EF4-FFF2-40B4-BE49-F238E27FC236}">
                    <a16:creationId xmlns:a16="http://schemas.microsoft.com/office/drawing/2014/main" id="{8339AA8A-A275-48D1-AD8B-35619CF54EC3}"/>
                  </a:ext>
                </a:extLst>
              </p:cNvPr>
              <p:cNvGrpSpPr/>
              <p:nvPr/>
            </p:nvGrpSpPr>
            <p:grpSpPr>
              <a:xfrm>
                <a:off x="1627350" y="2071688"/>
                <a:ext cx="512722" cy="462536"/>
                <a:chOff x="1302898" y="1640683"/>
                <a:chExt cx="1201027" cy="1083468"/>
              </a:xfrm>
            </p:grpSpPr>
            <p:sp>
              <p:nvSpPr>
                <p:cNvPr id="289" name="Freeform 34">
                  <a:extLst>
                    <a:ext uri="{FF2B5EF4-FFF2-40B4-BE49-F238E27FC236}">
                      <a16:creationId xmlns:a16="http://schemas.microsoft.com/office/drawing/2014/main" id="{43D824D6-B0A0-4546-BD44-68492837D41B}"/>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90" name="Freeform 37">
                  <a:extLst>
                    <a:ext uri="{FF2B5EF4-FFF2-40B4-BE49-F238E27FC236}">
                      <a16:creationId xmlns:a16="http://schemas.microsoft.com/office/drawing/2014/main" id="{BD2C3F8B-A887-4F27-86B9-5568BC98E22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91" name="Freeform 39">
                  <a:extLst>
                    <a:ext uri="{FF2B5EF4-FFF2-40B4-BE49-F238E27FC236}">
                      <a16:creationId xmlns:a16="http://schemas.microsoft.com/office/drawing/2014/main" id="{8B930465-173D-4505-B5CB-A0FA44053439}"/>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92" name="Freeform 40">
                  <a:extLst>
                    <a:ext uri="{FF2B5EF4-FFF2-40B4-BE49-F238E27FC236}">
                      <a16:creationId xmlns:a16="http://schemas.microsoft.com/office/drawing/2014/main" id="{9B78D280-778F-43CA-95FF-54AF3D0ED9F5}"/>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93" name="Freeform 5">
                  <a:extLst>
                    <a:ext uri="{FF2B5EF4-FFF2-40B4-BE49-F238E27FC236}">
                      <a16:creationId xmlns:a16="http://schemas.microsoft.com/office/drawing/2014/main" id="{0185AA3A-E5D7-4357-855D-5B8982598E00}"/>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B8D5D9AE-40F4-4F29-998C-B9F1D9F5322E}"/>
                </a:ext>
              </a:extLst>
            </p:cNvPr>
            <p:cNvGrpSpPr/>
            <p:nvPr/>
          </p:nvGrpSpPr>
          <p:grpSpPr>
            <a:xfrm>
              <a:off x="6659723" y="2289625"/>
              <a:ext cx="128016" cy="128016"/>
              <a:chOff x="1520304" y="1939550"/>
              <a:chExt cx="726812" cy="726812"/>
            </a:xfrm>
          </p:grpSpPr>
          <p:sp>
            <p:nvSpPr>
              <p:cNvPr id="280" name="Oval 279">
                <a:extLst>
                  <a:ext uri="{FF2B5EF4-FFF2-40B4-BE49-F238E27FC236}">
                    <a16:creationId xmlns:a16="http://schemas.microsoft.com/office/drawing/2014/main" id="{5D745EFE-847E-4781-945A-05E0C1D093D3}"/>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281" name="Group 280">
                <a:extLst>
                  <a:ext uri="{FF2B5EF4-FFF2-40B4-BE49-F238E27FC236}">
                    <a16:creationId xmlns:a16="http://schemas.microsoft.com/office/drawing/2014/main" id="{C081F516-46D3-43DC-BA2E-C0D2152C90BC}"/>
                  </a:ext>
                </a:extLst>
              </p:cNvPr>
              <p:cNvGrpSpPr/>
              <p:nvPr/>
            </p:nvGrpSpPr>
            <p:grpSpPr>
              <a:xfrm>
                <a:off x="1627350" y="2071688"/>
                <a:ext cx="512722" cy="462536"/>
                <a:chOff x="1302898" y="1640683"/>
                <a:chExt cx="1201027" cy="1083468"/>
              </a:xfrm>
            </p:grpSpPr>
            <p:sp>
              <p:nvSpPr>
                <p:cNvPr id="282" name="Freeform 34">
                  <a:extLst>
                    <a:ext uri="{FF2B5EF4-FFF2-40B4-BE49-F238E27FC236}">
                      <a16:creationId xmlns:a16="http://schemas.microsoft.com/office/drawing/2014/main" id="{156CF7ED-7730-47FB-A0BD-15ACD2C3BFD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83" name="Freeform 37">
                  <a:extLst>
                    <a:ext uri="{FF2B5EF4-FFF2-40B4-BE49-F238E27FC236}">
                      <a16:creationId xmlns:a16="http://schemas.microsoft.com/office/drawing/2014/main" id="{808D9F39-4CB5-4D4A-BFFD-FF8180CB9CE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84" name="Freeform 39">
                  <a:extLst>
                    <a:ext uri="{FF2B5EF4-FFF2-40B4-BE49-F238E27FC236}">
                      <a16:creationId xmlns:a16="http://schemas.microsoft.com/office/drawing/2014/main" id="{64ABC4BE-BFFD-45D3-AD0E-4EECA090DE0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85" name="Freeform 40">
                  <a:extLst>
                    <a:ext uri="{FF2B5EF4-FFF2-40B4-BE49-F238E27FC236}">
                      <a16:creationId xmlns:a16="http://schemas.microsoft.com/office/drawing/2014/main" id="{D7F98927-694F-436A-81E9-DF840E44D094}"/>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86" name="Freeform 5">
                  <a:extLst>
                    <a:ext uri="{FF2B5EF4-FFF2-40B4-BE49-F238E27FC236}">
                      <a16:creationId xmlns:a16="http://schemas.microsoft.com/office/drawing/2014/main" id="{A9D90A18-50FB-4F2E-AA37-4FF40543794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29" name="Group 228">
              <a:extLst>
                <a:ext uri="{FF2B5EF4-FFF2-40B4-BE49-F238E27FC236}">
                  <a16:creationId xmlns:a16="http://schemas.microsoft.com/office/drawing/2014/main" id="{80460710-C620-4CA6-B6F2-2CE108DB0979}"/>
                </a:ext>
              </a:extLst>
            </p:cNvPr>
            <p:cNvGrpSpPr/>
            <p:nvPr/>
          </p:nvGrpSpPr>
          <p:grpSpPr>
            <a:xfrm>
              <a:off x="6649046" y="2290438"/>
              <a:ext cx="128016" cy="128016"/>
              <a:chOff x="6617763" y="1494678"/>
              <a:chExt cx="188006" cy="188004"/>
            </a:xfrm>
          </p:grpSpPr>
          <p:sp>
            <p:nvSpPr>
              <p:cNvPr id="278" name="Oval 277">
                <a:extLst>
                  <a:ext uri="{FF2B5EF4-FFF2-40B4-BE49-F238E27FC236}">
                    <a16:creationId xmlns:a16="http://schemas.microsoft.com/office/drawing/2014/main" id="{F960CC75-1D9F-4623-9699-875DC33A84AC}"/>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279" name="Freeform 10">
                <a:extLst>
                  <a:ext uri="{FF2B5EF4-FFF2-40B4-BE49-F238E27FC236}">
                    <a16:creationId xmlns:a16="http://schemas.microsoft.com/office/drawing/2014/main" id="{F3907E45-0EA4-4475-AE32-CC82A9DCAFFC}"/>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sp>
          <p:nvSpPr>
            <p:cNvPr id="230" name="Freeform: Shape 229">
              <a:extLst>
                <a:ext uri="{FF2B5EF4-FFF2-40B4-BE49-F238E27FC236}">
                  <a16:creationId xmlns:a16="http://schemas.microsoft.com/office/drawing/2014/main" id="{07AA44CF-B2FF-46FC-B4AC-56DBDF517547}"/>
                </a:ext>
              </a:extLst>
            </p:cNvPr>
            <p:cNvSpPr/>
            <p:nvPr/>
          </p:nvSpPr>
          <p:spPr bwMode="auto">
            <a:xfrm>
              <a:off x="6031701" y="3788574"/>
              <a:ext cx="128601" cy="42862"/>
            </a:xfrm>
            <a:custGeom>
              <a:avLst/>
              <a:gdLst>
                <a:gd name="connsiteX0" fmla="*/ 0 w 128601"/>
                <a:gd name="connsiteY0" fmla="*/ 0 h 42862"/>
                <a:gd name="connsiteX1" fmla="*/ 14288 w 128601"/>
                <a:gd name="connsiteY1" fmla="*/ 2381 h 42862"/>
                <a:gd name="connsiteX2" fmla="*/ 21432 w 128601"/>
                <a:gd name="connsiteY2" fmla="*/ 7144 h 42862"/>
                <a:gd name="connsiteX3" fmla="*/ 30957 w 128601"/>
                <a:gd name="connsiteY3" fmla="*/ 11906 h 42862"/>
                <a:gd name="connsiteX4" fmla="*/ 45244 w 128601"/>
                <a:gd name="connsiteY4" fmla="*/ 21431 h 42862"/>
                <a:gd name="connsiteX5" fmla="*/ 52388 w 128601"/>
                <a:gd name="connsiteY5" fmla="*/ 26194 h 42862"/>
                <a:gd name="connsiteX6" fmla="*/ 66675 w 128601"/>
                <a:gd name="connsiteY6" fmla="*/ 30956 h 42862"/>
                <a:gd name="connsiteX7" fmla="*/ 90488 w 128601"/>
                <a:gd name="connsiteY7" fmla="*/ 38100 h 42862"/>
                <a:gd name="connsiteX8" fmla="*/ 109538 w 128601"/>
                <a:gd name="connsiteY8" fmla="*/ 42862 h 42862"/>
                <a:gd name="connsiteX9" fmla="*/ 121444 w 128601"/>
                <a:gd name="connsiteY9" fmla="*/ 30956 h 42862"/>
                <a:gd name="connsiteX10" fmla="*/ 128588 w 128601"/>
                <a:gd name="connsiteY10" fmla="*/ 23812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601" h="42862">
                  <a:moveTo>
                    <a:pt x="0" y="0"/>
                  </a:moveTo>
                  <a:cubicBezTo>
                    <a:pt x="4763" y="794"/>
                    <a:pt x="9707" y="854"/>
                    <a:pt x="14288" y="2381"/>
                  </a:cubicBezTo>
                  <a:cubicBezTo>
                    <a:pt x="17003" y="3286"/>
                    <a:pt x="18947" y="5724"/>
                    <a:pt x="21432" y="7144"/>
                  </a:cubicBezTo>
                  <a:cubicBezTo>
                    <a:pt x="24514" y="8905"/>
                    <a:pt x="27913" y="10080"/>
                    <a:pt x="30957" y="11906"/>
                  </a:cubicBezTo>
                  <a:cubicBezTo>
                    <a:pt x="35865" y="14851"/>
                    <a:pt x="40482" y="18256"/>
                    <a:pt x="45244" y="21431"/>
                  </a:cubicBezTo>
                  <a:cubicBezTo>
                    <a:pt x="47625" y="23019"/>
                    <a:pt x="49673" y="25289"/>
                    <a:pt x="52388" y="26194"/>
                  </a:cubicBezTo>
                  <a:cubicBezTo>
                    <a:pt x="57150" y="27781"/>
                    <a:pt x="62185" y="28711"/>
                    <a:pt x="66675" y="30956"/>
                  </a:cubicBezTo>
                  <a:cubicBezTo>
                    <a:pt x="82698" y="38968"/>
                    <a:pt x="69734" y="33653"/>
                    <a:pt x="90488" y="38100"/>
                  </a:cubicBezTo>
                  <a:cubicBezTo>
                    <a:pt x="96888" y="39471"/>
                    <a:pt x="109538" y="42862"/>
                    <a:pt x="109538" y="42862"/>
                  </a:cubicBezTo>
                  <a:cubicBezTo>
                    <a:pt x="128589" y="30163"/>
                    <a:pt x="105569" y="46831"/>
                    <a:pt x="121444" y="30956"/>
                  </a:cubicBezTo>
                  <a:cubicBezTo>
                    <a:pt x="129249" y="23151"/>
                    <a:pt x="128588" y="29778"/>
                    <a:pt x="128588" y="23812"/>
                  </a:cubicBez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chemeClr val="tx2"/>
                </a:solidFill>
                <a:latin typeface="Segoe UI"/>
              </a:endParaRPr>
            </a:p>
          </p:txBody>
        </p:sp>
        <p:sp>
          <p:nvSpPr>
            <p:cNvPr id="231" name="Freeform: Shape 230">
              <a:extLst>
                <a:ext uri="{FF2B5EF4-FFF2-40B4-BE49-F238E27FC236}">
                  <a16:creationId xmlns:a16="http://schemas.microsoft.com/office/drawing/2014/main" id="{C01505E6-F092-4F4C-A4B5-9AE3B62A3B7E}"/>
                </a:ext>
              </a:extLst>
            </p:cNvPr>
            <p:cNvSpPr/>
            <p:nvPr/>
          </p:nvSpPr>
          <p:spPr bwMode="auto">
            <a:xfrm>
              <a:off x="6034083" y="3783811"/>
              <a:ext cx="35717" cy="35719"/>
            </a:xfrm>
            <a:custGeom>
              <a:avLst/>
              <a:gdLst>
                <a:gd name="connsiteX0" fmla="*/ 0 w 35718"/>
                <a:gd name="connsiteY0" fmla="*/ 0 h 35719"/>
                <a:gd name="connsiteX1" fmla="*/ 19050 w 35718"/>
                <a:gd name="connsiteY1" fmla="*/ 21432 h 35719"/>
                <a:gd name="connsiteX2" fmla="*/ 26193 w 35718"/>
                <a:gd name="connsiteY2" fmla="*/ 26194 h 35719"/>
                <a:gd name="connsiteX3" fmla="*/ 35718 w 35718"/>
                <a:gd name="connsiteY3" fmla="*/ 35719 h 35719"/>
              </a:gdLst>
              <a:ahLst/>
              <a:cxnLst>
                <a:cxn ang="0">
                  <a:pos x="connsiteX0" y="connsiteY0"/>
                </a:cxn>
                <a:cxn ang="0">
                  <a:pos x="connsiteX1" y="connsiteY1"/>
                </a:cxn>
                <a:cxn ang="0">
                  <a:pos x="connsiteX2" y="connsiteY2"/>
                </a:cxn>
                <a:cxn ang="0">
                  <a:pos x="connsiteX3" y="connsiteY3"/>
                </a:cxn>
              </a:cxnLst>
              <a:rect l="l" t="t" r="r" b="b"/>
              <a:pathLst>
                <a:path w="35718" h="35719">
                  <a:moveTo>
                    <a:pt x="0" y="0"/>
                  </a:moveTo>
                  <a:cubicBezTo>
                    <a:pt x="6350" y="7144"/>
                    <a:pt x="12291" y="14673"/>
                    <a:pt x="19050" y="21432"/>
                  </a:cubicBezTo>
                  <a:cubicBezTo>
                    <a:pt x="21073" y="23455"/>
                    <a:pt x="23995" y="24362"/>
                    <a:pt x="26193" y="26194"/>
                  </a:cubicBezTo>
                  <a:lnTo>
                    <a:pt x="35718" y="35719"/>
                  </a:ln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chemeClr val="tx2"/>
                </a:solidFill>
                <a:latin typeface="Segoe UI"/>
              </a:endParaRPr>
            </a:p>
          </p:txBody>
        </p:sp>
        <p:sp>
          <p:nvSpPr>
            <p:cNvPr id="232" name="Rectangle 231">
              <a:extLst>
                <a:ext uri="{FF2B5EF4-FFF2-40B4-BE49-F238E27FC236}">
                  <a16:creationId xmlns:a16="http://schemas.microsoft.com/office/drawing/2014/main" id="{A3A473BA-343E-4729-B184-27FD41C57C28}"/>
                </a:ext>
              </a:extLst>
            </p:cNvPr>
            <p:cNvSpPr/>
            <p:nvPr/>
          </p:nvSpPr>
          <p:spPr bwMode="auto">
            <a:xfrm>
              <a:off x="720773" y="2066928"/>
              <a:ext cx="84132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United States</a:t>
              </a:r>
              <a:endParaRPr lang="en-US" sz="700">
                <a:solidFill>
                  <a:schemeClr val="tx2"/>
                </a:solidFill>
                <a:latin typeface="Segoe UI"/>
              </a:endParaRPr>
            </a:p>
          </p:txBody>
        </p:sp>
        <p:sp>
          <p:nvSpPr>
            <p:cNvPr id="233" name="Rectangle 232">
              <a:extLst>
                <a:ext uri="{FF2B5EF4-FFF2-40B4-BE49-F238E27FC236}">
                  <a16:creationId xmlns:a16="http://schemas.microsoft.com/office/drawing/2014/main" id="{773A4925-B057-4E0E-A014-C62688C34BFF}"/>
                </a:ext>
              </a:extLst>
            </p:cNvPr>
            <p:cNvSpPr/>
            <p:nvPr/>
          </p:nvSpPr>
          <p:spPr bwMode="auto">
            <a:xfrm>
              <a:off x="2074651" y="2511429"/>
              <a:ext cx="84132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Canada</a:t>
              </a:r>
              <a:endParaRPr lang="en-US" sz="700">
                <a:solidFill>
                  <a:schemeClr val="tx2"/>
                </a:solidFill>
                <a:latin typeface="Segoe UI"/>
              </a:endParaRPr>
            </a:p>
          </p:txBody>
        </p:sp>
        <p:sp>
          <p:nvSpPr>
            <p:cNvPr id="234" name="Rectangle 233">
              <a:extLst>
                <a:ext uri="{FF2B5EF4-FFF2-40B4-BE49-F238E27FC236}">
                  <a16:creationId xmlns:a16="http://schemas.microsoft.com/office/drawing/2014/main" id="{880F4535-3E50-45D9-9DBC-9CB76FF54010}"/>
                </a:ext>
              </a:extLst>
            </p:cNvPr>
            <p:cNvSpPr/>
            <p:nvPr/>
          </p:nvSpPr>
          <p:spPr bwMode="auto">
            <a:xfrm>
              <a:off x="2221473" y="3831691"/>
              <a:ext cx="84132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Mexico</a:t>
              </a:r>
              <a:endParaRPr lang="en-US" sz="700">
                <a:solidFill>
                  <a:schemeClr val="tx2"/>
                </a:solidFill>
                <a:latin typeface="Segoe UI"/>
              </a:endParaRPr>
            </a:p>
          </p:txBody>
        </p:sp>
        <p:sp>
          <p:nvSpPr>
            <p:cNvPr id="235" name="Rectangle 234">
              <a:extLst>
                <a:ext uri="{FF2B5EF4-FFF2-40B4-BE49-F238E27FC236}">
                  <a16:creationId xmlns:a16="http://schemas.microsoft.com/office/drawing/2014/main" id="{FDB98B5B-2DD8-4457-ACB1-197F91D3109A}"/>
                </a:ext>
              </a:extLst>
            </p:cNvPr>
            <p:cNvSpPr/>
            <p:nvPr/>
          </p:nvSpPr>
          <p:spPr bwMode="auto">
            <a:xfrm>
              <a:off x="3321977" y="4459552"/>
              <a:ext cx="84132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Venezuela</a:t>
              </a:r>
              <a:endParaRPr lang="en-US" sz="700">
                <a:solidFill>
                  <a:schemeClr val="tx2"/>
                </a:solidFill>
                <a:latin typeface="Segoe UI"/>
              </a:endParaRPr>
            </a:p>
          </p:txBody>
        </p:sp>
        <p:sp>
          <p:nvSpPr>
            <p:cNvPr id="236" name="Rectangle 235">
              <a:extLst>
                <a:ext uri="{FF2B5EF4-FFF2-40B4-BE49-F238E27FC236}">
                  <a16:creationId xmlns:a16="http://schemas.microsoft.com/office/drawing/2014/main" id="{57A6C73E-8D4F-44FA-AB6B-9909506D02A3}"/>
                </a:ext>
              </a:extLst>
            </p:cNvPr>
            <p:cNvSpPr/>
            <p:nvPr/>
          </p:nvSpPr>
          <p:spPr bwMode="auto">
            <a:xfrm>
              <a:off x="3035650" y="4635043"/>
              <a:ext cx="84132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Colombia</a:t>
              </a:r>
              <a:endParaRPr lang="en-US" sz="700">
                <a:solidFill>
                  <a:schemeClr val="tx2"/>
                </a:solidFill>
                <a:latin typeface="Segoe UI"/>
              </a:endParaRPr>
            </a:p>
          </p:txBody>
        </p:sp>
        <p:sp>
          <p:nvSpPr>
            <p:cNvPr id="237" name="Rectangle 236">
              <a:extLst>
                <a:ext uri="{FF2B5EF4-FFF2-40B4-BE49-F238E27FC236}">
                  <a16:creationId xmlns:a16="http://schemas.microsoft.com/office/drawing/2014/main" id="{454EE1CE-D4EC-4225-8175-D7BCCD3C1A2E}"/>
                </a:ext>
              </a:extLst>
            </p:cNvPr>
            <p:cNvSpPr/>
            <p:nvPr/>
          </p:nvSpPr>
          <p:spPr bwMode="auto">
            <a:xfrm>
              <a:off x="3260433" y="4913899"/>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Peru</a:t>
              </a:r>
              <a:endParaRPr lang="en-US" sz="700">
                <a:solidFill>
                  <a:schemeClr val="tx2"/>
                </a:solidFill>
                <a:latin typeface="Segoe UI"/>
              </a:endParaRPr>
            </a:p>
          </p:txBody>
        </p:sp>
        <p:sp>
          <p:nvSpPr>
            <p:cNvPr id="238" name="Rectangle 237">
              <a:extLst>
                <a:ext uri="{FF2B5EF4-FFF2-40B4-BE49-F238E27FC236}">
                  <a16:creationId xmlns:a16="http://schemas.microsoft.com/office/drawing/2014/main" id="{A20A6C61-033C-4DD2-A679-F8CC51E92F5F}"/>
                </a:ext>
              </a:extLst>
            </p:cNvPr>
            <p:cNvSpPr/>
            <p:nvPr/>
          </p:nvSpPr>
          <p:spPr bwMode="auto">
            <a:xfrm>
              <a:off x="3537524" y="5200226"/>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Bolivia</a:t>
              </a:r>
              <a:endParaRPr lang="en-US" sz="700">
                <a:solidFill>
                  <a:schemeClr val="tx2"/>
                </a:solidFill>
                <a:latin typeface="Segoe UI"/>
              </a:endParaRPr>
            </a:p>
          </p:txBody>
        </p:sp>
        <p:sp>
          <p:nvSpPr>
            <p:cNvPr id="239" name="Rectangle 238">
              <a:extLst>
                <a:ext uri="{FF2B5EF4-FFF2-40B4-BE49-F238E27FC236}">
                  <a16:creationId xmlns:a16="http://schemas.microsoft.com/office/drawing/2014/main" id="{345AEC3B-BC62-4B4E-9ECB-A1CE300B953F}"/>
                </a:ext>
              </a:extLst>
            </p:cNvPr>
            <p:cNvSpPr/>
            <p:nvPr/>
          </p:nvSpPr>
          <p:spPr bwMode="auto">
            <a:xfrm>
              <a:off x="3991378" y="5042045"/>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Brazil</a:t>
              </a:r>
              <a:endParaRPr lang="en-US" sz="700">
                <a:solidFill>
                  <a:schemeClr val="tx2"/>
                </a:solidFill>
                <a:latin typeface="Segoe UI"/>
              </a:endParaRPr>
            </a:p>
          </p:txBody>
        </p:sp>
        <p:sp>
          <p:nvSpPr>
            <p:cNvPr id="240" name="Rectangle 239">
              <a:extLst>
                <a:ext uri="{FF2B5EF4-FFF2-40B4-BE49-F238E27FC236}">
                  <a16:creationId xmlns:a16="http://schemas.microsoft.com/office/drawing/2014/main" id="{98A1B932-CB03-4265-9755-293A566851C5}"/>
                </a:ext>
              </a:extLst>
            </p:cNvPr>
            <p:cNvSpPr/>
            <p:nvPr/>
          </p:nvSpPr>
          <p:spPr bwMode="auto">
            <a:xfrm>
              <a:off x="3517722" y="5994378"/>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Argentina</a:t>
              </a:r>
              <a:endParaRPr lang="en-US" sz="700">
                <a:solidFill>
                  <a:schemeClr val="tx2"/>
                </a:solidFill>
                <a:latin typeface="Segoe UI"/>
              </a:endParaRPr>
            </a:p>
          </p:txBody>
        </p:sp>
        <p:sp>
          <p:nvSpPr>
            <p:cNvPr id="241" name="Rectangle 240">
              <a:extLst>
                <a:ext uri="{FF2B5EF4-FFF2-40B4-BE49-F238E27FC236}">
                  <a16:creationId xmlns:a16="http://schemas.microsoft.com/office/drawing/2014/main" id="{42C5C978-321B-4543-85CF-B8875E73E362}"/>
                </a:ext>
              </a:extLst>
            </p:cNvPr>
            <p:cNvSpPr/>
            <p:nvPr/>
          </p:nvSpPr>
          <p:spPr bwMode="auto">
            <a:xfrm>
              <a:off x="4210321" y="3704974"/>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Atlanta Ocean</a:t>
              </a:r>
              <a:endParaRPr lang="en-US" sz="700">
                <a:solidFill>
                  <a:schemeClr val="tx2"/>
                </a:solidFill>
                <a:latin typeface="Segoe UI"/>
              </a:endParaRPr>
            </a:p>
          </p:txBody>
        </p:sp>
        <p:sp>
          <p:nvSpPr>
            <p:cNvPr id="242" name="Rectangle 241">
              <a:extLst>
                <a:ext uri="{FF2B5EF4-FFF2-40B4-BE49-F238E27FC236}">
                  <a16:creationId xmlns:a16="http://schemas.microsoft.com/office/drawing/2014/main" id="{EFD150F6-5DF3-48C2-9B33-DFB78AB36461}"/>
                </a:ext>
              </a:extLst>
            </p:cNvPr>
            <p:cNvSpPr/>
            <p:nvPr/>
          </p:nvSpPr>
          <p:spPr bwMode="auto">
            <a:xfrm>
              <a:off x="5717002" y="3597457"/>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Algeria</a:t>
              </a:r>
              <a:endParaRPr lang="en-US" sz="700">
                <a:solidFill>
                  <a:schemeClr val="tx2"/>
                </a:solidFill>
                <a:latin typeface="Segoe UI"/>
              </a:endParaRPr>
            </a:p>
          </p:txBody>
        </p:sp>
        <p:sp>
          <p:nvSpPr>
            <p:cNvPr id="243" name="Rectangle 242">
              <a:extLst>
                <a:ext uri="{FF2B5EF4-FFF2-40B4-BE49-F238E27FC236}">
                  <a16:creationId xmlns:a16="http://schemas.microsoft.com/office/drawing/2014/main" id="{363102E5-D17C-45D3-9AD7-FA91F2C31E51}"/>
                </a:ext>
              </a:extLst>
            </p:cNvPr>
            <p:cNvSpPr/>
            <p:nvPr/>
          </p:nvSpPr>
          <p:spPr bwMode="auto">
            <a:xfrm>
              <a:off x="5459827" y="4040371"/>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Mali</a:t>
              </a:r>
              <a:endParaRPr lang="en-US" sz="700">
                <a:solidFill>
                  <a:schemeClr val="tx2"/>
                </a:solidFill>
                <a:latin typeface="Segoe UI"/>
              </a:endParaRPr>
            </a:p>
          </p:txBody>
        </p:sp>
        <p:sp>
          <p:nvSpPr>
            <p:cNvPr id="244" name="Rectangle 243">
              <a:extLst>
                <a:ext uri="{FF2B5EF4-FFF2-40B4-BE49-F238E27FC236}">
                  <a16:creationId xmlns:a16="http://schemas.microsoft.com/office/drawing/2014/main" id="{1BE017F4-4C58-425A-8230-3F7380AEED30}"/>
                </a:ext>
              </a:extLst>
            </p:cNvPr>
            <p:cNvSpPr/>
            <p:nvPr/>
          </p:nvSpPr>
          <p:spPr bwMode="auto">
            <a:xfrm>
              <a:off x="5821778" y="3959407"/>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Niger</a:t>
              </a:r>
              <a:endParaRPr lang="en-US" sz="700">
                <a:solidFill>
                  <a:schemeClr val="tx2"/>
                </a:solidFill>
                <a:latin typeface="Segoe UI"/>
              </a:endParaRPr>
            </a:p>
          </p:txBody>
        </p:sp>
        <p:sp>
          <p:nvSpPr>
            <p:cNvPr id="245" name="Rectangle 244">
              <a:extLst>
                <a:ext uri="{FF2B5EF4-FFF2-40B4-BE49-F238E27FC236}">
                  <a16:creationId xmlns:a16="http://schemas.microsoft.com/office/drawing/2014/main" id="{A65D43AF-DA48-4E74-94D4-926B0780DE74}"/>
                </a:ext>
              </a:extLst>
            </p:cNvPr>
            <p:cNvSpPr/>
            <p:nvPr/>
          </p:nvSpPr>
          <p:spPr bwMode="auto">
            <a:xfrm>
              <a:off x="5821778" y="4297546"/>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Nigeria</a:t>
              </a:r>
              <a:endParaRPr lang="en-US" sz="700">
                <a:solidFill>
                  <a:schemeClr val="tx2"/>
                </a:solidFill>
                <a:latin typeface="Segoe UI"/>
              </a:endParaRPr>
            </a:p>
          </p:txBody>
        </p:sp>
        <p:sp>
          <p:nvSpPr>
            <p:cNvPr id="246" name="Rectangle 245">
              <a:extLst>
                <a:ext uri="{FF2B5EF4-FFF2-40B4-BE49-F238E27FC236}">
                  <a16:creationId xmlns:a16="http://schemas.microsoft.com/office/drawing/2014/main" id="{56D7A4E2-A6B3-4641-A4C4-96E74D97D10C}"/>
                </a:ext>
              </a:extLst>
            </p:cNvPr>
            <p:cNvSpPr/>
            <p:nvPr/>
          </p:nvSpPr>
          <p:spPr bwMode="auto">
            <a:xfrm>
              <a:off x="6282280" y="4130857"/>
              <a:ext cx="34323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Chad</a:t>
              </a:r>
              <a:endParaRPr lang="en-US" sz="700">
                <a:solidFill>
                  <a:schemeClr val="tx2"/>
                </a:solidFill>
                <a:latin typeface="Segoe UI"/>
              </a:endParaRPr>
            </a:p>
          </p:txBody>
        </p:sp>
        <p:sp>
          <p:nvSpPr>
            <p:cNvPr id="247" name="Rectangle 246">
              <a:extLst>
                <a:ext uri="{FF2B5EF4-FFF2-40B4-BE49-F238E27FC236}">
                  <a16:creationId xmlns:a16="http://schemas.microsoft.com/office/drawing/2014/main" id="{A8477983-780A-46F6-B6CA-E90E7494FFCB}"/>
                </a:ext>
              </a:extLst>
            </p:cNvPr>
            <p:cNvSpPr/>
            <p:nvPr/>
          </p:nvSpPr>
          <p:spPr bwMode="auto">
            <a:xfrm>
              <a:off x="6263230" y="3745095"/>
              <a:ext cx="34323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Libya</a:t>
              </a:r>
              <a:endParaRPr lang="en-US" sz="700">
                <a:solidFill>
                  <a:schemeClr val="tx2"/>
                </a:solidFill>
                <a:latin typeface="Segoe UI"/>
              </a:endParaRPr>
            </a:p>
          </p:txBody>
        </p:sp>
        <p:sp>
          <p:nvSpPr>
            <p:cNvPr id="248" name="Rectangle 247">
              <a:extLst>
                <a:ext uri="{FF2B5EF4-FFF2-40B4-BE49-F238E27FC236}">
                  <a16:creationId xmlns:a16="http://schemas.microsoft.com/office/drawing/2014/main" id="{D38824FB-BEA8-490B-BCB1-86ADB263020E}"/>
                </a:ext>
              </a:extLst>
            </p:cNvPr>
            <p:cNvSpPr/>
            <p:nvPr/>
          </p:nvSpPr>
          <p:spPr bwMode="auto">
            <a:xfrm>
              <a:off x="6596604" y="3783194"/>
              <a:ext cx="34323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Egypt</a:t>
              </a:r>
              <a:endParaRPr lang="en-US" sz="700">
                <a:solidFill>
                  <a:schemeClr val="tx2"/>
                </a:solidFill>
                <a:latin typeface="Segoe UI"/>
              </a:endParaRPr>
            </a:p>
          </p:txBody>
        </p:sp>
        <p:sp>
          <p:nvSpPr>
            <p:cNvPr id="249" name="Rectangle 248">
              <a:extLst>
                <a:ext uri="{FF2B5EF4-FFF2-40B4-BE49-F238E27FC236}">
                  <a16:creationId xmlns:a16="http://schemas.microsoft.com/office/drawing/2014/main" id="{040C7AD4-C192-44DF-9344-1548A18ED904}"/>
                </a:ext>
              </a:extLst>
            </p:cNvPr>
            <p:cNvSpPr/>
            <p:nvPr/>
          </p:nvSpPr>
          <p:spPr bwMode="auto">
            <a:xfrm>
              <a:off x="6691855" y="4087273"/>
              <a:ext cx="34323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Sudan</a:t>
              </a:r>
              <a:endParaRPr lang="en-US" sz="700">
                <a:solidFill>
                  <a:schemeClr val="tx2"/>
                </a:solidFill>
                <a:latin typeface="Segoe UI"/>
              </a:endParaRPr>
            </a:p>
          </p:txBody>
        </p:sp>
        <p:sp>
          <p:nvSpPr>
            <p:cNvPr id="250" name="Rectangle 249">
              <a:extLst>
                <a:ext uri="{FF2B5EF4-FFF2-40B4-BE49-F238E27FC236}">
                  <a16:creationId xmlns:a16="http://schemas.microsoft.com/office/drawing/2014/main" id="{C517C427-93D9-4598-A125-7F8DCBAB2F62}"/>
                </a:ext>
              </a:extLst>
            </p:cNvPr>
            <p:cNvSpPr/>
            <p:nvPr/>
          </p:nvSpPr>
          <p:spPr bwMode="auto">
            <a:xfrm>
              <a:off x="6887116" y="4430173"/>
              <a:ext cx="34323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Ethiopia</a:t>
              </a:r>
              <a:endParaRPr lang="en-US" sz="700">
                <a:solidFill>
                  <a:schemeClr val="tx2"/>
                </a:solidFill>
                <a:latin typeface="Segoe UI"/>
              </a:endParaRPr>
            </a:p>
          </p:txBody>
        </p:sp>
        <p:sp>
          <p:nvSpPr>
            <p:cNvPr id="251" name="Rectangle 250">
              <a:extLst>
                <a:ext uri="{FF2B5EF4-FFF2-40B4-BE49-F238E27FC236}">
                  <a16:creationId xmlns:a16="http://schemas.microsoft.com/office/drawing/2014/main" id="{1E0B331A-DD66-4B30-9EF0-FE12AF004D96}"/>
                </a:ext>
              </a:extLst>
            </p:cNvPr>
            <p:cNvSpPr/>
            <p:nvPr/>
          </p:nvSpPr>
          <p:spPr bwMode="auto">
            <a:xfrm>
              <a:off x="6406652" y="4644487"/>
              <a:ext cx="456105"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dirty="0">
                  <a:solidFill>
                    <a:schemeClr val="tx2"/>
                  </a:solidFill>
                  <a:latin typeface="Segoe UI"/>
                </a:rPr>
                <a:t>Dr Congo</a:t>
              </a:r>
              <a:endParaRPr lang="en-US" sz="700" dirty="0">
                <a:solidFill>
                  <a:schemeClr val="tx2"/>
                </a:solidFill>
                <a:latin typeface="Segoe UI"/>
              </a:endParaRPr>
            </a:p>
          </p:txBody>
        </p:sp>
        <p:sp>
          <p:nvSpPr>
            <p:cNvPr id="252" name="Rectangle 251">
              <a:extLst>
                <a:ext uri="{FF2B5EF4-FFF2-40B4-BE49-F238E27FC236}">
                  <a16:creationId xmlns:a16="http://schemas.microsoft.com/office/drawing/2014/main" id="{81273584-7D19-4D89-A56D-C57A8F137056}"/>
                </a:ext>
              </a:extLst>
            </p:cNvPr>
            <p:cNvSpPr/>
            <p:nvPr/>
          </p:nvSpPr>
          <p:spPr bwMode="auto">
            <a:xfrm>
              <a:off x="6235202" y="4968336"/>
              <a:ext cx="456105"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Angola</a:t>
              </a:r>
              <a:endParaRPr lang="en-US" sz="700">
                <a:solidFill>
                  <a:schemeClr val="tx2"/>
                </a:solidFill>
                <a:latin typeface="Segoe UI"/>
              </a:endParaRPr>
            </a:p>
          </p:txBody>
        </p:sp>
        <p:sp>
          <p:nvSpPr>
            <p:cNvPr id="253" name="Rectangle 252">
              <a:extLst>
                <a:ext uri="{FF2B5EF4-FFF2-40B4-BE49-F238E27FC236}">
                  <a16:creationId xmlns:a16="http://schemas.microsoft.com/office/drawing/2014/main" id="{235440EB-ACA5-4F0C-BAA9-BA2C22E613AE}"/>
                </a:ext>
              </a:extLst>
            </p:cNvPr>
            <p:cNvSpPr/>
            <p:nvPr/>
          </p:nvSpPr>
          <p:spPr bwMode="auto">
            <a:xfrm>
              <a:off x="6592390" y="5025488"/>
              <a:ext cx="456105"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Zambia</a:t>
              </a:r>
              <a:endParaRPr lang="en-US" sz="700">
                <a:solidFill>
                  <a:schemeClr val="tx2"/>
                </a:solidFill>
                <a:latin typeface="Segoe UI"/>
              </a:endParaRPr>
            </a:p>
          </p:txBody>
        </p:sp>
        <p:sp>
          <p:nvSpPr>
            <p:cNvPr id="254" name="Rectangle 253">
              <a:extLst>
                <a:ext uri="{FF2B5EF4-FFF2-40B4-BE49-F238E27FC236}">
                  <a16:creationId xmlns:a16="http://schemas.microsoft.com/office/drawing/2014/main" id="{96D78803-7F50-4535-9DE7-3D0F91B41E20}"/>
                </a:ext>
              </a:extLst>
            </p:cNvPr>
            <p:cNvSpPr/>
            <p:nvPr/>
          </p:nvSpPr>
          <p:spPr bwMode="auto">
            <a:xfrm>
              <a:off x="6149614" y="5320039"/>
              <a:ext cx="456105"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err="1">
                  <a:solidFill>
                    <a:schemeClr val="tx2"/>
                  </a:solidFill>
                  <a:latin typeface="Segoe UI"/>
                </a:rPr>
                <a:t>Nambia</a:t>
              </a:r>
              <a:endParaRPr lang="en-US" sz="700">
                <a:solidFill>
                  <a:schemeClr val="tx2"/>
                </a:solidFill>
                <a:latin typeface="Segoe UI"/>
              </a:endParaRPr>
            </a:p>
          </p:txBody>
        </p:sp>
        <p:sp>
          <p:nvSpPr>
            <p:cNvPr id="255" name="Rectangle 254">
              <a:extLst>
                <a:ext uri="{FF2B5EF4-FFF2-40B4-BE49-F238E27FC236}">
                  <a16:creationId xmlns:a16="http://schemas.microsoft.com/office/drawing/2014/main" id="{9A660E15-6E9A-4BBA-8D3C-D354646FDE86}"/>
                </a:ext>
              </a:extLst>
            </p:cNvPr>
            <p:cNvSpPr/>
            <p:nvPr/>
          </p:nvSpPr>
          <p:spPr bwMode="auto">
            <a:xfrm>
              <a:off x="6395223" y="5748665"/>
              <a:ext cx="456105"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South Africa</a:t>
              </a:r>
              <a:endParaRPr lang="en-US" sz="700">
                <a:solidFill>
                  <a:schemeClr val="tx2"/>
                </a:solidFill>
                <a:latin typeface="Segoe UI"/>
              </a:endParaRPr>
            </a:p>
          </p:txBody>
        </p:sp>
        <p:sp>
          <p:nvSpPr>
            <p:cNvPr id="256" name="Rectangle 255">
              <a:extLst>
                <a:ext uri="{FF2B5EF4-FFF2-40B4-BE49-F238E27FC236}">
                  <a16:creationId xmlns:a16="http://schemas.microsoft.com/office/drawing/2014/main" id="{A83A8533-C4AA-4520-91D3-6E506A7788A0}"/>
                </a:ext>
              </a:extLst>
            </p:cNvPr>
            <p:cNvSpPr/>
            <p:nvPr/>
          </p:nvSpPr>
          <p:spPr bwMode="auto">
            <a:xfrm>
              <a:off x="4210321" y="1558671"/>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Greenland</a:t>
              </a:r>
              <a:endParaRPr lang="en-US" sz="700">
                <a:solidFill>
                  <a:schemeClr val="tx2"/>
                </a:solidFill>
                <a:latin typeface="Segoe UI"/>
              </a:endParaRPr>
            </a:p>
          </p:txBody>
        </p:sp>
        <p:sp>
          <p:nvSpPr>
            <p:cNvPr id="257" name="Rectangle 256">
              <a:extLst>
                <a:ext uri="{FF2B5EF4-FFF2-40B4-BE49-F238E27FC236}">
                  <a16:creationId xmlns:a16="http://schemas.microsoft.com/office/drawing/2014/main" id="{2FF2EBF6-70DE-4E6C-BF62-6D0F3DD011DF}"/>
                </a:ext>
              </a:extLst>
            </p:cNvPr>
            <p:cNvSpPr/>
            <p:nvPr/>
          </p:nvSpPr>
          <p:spPr bwMode="auto">
            <a:xfrm>
              <a:off x="6125382" y="1394816"/>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Svalbard</a:t>
              </a:r>
              <a:endParaRPr lang="en-US" sz="700">
                <a:solidFill>
                  <a:schemeClr val="tx2"/>
                </a:solidFill>
                <a:latin typeface="Segoe UI"/>
              </a:endParaRPr>
            </a:p>
          </p:txBody>
        </p:sp>
        <p:sp>
          <p:nvSpPr>
            <p:cNvPr id="258" name="Rectangle 257">
              <a:extLst>
                <a:ext uri="{FF2B5EF4-FFF2-40B4-BE49-F238E27FC236}">
                  <a16:creationId xmlns:a16="http://schemas.microsoft.com/office/drawing/2014/main" id="{C4A9F480-D0DE-4866-80B7-B70A7F0F6524}"/>
                </a:ext>
              </a:extLst>
            </p:cNvPr>
            <p:cNvSpPr/>
            <p:nvPr/>
          </p:nvSpPr>
          <p:spPr bwMode="auto">
            <a:xfrm>
              <a:off x="6099981" y="2188660"/>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Sweden </a:t>
              </a:r>
              <a:endParaRPr lang="en-US" sz="700">
                <a:solidFill>
                  <a:schemeClr val="tx2"/>
                </a:solidFill>
                <a:latin typeface="Segoe UI"/>
              </a:endParaRPr>
            </a:p>
          </p:txBody>
        </p:sp>
        <p:sp>
          <p:nvSpPr>
            <p:cNvPr id="259" name="Rectangle 258">
              <a:extLst>
                <a:ext uri="{FF2B5EF4-FFF2-40B4-BE49-F238E27FC236}">
                  <a16:creationId xmlns:a16="http://schemas.microsoft.com/office/drawing/2014/main" id="{0F59CA12-E37B-4C46-9C69-163CD6938690}"/>
                </a:ext>
              </a:extLst>
            </p:cNvPr>
            <p:cNvSpPr/>
            <p:nvPr/>
          </p:nvSpPr>
          <p:spPr bwMode="auto">
            <a:xfrm>
              <a:off x="5780274" y="2360296"/>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dirty="0">
                  <a:solidFill>
                    <a:schemeClr val="tx2"/>
                  </a:solidFill>
                  <a:latin typeface="Segoe UI"/>
                </a:rPr>
                <a:t>Norway</a:t>
              </a:r>
              <a:endParaRPr lang="en-US" sz="700" dirty="0">
                <a:solidFill>
                  <a:schemeClr val="tx2"/>
                </a:solidFill>
                <a:latin typeface="Segoe UI"/>
              </a:endParaRPr>
            </a:p>
          </p:txBody>
        </p:sp>
        <p:sp>
          <p:nvSpPr>
            <p:cNvPr id="260" name="Rectangle 259">
              <a:extLst>
                <a:ext uri="{FF2B5EF4-FFF2-40B4-BE49-F238E27FC236}">
                  <a16:creationId xmlns:a16="http://schemas.microsoft.com/office/drawing/2014/main" id="{01343CA0-7B67-4E40-B085-52241C1AAC4F}"/>
                </a:ext>
              </a:extLst>
            </p:cNvPr>
            <p:cNvSpPr/>
            <p:nvPr/>
          </p:nvSpPr>
          <p:spPr bwMode="auto">
            <a:xfrm>
              <a:off x="5155293" y="2525308"/>
              <a:ext cx="841326" cy="1313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dirty="0">
                  <a:solidFill>
                    <a:schemeClr val="tx2"/>
                  </a:solidFill>
                  <a:latin typeface="Segoe UI"/>
                </a:rPr>
                <a:t>United Kingdom</a:t>
              </a:r>
              <a:endParaRPr lang="en-US" sz="700" dirty="0">
                <a:solidFill>
                  <a:schemeClr val="tx2"/>
                </a:solidFill>
                <a:latin typeface="Segoe UI"/>
              </a:endParaRPr>
            </a:p>
          </p:txBody>
        </p:sp>
        <p:sp>
          <p:nvSpPr>
            <p:cNvPr id="261" name="Rectangle 260">
              <a:extLst>
                <a:ext uri="{FF2B5EF4-FFF2-40B4-BE49-F238E27FC236}">
                  <a16:creationId xmlns:a16="http://schemas.microsoft.com/office/drawing/2014/main" id="{88D20ABA-0D01-4AC8-B435-97417E166EF5}"/>
                </a:ext>
              </a:extLst>
            </p:cNvPr>
            <p:cNvSpPr/>
            <p:nvPr/>
          </p:nvSpPr>
          <p:spPr bwMode="auto">
            <a:xfrm>
              <a:off x="5455666" y="2948806"/>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dirty="0">
                  <a:solidFill>
                    <a:schemeClr val="tx2"/>
                  </a:solidFill>
                  <a:latin typeface="Segoe UI"/>
                </a:rPr>
                <a:t>France</a:t>
              </a:r>
              <a:endParaRPr lang="en-US" sz="700" dirty="0">
                <a:solidFill>
                  <a:schemeClr val="tx2"/>
                </a:solidFill>
                <a:latin typeface="Segoe UI"/>
              </a:endParaRPr>
            </a:p>
          </p:txBody>
        </p:sp>
        <p:sp>
          <p:nvSpPr>
            <p:cNvPr id="262" name="Rectangle 261">
              <a:extLst>
                <a:ext uri="{FF2B5EF4-FFF2-40B4-BE49-F238E27FC236}">
                  <a16:creationId xmlns:a16="http://schemas.microsoft.com/office/drawing/2014/main" id="{E6DF33D2-648B-4132-B52E-E45071BD5DBF}"/>
                </a:ext>
              </a:extLst>
            </p:cNvPr>
            <p:cNvSpPr/>
            <p:nvPr/>
          </p:nvSpPr>
          <p:spPr bwMode="auto">
            <a:xfrm>
              <a:off x="6079417" y="2655957"/>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dirty="0">
                  <a:solidFill>
                    <a:schemeClr val="tx2"/>
                  </a:solidFill>
                  <a:latin typeface="Segoe UI"/>
                </a:rPr>
                <a:t>Poland</a:t>
              </a:r>
              <a:endParaRPr lang="en-US" sz="700" dirty="0">
                <a:solidFill>
                  <a:schemeClr val="tx2"/>
                </a:solidFill>
                <a:latin typeface="Segoe UI"/>
              </a:endParaRPr>
            </a:p>
          </p:txBody>
        </p:sp>
        <p:sp>
          <p:nvSpPr>
            <p:cNvPr id="263" name="Rectangle 262">
              <a:extLst>
                <a:ext uri="{FF2B5EF4-FFF2-40B4-BE49-F238E27FC236}">
                  <a16:creationId xmlns:a16="http://schemas.microsoft.com/office/drawing/2014/main" id="{EC2EC19B-EBD8-4F6D-B0AB-803CF50390C6}"/>
                </a:ext>
              </a:extLst>
            </p:cNvPr>
            <p:cNvSpPr/>
            <p:nvPr/>
          </p:nvSpPr>
          <p:spPr bwMode="auto">
            <a:xfrm>
              <a:off x="6505845" y="2836613"/>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dirty="0">
                  <a:solidFill>
                    <a:schemeClr val="tx2"/>
                  </a:solidFill>
                  <a:latin typeface="Segoe UI"/>
                </a:rPr>
                <a:t>Ukraine</a:t>
              </a:r>
              <a:endParaRPr lang="en-US" sz="700" dirty="0">
                <a:solidFill>
                  <a:schemeClr val="tx2"/>
                </a:solidFill>
                <a:latin typeface="Segoe UI"/>
              </a:endParaRPr>
            </a:p>
          </p:txBody>
        </p:sp>
        <p:sp>
          <p:nvSpPr>
            <p:cNvPr id="264" name="Rectangle 263">
              <a:extLst>
                <a:ext uri="{FF2B5EF4-FFF2-40B4-BE49-F238E27FC236}">
                  <a16:creationId xmlns:a16="http://schemas.microsoft.com/office/drawing/2014/main" id="{6F1B2D3C-7AB3-47C7-AA1F-C47E2B6D7EEE}"/>
                </a:ext>
              </a:extLst>
            </p:cNvPr>
            <p:cNvSpPr/>
            <p:nvPr/>
          </p:nvSpPr>
          <p:spPr bwMode="auto">
            <a:xfrm>
              <a:off x="6637184" y="3248884"/>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Turkey</a:t>
              </a:r>
              <a:endParaRPr lang="en-US" sz="700">
                <a:solidFill>
                  <a:schemeClr val="tx2"/>
                </a:solidFill>
                <a:latin typeface="Segoe UI"/>
              </a:endParaRPr>
            </a:p>
          </p:txBody>
        </p:sp>
        <p:sp>
          <p:nvSpPr>
            <p:cNvPr id="265" name="Rectangle 264">
              <a:extLst>
                <a:ext uri="{FF2B5EF4-FFF2-40B4-BE49-F238E27FC236}">
                  <a16:creationId xmlns:a16="http://schemas.microsoft.com/office/drawing/2014/main" id="{41A654AE-9139-4C42-BF94-C13EEAD4ACDE}"/>
                </a:ext>
              </a:extLst>
            </p:cNvPr>
            <p:cNvSpPr/>
            <p:nvPr/>
          </p:nvSpPr>
          <p:spPr bwMode="auto">
            <a:xfrm>
              <a:off x="6870064" y="3742693"/>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Saudi </a:t>
              </a:r>
              <a:br>
                <a:rPr lang="en-GB" sz="700">
                  <a:solidFill>
                    <a:schemeClr val="tx2"/>
                  </a:solidFill>
                  <a:latin typeface="Segoe UI"/>
                </a:rPr>
              </a:br>
              <a:r>
                <a:rPr lang="en-GB" sz="700">
                  <a:solidFill>
                    <a:schemeClr val="tx2"/>
                  </a:solidFill>
                  <a:latin typeface="Segoe UI"/>
                </a:rPr>
                <a:t>Arabia</a:t>
              </a:r>
              <a:endParaRPr lang="en-US" sz="700">
                <a:solidFill>
                  <a:schemeClr val="tx2"/>
                </a:solidFill>
                <a:latin typeface="Segoe UI"/>
              </a:endParaRPr>
            </a:p>
          </p:txBody>
        </p:sp>
        <p:sp>
          <p:nvSpPr>
            <p:cNvPr id="266" name="Rectangle 265">
              <a:extLst>
                <a:ext uri="{FF2B5EF4-FFF2-40B4-BE49-F238E27FC236}">
                  <a16:creationId xmlns:a16="http://schemas.microsoft.com/office/drawing/2014/main" id="{2D9D5020-C84F-40CE-B824-42CF21178A80}"/>
                </a:ext>
              </a:extLst>
            </p:cNvPr>
            <p:cNvSpPr/>
            <p:nvPr/>
          </p:nvSpPr>
          <p:spPr bwMode="auto">
            <a:xfrm>
              <a:off x="7244714" y="3539656"/>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Iran</a:t>
              </a:r>
              <a:endParaRPr lang="en-US" sz="700">
                <a:solidFill>
                  <a:schemeClr val="tx2"/>
                </a:solidFill>
                <a:latin typeface="Segoe UI"/>
              </a:endParaRPr>
            </a:p>
          </p:txBody>
        </p:sp>
        <p:sp>
          <p:nvSpPr>
            <p:cNvPr id="267" name="Rectangle 266">
              <a:extLst>
                <a:ext uri="{FF2B5EF4-FFF2-40B4-BE49-F238E27FC236}">
                  <a16:creationId xmlns:a16="http://schemas.microsoft.com/office/drawing/2014/main" id="{6FF9AA47-F036-4A97-838A-2E66BBD1BB27}"/>
                </a:ext>
              </a:extLst>
            </p:cNvPr>
            <p:cNvSpPr/>
            <p:nvPr/>
          </p:nvSpPr>
          <p:spPr bwMode="auto">
            <a:xfrm>
              <a:off x="7739740" y="2847635"/>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err="1">
                  <a:solidFill>
                    <a:schemeClr val="tx2"/>
                  </a:solidFill>
                  <a:latin typeface="Segoe UI"/>
                </a:rPr>
                <a:t>Kazakistan</a:t>
              </a:r>
              <a:endParaRPr lang="en-US" sz="700">
                <a:solidFill>
                  <a:schemeClr val="tx2"/>
                </a:solidFill>
                <a:latin typeface="Segoe UI"/>
              </a:endParaRPr>
            </a:p>
          </p:txBody>
        </p:sp>
        <p:sp>
          <p:nvSpPr>
            <p:cNvPr id="268" name="Rectangle 267">
              <a:extLst>
                <a:ext uri="{FF2B5EF4-FFF2-40B4-BE49-F238E27FC236}">
                  <a16:creationId xmlns:a16="http://schemas.microsoft.com/office/drawing/2014/main" id="{6B730D08-BB7C-4FD4-8EAA-4EA0EEF3B53C}"/>
                </a:ext>
              </a:extLst>
            </p:cNvPr>
            <p:cNvSpPr/>
            <p:nvPr/>
          </p:nvSpPr>
          <p:spPr bwMode="auto">
            <a:xfrm>
              <a:off x="8082638" y="3831677"/>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India</a:t>
              </a:r>
              <a:endParaRPr lang="en-US" sz="700">
                <a:solidFill>
                  <a:schemeClr val="tx2"/>
                </a:solidFill>
                <a:latin typeface="Segoe UI"/>
              </a:endParaRPr>
            </a:p>
          </p:txBody>
        </p:sp>
        <p:sp>
          <p:nvSpPr>
            <p:cNvPr id="269" name="Rectangle 268">
              <a:extLst>
                <a:ext uri="{FF2B5EF4-FFF2-40B4-BE49-F238E27FC236}">
                  <a16:creationId xmlns:a16="http://schemas.microsoft.com/office/drawing/2014/main" id="{64332324-0DEB-4E92-881F-DA517264AC34}"/>
                </a:ext>
              </a:extLst>
            </p:cNvPr>
            <p:cNvSpPr/>
            <p:nvPr/>
          </p:nvSpPr>
          <p:spPr bwMode="auto">
            <a:xfrm>
              <a:off x="8528767" y="2307069"/>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Russia</a:t>
              </a:r>
              <a:endParaRPr lang="en-US" sz="700">
                <a:solidFill>
                  <a:schemeClr val="tx2"/>
                </a:solidFill>
                <a:latin typeface="Segoe UI"/>
              </a:endParaRPr>
            </a:p>
          </p:txBody>
        </p:sp>
        <p:sp>
          <p:nvSpPr>
            <p:cNvPr id="270" name="Rectangle 269">
              <a:extLst>
                <a:ext uri="{FF2B5EF4-FFF2-40B4-BE49-F238E27FC236}">
                  <a16:creationId xmlns:a16="http://schemas.microsoft.com/office/drawing/2014/main" id="{8E96E281-8479-4262-B151-BEB7B5E72484}"/>
                </a:ext>
              </a:extLst>
            </p:cNvPr>
            <p:cNvSpPr/>
            <p:nvPr/>
          </p:nvSpPr>
          <p:spPr bwMode="auto">
            <a:xfrm>
              <a:off x="8528767" y="2935722"/>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Russia</a:t>
              </a:r>
              <a:endParaRPr lang="en-US" sz="700">
                <a:solidFill>
                  <a:schemeClr val="tx2"/>
                </a:solidFill>
                <a:latin typeface="Segoe UI"/>
              </a:endParaRPr>
            </a:p>
          </p:txBody>
        </p:sp>
        <p:sp>
          <p:nvSpPr>
            <p:cNvPr id="271" name="Rectangle 270">
              <a:extLst>
                <a:ext uri="{FF2B5EF4-FFF2-40B4-BE49-F238E27FC236}">
                  <a16:creationId xmlns:a16="http://schemas.microsoft.com/office/drawing/2014/main" id="{8621E51B-5DB3-4670-A004-62D38DDC4487}"/>
                </a:ext>
              </a:extLst>
            </p:cNvPr>
            <p:cNvSpPr/>
            <p:nvPr/>
          </p:nvSpPr>
          <p:spPr bwMode="auto">
            <a:xfrm>
              <a:off x="8647180" y="3506344"/>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China</a:t>
              </a:r>
              <a:endParaRPr lang="en-US" sz="700">
                <a:solidFill>
                  <a:schemeClr val="tx2"/>
                </a:solidFill>
                <a:latin typeface="Segoe UI"/>
              </a:endParaRPr>
            </a:p>
          </p:txBody>
        </p:sp>
        <p:sp>
          <p:nvSpPr>
            <p:cNvPr id="272" name="Rectangle 271">
              <a:extLst>
                <a:ext uri="{FF2B5EF4-FFF2-40B4-BE49-F238E27FC236}">
                  <a16:creationId xmlns:a16="http://schemas.microsoft.com/office/drawing/2014/main" id="{648C79A8-F36A-45DB-B150-A22C03879A60}"/>
                </a:ext>
              </a:extLst>
            </p:cNvPr>
            <p:cNvSpPr/>
            <p:nvPr/>
          </p:nvSpPr>
          <p:spPr bwMode="auto">
            <a:xfrm>
              <a:off x="8647180" y="3849672"/>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Myanmar</a:t>
              </a:r>
              <a:br>
                <a:rPr lang="en-GB" sz="700">
                  <a:solidFill>
                    <a:schemeClr val="tx2"/>
                  </a:solidFill>
                  <a:latin typeface="Segoe UI"/>
                </a:rPr>
              </a:br>
              <a:r>
                <a:rPr lang="en-GB" sz="700">
                  <a:solidFill>
                    <a:schemeClr val="tx2"/>
                  </a:solidFill>
                  <a:latin typeface="Segoe UI"/>
                </a:rPr>
                <a:t>(Burma)</a:t>
              </a:r>
              <a:endParaRPr lang="en-US" sz="700">
                <a:solidFill>
                  <a:schemeClr val="tx2"/>
                </a:solidFill>
                <a:latin typeface="Segoe UI"/>
              </a:endParaRPr>
            </a:p>
          </p:txBody>
        </p:sp>
        <p:sp>
          <p:nvSpPr>
            <p:cNvPr id="273" name="Rectangle 272">
              <a:extLst>
                <a:ext uri="{FF2B5EF4-FFF2-40B4-BE49-F238E27FC236}">
                  <a16:creationId xmlns:a16="http://schemas.microsoft.com/office/drawing/2014/main" id="{7A633EAF-05B6-4FE0-A5EE-7BEFCBC31C5B}"/>
                </a:ext>
              </a:extLst>
            </p:cNvPr>
            <p:cNvSpPr/>
            <p:nvPr/>
          </p:nvSpPr>
          <p:spPr bwMode="auto">
            <a:xfrm>
              <a:off x="8045201" y="5007914"/>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Indian Ocean</a:t>
              </a:r>
              <a:endParaRPr lang="en-US" sz="700">
                <a:solidFill>
                  <a:schemeClr val="tx2"/>
                </a:solidFill>
                <a:latin typeface="Segoe UI"/>
              </a:endParaRPr>
            </a:p>
          </p:txBody>
        </p:sp>
        <p:sp>
          <p:nvSpPr>
            <p:cNvPr id="274" name="Rectangle 273">
              <a:extLst>
                <a:ext uri="{FF2B5EF4-FFF2-40B4-BE49-F238E27FC236}">
                  <a16:creationId xmlns:a16="http://schemas.microsoft.com/office/drawing/2014/main" id="{04BAA55A-4748-4082-A827-AB101383CAA6}"/>
                </a:ext>
              </a:extLst>
            </p:cNvPr>
            <p:cNvSpPr/>
            <p:nvPr/>
          </p:nvSpPr>
          <p:spPr bwMode="auto">
            <a:xfrm>
              <a:off x="9422073" y="4817726"/>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Indonesia</a:t>
              </a:r>
              <a:endParaRPr lang="en-US" sz="700">
                <a:solidFill>
                  <a:schemeClr val="tx2"/>
                </a:solidFill>
                <a:latin typeface="Segoe UI"/>
              </a:endParaRPr>
            </a:p>
          </p:txBody>
        </p:sp>
        <p:sp>
          <p:nvSpPr>
            <p:cNvPr id="275" name="Rectangle 274">
              <a:extLst>
                <a:ext uri="{FF2B5EF4-FFF2-40B4-BE49-F238E27FC236}">
                  <a16:creationId xmlns:a16="http://schemas.microsoft.com/office/drawing/2014/main" id="{526FCE3C-9B98-4634-B9FC-3CECFE33C608}"/>
                </a:ext>
              </a:extLst>
            </p:cNvPr>
            <p:cNvSpPr/>
            <p:nvPr/>
          </p:nvSpPr>
          <p:spPr bwMode="auto">
            <a:xfrm>
              <a:off x="9780213" y="5594967"/>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Australia</a:t>
              </a:r>
              <a:endParaRPr lang="en-US" sz="700">
                <a:solidFill>
                  <a:schemeClr val="tx2"/>
                </a:solidFill>
                <a:latin typeface="Segoe UI"/>
              </a:endParaRPr>
            </a:p>
          </p:txBody>
        </p:sp>
        <p:sp>
          <p:nvSpPr>
            <p:cNvPr id="276" name="Rectangle 275">
              <a:extLst>
                <a:ext uri="{FF2B5EF4-FFF2-40B4-BE49-F238E27FC236}">
                  <a16:creationId xmlns:a16="http://schemas.microsoft.com/office/drawing/2014/main" id="{5B980E01-1E52-4EF0-AD7B-E1D08B2C8984}"/>
                </a:ext>
              </a:extLst>
            </p:cNvPr>
            <p:cNvSpPr/>
            <p:nvPr/>
          </p:nvSpPr>
          <p:spPr bwMode="auto">
            <a:xfrm>
              <a:off x="10655386" y="3607412"/>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Pacific Ocean</a:t>
              </a:r>
              <a:endParaRPr lang="en-US" sz="700">
                <a:solidFill>
                  <a:schemeClr val="tx2"/>
                </a:solidFill>
                <a:latin typeface="Segoe UI"/>
              </a:endParaRPr>
            </a:p>
          </p:txBody>
        </p:sp>
        <p:sp>
          <p:nvSpPr>
            <p:cNvPr id="277" name="Rectangle 276">
              <a:extLst>
                <a:ext uri="{FF2B5EF4-FFF2-40B4-BE49-F238E27FC236}">
                  <a16:creationId xmlns:a16="http://schemas.microsoft.com/office/drawing/2014/main" id="{34A5ED62-A1DA-4BA4-B83D-9048E21451C0}"/>
                </a:ext>
              </a:extLst>
            </p:cNvPr>
            <p:cNvSpPr/>
            <p:nvPr/>
          </p:nvSpPr>
          <p:spPr bwMode="auto">
            <a:xfrm>
              <a:off x="1320488" y="4267505"/>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Pacific Ocean</a:t>
              </a:r>
              <a:endParaRPr lang="en-US" sz="700">
                <a:solidFill>
                  <a:schemeClr val="tx2"/>
                </a:solidFill>
                <a:latin typeface="Segoe UI"/>
              </a:endParaRPr>
            </a:p>
          </p:txBody>
        </p:sp>
      </p:grpSp>
      <p:grpSp>
        <p:nvGrpSpPr>
          <p:cNvPr id="44" name="Group 43">
            <a:extLst>
              <a:ext uri="{FF2B5EF4-FFF2-40B4-BE49-F238E27FC236}">
                <a16:creationId xmlns:a16="http://schemas.microsoft.com/office/drawing/2014/main" id="{FCD7B3E9-4F0C-4197-BCD6-B1AB2410CED5}"/>
              </a:ext>
            </a:extLst>
          </p:cNvPr>
          <p:cNvGrpSpPr/>
          <p:nvPr/>
        </p:nvGrpSpPr>
        <p:grpSpPr>
          <a:xfrm>
            <a:off x="3610381" y="5913922"/>
            <a:ext cx="1256600" cy="99439"/>
            <a:chOff x="310422" y="6026563"/>
            <a:chExt cx="1640206" cy="130805"/>
          </a:xfrm>
        </p:grpSpPr>
        <p:cxnSp>
          <p:nvCxnSpPr>
            <p:cNvPr id="56" name="Straight Connector 55">
              <a:extLst>
                <a:ext uri="{FF2B5EF4-FFF2-40B4-BE49-F238E27FC236}">
                  <a16:creationId xmlns:a16="http://schemas.microsoft.com/office/drawing/2014/main" id="{F2E2C28B-DD42-447E-B3A2-6F75B6AFADEF}"/>
                </a:ext>
              </a:extLst>
            </p:cNvPr>
            <p:cNvCxnSpPr/>
            <p:nvPr/>
          </p:nvCxnSpPr>
          <p:spPr>
            <a:xfrm flipH="1">
              <a:off x="310422" y="6088879"/>
              <a:ext cx="228600" cy="0"/>
            </a:xfrm>
            <a:prstGeom prst="line">
              <a:avLst/>
            </a:prstGeom>
            <a:noFill/>
            <a:ln w="19050" cap="flat" cmpd="sng" algn="ctr">
              <a:solidFill>
                <a:schemeClr val="accent1"/>
              </a:solidFill>
              <a:prstDash val="solid"/>
            </a:ln>
            <a:effectLst/>
          </p:spPr>
        </p:cxnSp>
        <p:sp>
          <p:nvSpPr>
            <p:cNvPr id="57" name="TextBox 56">
              <a:extLst>
                <a:ext uri="{FF2B5EF4-FFF2-40B4-BE49-F238E27FC236}">
                  <a16:creationId xmlns:a16="http://schemas.microsoft.com/office/drawing/2014/main" id="{4C08F7E8-1B9A-42AC-A374-7C4F5F2A51D0}"/>
                </a:ext>
              </a:extLst>
            </p:cNvPr>
            <p:cNvSpPr txBox="1"/>
            <p:nvPr/>
          </p:nvSpPr>
          <p:spPr>
            <a:xfrm>
              <a:off x="642770" y="6026563"/>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1000" kern="0">
                  <a:solidFill>
                    <a:schemeClr val="tx2"/>
                  </a:solidFill>
                  <a:latin typeface="Segoe UI"/>
                </a:rPr>
                <a:t>Owned Capacity</a:t>
              </a:r>
            </a:p>
          </p:txBody>
        </p:sp>
      </p:grpSp>
      <p:grpSp>
        <p:nvGrpSpPr>
          <p:cNvPr id="45" name="Group 44">
            <a:extLst>
              <a:ext uri="{FF2B5EF4-FFF2-40B4-BE49-F238E27FC236}">
                <a16:creationId xmlns:a16="http://schemas.microsoft.com/office/drawing/2014/main" id="{74578564-98EF-403B-B2EF-44DBB2E2467D}"/>
              </a:ext>
            </a:extLst>
          </p:cNvPr>
          <p:cNvGrpSpPr/>
          <p:nvPr/>
        </p:nvGrpSpPr>
        <p:grpSpPr>
          <a:xfrm>
            <a:off x="3610381" y="6392770"/>
            <a:ext cx="1406339" cy="99439"/>
            <a:chOff x="319248" y="6415843"/>
            <a:chExt cx="1835656" cy="130805"/>
          </a:xfrm>
        </p:grpSpPr>
        <p:cxnSp>
          <p:nvCxnSpPr>
            <p:cNvPr id="54" name="Straight Connector 53">
              <a:extLst>
                <a:ext uri="{FF2B5EF4-FFF2-40B4-BE49-F238E27FC236}">
                  <a16:creationId xmlns:a16="http://schemas.microsoft.com/office/drawing/2014/main" id="{8A3CC05A-1041-4B0A-A0BE-5805D0A67562}"/>
                </a:ext>
              </a:extLst>
            </p:cNvPr>
            <p:cNvCxnSpPr/>
            <p:nvPr/>
          </p:nvCxnSpPr>
          <p:spPr>
            <a:xfrm flipH="1" flipV="1">
              <a:off x="319248" y="6470618"/>
              <a:ext cx="228600" cy="0"/>
            </a:xfrm>
            <a:prstGeom prst="line">
              <a:avLst/>
            </a:prstGeom>
            <a:noFill/>
            <a:ln w="19050" cap="flat" cmpd="sng" algn="ctr">
              <a:solidFill>
                <a:schemeClr val="accent1"/>
              </a:solidFill>
              <a:prstDash val="sysDash"/>
            </a:ln>
            <a:effectLst/>
          </p:spPr>
        </p:cxnSp>
        <p:sp>
          <p:nvSpPr>
            <p:cNvPr id="55" name="TextBox 54">
              <a:extLst>
                <a:ext uri="{FF2B5EF4-FFF2-40B4-BE49-F238E27FC236}">
                  <a16:creationId xmlns:a16="http://schemas.microsoft.com/office/drawing/2014/main" id="{A8738295-3B6C-419B-A01F-7DE68B562FD9}"/>
                </a:ext>
              </a:extLst>
            </p:cNvPr>
            <p:cNvSpPr txBox="1"/>
            <p:nvPr/>
          </p:nvSpPr>
          <p:spPr>
            <a:xfrm>
              <a:off x="647254" y="6415843"/>
              <a:ext cx="1507650" cy="130805"/>
            </a:xfrm>
            <a:prstGeom prst="rect">
              <a:avLst/>
            </a:prstGeom>
            <a:noFill/>
          </p:spPr>
          <p:txBody>
            <a:bodyPr wrap="square" lIns="0" tIns="0" rIns="0" bIns="0" rtlCol="0" anchor="ctr">
              <a:noAutofit/>
            </a:bodyPr>
            <a:lstStyle>
              <a:defPPr>
                <a:defRPr lang="en-US"/>
              </a:defPPr>
              <a:lvl1pPr>
                <a:spcAft>
                  <a:spcPts val="1200"/>
                </a:spcAft>
                <a:defRPr sz="8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1000" kern="0" dirty="0">
                  <a:solidFill>
                    <a:schemeClr val="tx2"/>
                  </a:solidFill>
                  <a:latin typeface="Segoe UI"/>
                </a:rPr>
                <a:t>Moving to Owned</a:t>
              </a:r>
              <a:endParaRPr lang="en-US" kern="0" dirty="0">
                <a:solidFill>
                  <a:schemeClr val="tx2"/>
                </a:solidFill>
                <a:latin typeface="Segoe UI"/>
              </a:endParaRPr>
            </a:p>
          </p:txBody>
        </p:sp>
      </p:grpSp>
      <p:grpSp>
        <p:nvGrpSpPr>
          <p:cNvPr id="46" name="Group 45">
            <a:extLst>
              <a:ext uri="{FF2B5EF4-FFF2-40B4-BE49-F238E27FC236}">
                <a16:creationId xmlns:a16="http://schemas.microsoft.com/office/drawing/2014/main" id="{5B2B7EDC-9334-4249-9099-1BEEE25F6349}"/>
              </a:ext>
            </a:extLst>
          </p:cNvPr>
          <p:cNvGrpSpPr/>
          <p:nvPr/>
        </p:nvGrpSpPr>
        <p:grpSpPr>
          <a:xfrm>
            <a:off x="3610381" y="6153346"/>
            <a:ext cx="1259244" cy="99439"/>
            <a:chOff x="322696" y="6223393"/>
            <a:chExt cx="1643658" cy="130805"/>
          </a:xfrm>
        </p:grpSpPr>
        <p:cxnSp>
          <p:nvCxnSpPr>
            <p:cNvPr id="52" name="Straight Connector 51">
              <a:extLst>
                <a:ext uri="{FF2B5EF4-FFF2-40B4-BE49-F238E27FC236}">
                  <a16:creationId xmlns:a16="http://schemas.microsoft.com/office/drawing/2014/main" id="{FF14068D-F919-4C40-9DD8-04386DA73E88}"/>
                </a:ext>
              </a:extLst>
            </p:cNvPr>
            <p:cNvCxnSpPr/>
            <p:nvPr/>
          </p:nvCxnSpPr>
          <p:spPr>
            <a:xfrm flipH="1">
              <a:off x="322696" y="6288796"/>
              <a:ext cx="228600" cy="0"/>
            </a:xfrm>
            <a:prstGeom prst="line">
              <a:avLst/>
            </a:prstGeom>
            <a:noFill/>
            <a:ln w="19050" cap="flat" cmpd="sng" algn="ctr">
              <a:solidFill>
                <a:schemeClr val="accent2">
                  <a:alpha val="94118"/>
                </a:schemeClr>
              </a:solidFill>
              <a:prstDash val="solid"/>
            </a:ln>
            <a:effectLst/>
          </p:spPr>
        </p:cxnSp>
        <p:sp>
          <p:nvSpPr>
            <p:cNvPr id="53" name="TextBox 52">
              <a:extLst>
                <a:ext uri="{FF2B5EF4-FFF2-40B4-BE49-F238E27FC236}">
                  <a16:creationId xmlns:a16="http://schemas.microsoft.com/office/drawing/2014/main" id="{E6F925DC-21D3-475E-9F47-BA4DFEB5D10F}"/>
                </a:ext>
              </a:extLst>
            </p:cNvPr>
            <p:cNvSpPr txBox="1"/>
            <p:nvPr/>
          </p:nvSpPr>
          <p:spPr>
            <a:xfrm>
              <a:off x="658496" y="6223393"/>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1000" kern="0" dirty="0">
                  <a:solidFill>
                    <a:schemeClr val="tx2"/>
                  </a:solidFill>
                  <a:latin typeface="Segoe UI"/>
                </a:rPr>
                <a:t>Leased Capacity</a:t>
              </a:r>
              <a:endParaRPr lang="en-US" sz="800" kern="0" dirty="0">
                <a:solidFill>
                  <a:schemeClr val="tx2"/>
                </a:solidFill>
                <a:latin typeface="Segoe UI"/>
              </a:endParaRPr>
            </a:p>
          </p:txBody>
        </p:sp>
      </p:grpSp>
      <p:grpSp>
        <p:nvGrpSpPr>
          <p:cNvPr id="20" name="Group 19">
            <a:extLst>
              <a:ext uri="{FF2B5EF4-FFF2-40B4-BE49-F238E27FC236}">
                <a16:creationId xmlns:a16="http://schemas.microsoft.com/office/drawing/2014/main" id="{3E1263F6-8B07-4F93-8DE4-4EF78428C80A}"/>
              </a:ext>
            </a:extLst>
          </p:cNvPr>
          <p:cNvGrpSpPr/>
          <p:nvPr/>
        </p:nvGrpSpPr>
        <p:grpSpPr>
          <a:xfrm>
            <a:off x="5348920" y="5851137"/>
            <a:ext cx="1175852" cy="233670"/>
            <a:chOff x="5348920" y="5851137"/>
            <a:chExt cx="1175852" cy="233670"/>
          </a:xfrm>
        </p:grpSpPr>
        <p:sp>
          <p:nvSpPr>
            <p:cNvPr id="43" name="TextBox 42">
              <a:extLst>
                <a:ext uri="{FF2B5EF4-FFF2-40B4-BE49-F238E27FC236}">
                  <a16:creationId xmlns:a16="http://schemas.microsoft.com/office/drawing/2014/main" id="{70F79E52-5BAA-405B-8EA8-AAA8CB7F04FF}"/>
                </a:ext>
              </a:extLst>
            </p:cNvPr>
            <p:cNvSpPr txBox="1"/>
            <p:nvPr/>
          </p:nvSpPr>
          <p:spPr>
            <a:xfrm>
              <a:off x="5668857" y="5917878"/>
              <a:ext cx="855915" cy="100188"/>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1000" kern="0" dirty="0">
                  <a:solidFill>
                    <a:schemeClr val="tx2"/>
                  </a:solidFill>
                  <a:latin typeface="Segoe UI"/>
                </a:rPr>
                <a:t>Data</a:t>
              </a:r>
              <a:r>
                <a:rPr lang="ar-SA" sz="1000" kern="0" dirty="0">
                  <a:solidFill>
                    <a:schemeClr val="tx2"/>
                  </a:solidFill>
                  <a:latin typeface="Segoe UI"/>
                </a:rPr>
                <a:t> </a:t>
              </a:r>
              <a:r>
                <a:rPr lang="en-US" sz="1000" kern="0" dirty="0">
                  <a:solidFill>
                    <a:schemeClr val="tx2"/>
                  </a:solidFill>
                  <a:latin typeface="Segoe UI"/>
                </a:rPr>
                <a:t>center</a:t>
              </a:r>
            </a:p>
          </p:txBody>
        </p:sp>
        <p:grpSp>
          <p:nvGrpSpPr>
            <p:cNvPr id="19" name="Group 18">
              <a:extLst>
                <a:ext uri="{FF2B5EF4-FFF2-40B4-BE49-F238E27FC236}">
                  <a16:creationId xmlns:a16="http://schemas.microsoft.com/office/drawing/2014/main" id="{9AC74CE8-4635-453A-ACBE-F388E24F9498}"/>
                </a:ext>
              </a:extLst>
            </p:cNvPr>
            <p:cNvGrpSpPr/>
            <p:nvPr/>
          </p:nvGrpSpPr>
          <p:grpSpPr>
            <a:xfrm>
              <a:off x="5348920" y="5851137"/>
              <a:ext cx="235490" cy="233670"/>
              <a:chOff x="5348924" y="5851137"/>
              <a:chExt cx="235490" cy="233670"/>
            </a:xfrm>
          </p:grpSpPr>
          <p:sp>
            <p:nvSpPr>
              <p:cNvPr id="50" name="Oval 49">
                <a:extLst>
                  <a:ext uri="{FF2B5EF4-FFF2-40B4-BE49-F238E27FC236}">
                    <a16:creationId xmlns:a16="http://schemas.microsoft.com/office/drawing/2014/main" id="{F3D855CC-BC0B-4388-A317-0A8CC4459132}"/>
                  </a:ext>
                </a:extLst>
              </p:cNvPr>
              <p:cNvSpPr/>
              <p:nvPr/>
            </p:nvSpPr>
            <p:spPr bwMode="auto">
              <a:xfrm>
                <a:off x="5348924" y="5851137"/>
                <a:ext cx="235490" cy="233670"/>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51" name="Freeform 10">
                <a:extLst>
                  <a:ext uri="{FF2B5EF4-FFF2-40B4-BE49-F238E27FC236}">
                    <a16:creationId xmlns:a16="http://schemas.microsoft.com/office/drawing/2014/main" id="{C6C2075F-CC57-4E06-809A-89AA36B4FA32}"/>
                  </a:ext>
                </a:extLst>
              </p:cNvPr>
              <p:cNvSpPr/>
              <p:nvPr/>
            </p:nvSpPr>
            <p:spPr>
              <a:xfrm>
                <a:off x="5376044" y="5896668"/>
                <a:ext cx="181251" cy="143023"/>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3" name="Group 2">
            <a:extLst>
              <a:ext uri="{FF2B5EF4-FFF2-40B4-BE49-F238E27FC236}">
                <a16:creationId xmlns:a16="http://schemas.microsoft.com/office/drawing/2014/main" id="{12DD8C1E-72D1-41CB-B549-FDD97510B290}"/>
              </a:ext>
            </a:extLst>
          </p:cNvPr>
          <p:cNvGrpSpPr/>
          <p:nvPr/>
        </p:nvGrpSpPr>
        <p:grpSpPr>
          <a:xfrm>
            <a:off x="3629224" y="2600413"/>
            <a:ext cx="8551270" cy="2369994"/>
            <a:chOff x="3512557" y="2497258"/>
            <a:chExt cx="8760220" cy="2446808"/>
          </a:xfrm>
        </p:grpSpPr>
        <p:sp>
          <p:nvSpPr>
            <p:cNvPr id="5" name="Freeform: Shape 4">
              <a:extLst>
                <a:ext uri="{FF2B5EF4-FFF2-40B4-BE49-F238E27FC236}">
                  <a16:creationId xmlns:a16="http://schemas.microsoft.com/office/drawing/2014/main" id="{4C0A2B6B-2F0A-4213-8D89-577E3A243E44}"/>
                </a:ext>
              </a:extLst>
            </p:cNvPr>
            <p:cNvSpPr/>
            <p:nvPr/>
          </p:nvSpPr>
          <p:spPr bwMode="auto">
            <a:xfrm>
              <a:off x="4887310" y="3090041"/>
              <a:ext cx="1135118" cy="1854025"/>
            </a:xfrm>
            <a:custGeom>
              <a:avLst/>
              <a:gdLst>
                <a:gd name="connsiteX0" fmla="*/ 0 w 1135118"/>
                <a:gd name="connsiteY0" fmla="*/ 0 h 1854025"/>
                <a:gd name="connsiteX1" fmla="*/ 6307 w 1135118"/>
                <a:gd name="connsiteY1" fmla="*/ 31531 h 1854025"/>
                <a:gd name="connsiteX2" fmla="*/ 12613 w 1135118"/>
                <a:gd name="connsiteY2" fmla="*/ 50450 h 1854025"/>
                <a:gd name="connsiteX3" fmla="*/ 25225 w 1135118"/>
                <a:gd name="connsiteY3" fmla="*/ 163962 h 1854025"/>
                <a:gd name="connsiteX4" fmla="*/ 37838 w 1135118"/>
                <a:gd name="connsiteY4" fmla="*/ 182880 h 1854025"/>
                <a:gd name="connsiteX5" fmla="*/ 50450 w 1135118"/>
                <a:gd name="connsiteY5" fmla="*/ 245942 h 1854025"/>
                <a:gd name="connsiteX6" fmla="*/ 63062 w 1135118"/>
                <a:gd name="connsiteY6" fmla="*/ 258555 h 1854025"/>
                <a:gd name="connsiteX7" fmla="*/ 69369 w 1135118"/>
                <a:gd name="connsiteY7" fmla="*/ 290086 h 1854025"/>
                <a:gd name="connsiteX8" fmla="*/ 88287 w 1135118"/>
                <a:gd name="connsiteY8" fmla="*/ 302698 h 1854025"/>
                <a:gd name="connsiteX9" fmla="*/ 100900 w 1135118"/>
                <a:gd name="connsiteY9" fmla="*/ 315311 h 1854025"/>
                <a:gd name="connsiteX10" fmla="*/ 107206 w 1135118"/>
                <a:gd name="connsiteY10" fmla="*/ 334229 h 1854025"/>
                <a:gd name="connsiteX11" fmla="*/ 126124 w 1135118"/>
                <a:gd name="connsiteY11" fmla="*/ 340536 h 1854025"/>
                <a:gd name="connsiteX12" fmla="*/ 145043 w 1135118"/>
                <a:gd name="connsiteY12" fmla="*/ 359454 h 1854025"/>
                <a:gd name="connsiteX13" fmla="*/ 157656 w 1135118"/>
                <a:gd name="connsiteY13" fmla="*/ 384679 h 1854025"/>
                <a:gd name="connsiteX14" fmla="*/ 176574 w 1135118"/>
                <a:gd name="connsiteY14" fmla="*/ 397291 h 1854025"/>
                <a:gd name="connsiteX15" fmla="*/ 195493 w 1135118"/>
                <a:gd name="connsiteY15" fmla="*/ 416210 h 1854025"/>
                <a:gd name="connsiteX16" fmla="*/ 208105 w 1135118"/>
                <a:gd name="connsiteY16" fmla="*/ 441435 h 1854025"/>
                <a:gd name="connsiteX17" fmla="*/ 220718 w 1135118"/>
                <a:gd name="connsiteY17" fmla="*/ 454047 h 1854025"/>
                <a:gd name="connsiteX18" fmla="*/ 252249 w 1135118"/>
                <a:gd name="connsiteY18" fmla="*/ 491885 h 1854025"/>
                <a:gd name="connsiteX19" fmla="*/ 271167 w 1135118"/>
                <a:gd name="connsiteY19" fmla="*/ 523416 h 1854025"/>
                <a:gd name="connsiteX20" fmla="*/ 283780 w 1135118"/>
                <a:gd name="connsiteY20" fmla="*/ 542334 h 1854025"/>
                <a:gd name="connsiteX21" fmla="*/ 302698 w 1135118"/>
                <a:gd name="connsiteY21" fmla="*/ 548640 h 1854025"/>
                <a:gd name="connsiteX22" fmla="*/ 315311 w 1135118"/>
                <a:gd name="connsiteY22" fmla="*/ 561253 h 1854025"/>
                <a:gd name="connsiteX23" fmla="*/ 334229 w 1135118"/>
                <a:gd name="connsiteY23" fmla="*/ 573865 h 1854025"/>
                <a:gd name="connsiteX24" fmla="*/ 340536 w 1135118"/>
                <a:gd name="connsiteY24" fmla="*/ 592784 h 1854025"/>
                <a:gd name="connsiteX25" fmla="*/ 365760 w 1135118"/>
                <a:gd name="connsiteY25" fmla="*/ 599090 h 1854025"/>
                <a:gd name="connsiteX26" fmla="*/ 403598 w 1135118"/>
                <a:gd name="connsiteY26" fmla="*/ 611702 h 1854025"/>
                <a:gd name="connsiteX27" fmla="*/ 460353 w 1135118"/>
                <a:gd name="connsiteY27" fmla="*/ 630621 h 1854025"/>
                <a:gd name="connsiteX28" fmla="*/ 479272 w 1135118"/>
                <a:gd name="connsiteY28" fmla="*/ 636927 h 1854025"/>
                <a:gd name="connsiteX29" fmla="*/ 523416 w 1135118"/>
                <a:gd name="connsiteY29" fmla="*/ 655846 h 1854025"/>
                <a:gd name="connsiteX30" fmla="*/ 561253 w 1135118"/>
                <a:gd name="connsiteY30" fmla="*/ 668458 h 1854025"/>
                <a:gd name="connsiteX31" fmla="*/ 611702 w 1135118"/>
                <a:gd name="connsiteY31" fmla="*/ 681071 h 1854025"/>
                <a:gd name="connsiteX32" fmla="*/ 687377 w 1135118"/>
                <a:gd name="connsiteY32" fmla="*/ 706296 h 1854025"/>
                <a:gd name="connsiteX33" fmla="*/ 706296 w 1135118"/>
                <a:gd name="connsiteY33" fmla="*/ 712602 h 1854025"/>
                <a:gd name="connsiteX34" fmla="*/ 725214 w 1135118"/>
                <a:gd name="connsiteY34" fmla="*/ 718908 h 1854025"/>
                <a:gd name="connsiteX35" fmla="*/ 769358 w 1135118"/>
                <a:gd name="connsiteY35" fmla="*/ 756745 h 1854025"/>
                <a:gd name="connsiteX36" fmla="*/ 781970 w 1135118"/>
                <a:gd name="connsiteY36" fmla="*/ 769358 h 1854025"/>
                <a:gd name="connsiteX37" fmla="*/ 800889 w 1135118"/>
                <a:gd name="connsiteY37" fmla="*/ 775664 h 1854025"/>
                <a:gd name="connsiteX38" fmla="*/ 819807 w 1135118"/>
                <a:gd name="connsiteY38" fmla="*/ 788276 h 1854025"/>
                <a:gd name="connsiteX39" fmla="*/ 838726 w 1135118"/>
                <a:gd name="connsiteY39" fmla="*/ 819807 h 1854025"/>
                <a:gd name="connsiteX40" fmla="*/ 863951 w 1135118"/>
                <a:gd name="connsiteY40" fmla="*/ 826113 h 1854025"/>
                <a:gd name="connsiteX41" fmla="*/ 876563 w 1135118"/>
                <a:gd name="connsiteY41" fmla="*/ 851338 h 1854025"/>
                <a:gd name="connsiteX42" fmla="*/ 908094 w 1135118"/>
                <a:gd name="connsiteY42" fmla="*/ 876563 h 1854025"/>
                <a:gd name="connsiteX43" fmla="*/ 914400 w 1135118"/>
                <a:gd name="connsiteY43" fmla="*/ 901788 h 1854025"/>
                <a:gd name="connsiteX44" fmla="*/ 901788 w 1135118"/>
                <a:gd name="connsiteY44" fmla="*/ 927013 h 1854025"/>
                <a:gd name="connsiteX45" fmla="*/ 882869 w 1135118"/>
                <a:gd name="connsiteY45" fmla="*/ 952238 h 1854025"/>
                <a:gd name="connsiteX46" fmla="*/ 870257 w 1135118"/>
                <a:gd name="connsiteY46" fmla="*/ 971156 h 1854025"/>
                <a:gd name="connsiteX47" fmla="*/ 863951 w 1135118"/>
                <a:gd name="connsiteY47" fmla="*/ 990075 h 1854025"/>
                <a:gd name="connsiteX48" fmla="*/ 857644 w 1135118"/>
                <a:gd name="connsiteY48" fmla="*/ 1317998 h 1854025"/>
                <a:gd name="connsiteX49" fmla="*/ 889176 w 1135118"/>
                <a:gd name="connsiteY49" fmla="*/ 1362141 h 1854025"/>
                <a:gd name="connsiteX50" fmla="*/ 908094 w 1135118"/>
                <a:gd name="connsiteY50" fmla="*/ 1374753 h 1854025"/>
                <a:gd name="connsiteX51" fmla="*/ 920707 w 1135118"/>
                <a:gd name="connsiteY51" fmla="*/ 1387366 h 1854025"/>
                <a:gd name="connsiteX52" fmla="*/ 939625 w 1135118"/>
                <a:gd name="connsiteY52" fmla="*/ 1393672 h 1854025"/>
                <a:gd name="connsiteX53" fmla="*/ 990075 w 1135118"/>
                <a:gd name="connsiteY53" fmla="*/ 1418897 h 1854025"/>
                <a:gd name="connsiteX54" fmla="*/ 1027912 w 1135118"/>
                <a:gd name="connsiteY54" fmla="*/ 1431509 h 1854025"/>
                <a:gd name="connsiteX55" fmla="*/ 1078362 w 1135118"/>
                <a:gd name="connsiteY55" fmla="*/ 1444122 h 1854025"/>
                <a:gd name="connsiteX56" fmla="*/ 1090974 w 1135118"/>
                <a:gd name="connsiteY56" fmla="*/ 1463040 h 1854025"/>
                <a:gd name="connsiteX57" fmla="*/ 1135118 w 1135118"/>
                <a:gd name="connsiteY57" fmla="*/ 1481959 h 1854025"/>
                <a:gd name="connsiteX58" fmla="*/ 1128811 w 1135118"/>
                <a:gd name="connsiteY58" fmla="*/ 1507184 h 1854025"/>
                <a:gd name="connsiteX59" fmla="*/ 1103587 w 1135118"/>
                <a:gd name="connsiteY59" fmla="*/ 1538715 h 1854025"/>
                <a:gd name="connsiteX60" fmla="*/ 1084668 w 1135118"/>
                <a:gd name="connsiteY60" fmla="*/ 1582858 h 1854025"/>
                <a:gd name="connsiteX61" fmla="*/ 1072056 w 1135118"/>
                <a:gd name="connsiteY61" fmla="*/ 1620696 h 1854025"/>
                <a:gd name="connsiteX62" fmla="*/ 1065749 w 1135118"/>
                <a:gd name="connsiteY62" fmla="*/ 1639614 h 1854025"/>
                <a:gd name="connsiteX63" fmla="*/ 1078362 w 1135118"/>
                <a:gd name="connsiteY63" fmla="*/ 1854025 h 185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135118" h="1854025">
                  <a:moveTo>
                    <a:pt x="0" y="0"/>
                  </a:moveTo>
                  <a:cubicBezTo>
                    <a:pt x="2102" y="10510"/>
                    <a:pt x="3707" y="21133"/>
                    <a:pt x="6307" y="31531"/>
                  </a:cubicBezTo>
                  <a:cubicBezTo>
                    <a:pt x="7919" y="37980"/>
                    <a:pt x="11879" y="43843"/>
                    <a:pt x="12613" y="50450"/>
                  </a:cubicBezTo>
                  <a:cubicBezTo>
                    <a:pt x="14075" y="63605"/>
                    <a:pt x="10038" y="133590"/>
                    <a:pt x="25225" y="163962"/>
                  </a:cubicBezTo>
                  <a:cubicBezTo>
                    <a:pt x="28615" y="170741"/>
                    <a:pt x="33634" y="176574"/>
                    <a:pt x="37838" y="182880"/>
                  </a:cubicBezTo>
                  <a:cubicBezTo>
                    <a:pt x="38931" y="190535"/>
                    <a:pt x="42195" y="232183"/>
                    <a:pt x="50450" y="245942"/>
                  </a:cubicBezTo>
                  <a:cubicBezTo>
                    <a:pt x="53509" y="251040"/>
                    <a:pt x="58858" y="254351"/>
                    <a:pt x="63062" y="258555"/>
                  </a:cubicBezTo>
                  <a:cubicBezTo>
                    <a:pt x="65164" y="269065"/>
                    <a:pt x="64051" y="280780"/>
                    <a:pt x="69369" y="290086"/>
                  </a:cubicBezTo>
                  <a:cubicBezTo>
                    <a:pt x="73129" y="296666"/>
                    <a:pt x="82369" y="297963"/>
                    <a:pt x="88287" y="302698"/>
                  </a:cubicBezTo>
                  <a:cubicBezTo>
                    <a:pt x="92930" y="306412"/>
                    <a:pt x="96696" y="311107"/>
                    <a:pt x="100900" y="315311"/>
                  </a:cubicBezTo>
                  <a:cubicBezTo>
                    <a:pt x="103002" y="321617"/>
                    <a:pt x="102506" y="329529"/>
                    <a:pt x="107206" y="334229"/>
                  </a:cubicBezTo>
                  <a:cubicBezTo>
                    <a:pt x="111906" y="338929"/>
                    <a:pt x="120593" y="336849"/>
                    <a:pt x="126124" y="340536"/>
                  </a:cubicBezTo>
                  <a:cubicBezTo>
                    <a:pt x="133544" y="345483"/>
                    <a:pt x="138737" y="353148"/>
                    <a:pt x="145043" y="359454"/>
                  </a:cubicBezTo>
                  <a:cubicBezTo>
                    <a:pt x="149247" y="367862"/>
                    <a:pt x="151638" y="377457"/>
                    <a:pt x="157656" y="384679"/>
                  </a:cubicBezTo>
                  <a:cubicBezTo>
                    <a:pt x="162508" y="390501"/>
                    <a:pt x="170752" y="392439"/>
                    <a:pt x="176574" y="397291"/>
                  </a:cubicBezTo>
                  <a:cubicBezTo>
                    <a:pt x="183425" y="403001"/>
                    <a:pt x="189187" y="409904"/>
                    <a:pt x="195493" y="416210"/>
                  </a:cubicBezTo>
                  <a:cubicBezTo>
                    <a:pt x="199697" y="424618"/>
                    <a:pt x="202890" y="433613"/>
                    <a:pt x="208105" y="441435"/>
                  </a:cubicBezTo>
                  <a:cubicBezTo>
                    <a:pt x="211403" y="446382"/>
                    <a:pt x="217004" y="449404"/>
                    <a:pt x="220718" y="454047"/>
                  </a:cubicBezTo>
                  <a:cubicBezTo>
                    <a:pt x="255843" y="497953"/>
                    <a:pt x="207301" y="446937"/>
                    <a:pt x="252249" y="491885"/>
                  </a:cubicBezTo>
                  <a:cubicBezTo>
                    <a:pt x="263199" y="524735"/>
                    <a:pt x="251383" y="498686"/>
                    <a:pt x="271167" y="523416"/>
                  </a:cubicBezTo>
                  <a:cubicBezTo>
                    <a:pt x="275902" y="529334"/>
                    <a:pt x="277862" y="537599"/>
                    <a:pt x="283780" y="542334"/>
                  </a:cubicBezTo>
                  <a:cubicBezTo>
                    <a:pt x="288971" y="546486"/>
                    <a:pt x="296392" y="546538"/>
                    <a:pt x="302698" y="548640"/>
                  </a:cubicBezTo>
                  <a:cubicBezTo>
                    <a:pt x="306902" y="552844"/>
                    <a:pt x="310668" y="557539"/>
                    <a:pt x="315311" y="561253"/>
                  </a:cubicBezTo>
                  <a:cubicBezTo>
                    <a:pt x="321229" y="565988"/>
                    <a:pt x="329494" y="567947"/>
                    <a:pt x="334229" y="573865"/>
                  </a:cubicBezTo>
                  <a:cubicBezTo>
                    <a:pt x="338382" y="579056"/>
                    <a:pt x="335345" y="588631"/>
                    <a:pt x="340536" y="592784"/>
                  </a:cubicBezTo>
                  <a:cubicBezTo>
                    <a:pt x="347304" y="598198"/>
                    <a:pt x="357459" y="596600"/>
                    <a:pt x="365760" y="599090"/>
                  </a:cubicBezTo>
                  <a:cubicBezTo>
                    <a:pt x="378494" y="602910"/>
                    <a:pt x="390985" y="607498"/>
                    <a:pt x="403598" y="611702"/>
                  </a:cubicBezTo>
                  <a:lnTo>
                    <a:pt x="460353" y="630621"/>
                  </a:lnTo>
                  <a:lnTo>
                    <a:pt x="479272" y="636927"/>
                  </a:lnTo>
                  <a:cubicBezTo>
                    <a:pt x="501535" y="659192"/>
                    <a:pt x="482318" y="644638"/>
                    <a:pt x="523416" y="655846"/>
                  </a:cubicBezTo>
                  <a:cubicBezTo>
                    <a:pt x="536242" y="659344"/>
                    <a:pt x="548355" y="665233"/>
                    <a:pt x="561253" y="668458"/>
                  </a:cubicBezTo>
                  <a:cubicBezTo>
                    <a:pt x="578069" y="672662"/>
                    <a:pt x="595258" y="675590"/>
                    <a:pt x="611702" y="681071"/>
                  </a:cubicBezTo>
                  <a:lnTo>
                    <a:pt x="687377" y="706296"/>
                  </a:lnTo>
                  <a:lnTo>
                    <a:pt x="706296" y="712602"/>
                  </a:lnTo>
                  <a:lnTo>
                    <a:pt x="725214" y="718908"/>
                  </a:lnTo>
                  <a:cubicBezTo>
                    <a:pt x="785946" y="779640"/>
                    <a:pt x="721329" y="718322"/>
                    <a:pt x="769358" y="756745"/>
                  </a:cubicBezTo>
                  <a:cubicBezTo>
                    <a:pt x="774001" y="760459"/>
                    <a:pt x="776872" y="766299"/>
                    <a:pt x="781970" y="769358"/>
                  </a:cubicBezTo>
                  <a:cubicBezTo>
                    <a:pt x="787670" y="772778"/>
                    <a:pt x="794583" y="773562"/>
                    <a:pt x="800889" y="775664"/>
                  </a:cubicBezTo>
                  <a:cubicBezTo>
                    <a:pt x="807195" y="779868"/>
                    <a:pt x="815073" y="782358"/>
                    <a:pt x="819807" y="788276"/>
                  </a:cubicBezTo>
                  <a:cubicBezTo>
                    <a:pt x="834191" y="806257"/>
                    <a:pt x="815869" y="808379"/>
                    <a:pt x="838726" y="819807"/>
                  </a:cubicBezTo>
                  <a:cubicBezTo>
                    <a:pt x="846478" y="823683"/>
                    <a:pt x="855543" y="824011"/>
                    <a:pt x="863951" y="826113"/>
                  </a:cubicBezTo>
                  <a:cubicBezTo>
                    <a:pt x="868155" y="834521"/>
                    <a:pt x="871348" y="843516"/>
                    <a:pt x="876563" y="851338"/>
                  </a:cubicBezTo>
                  <a:cubicBezTo>
                    <a:pt x="883752" y="862121"/>
                    <a:pt x="897974" y="869816"/>
                    <a:pt x="908094" y="876563"/>
                  </a:cubicBezTo>
                  <a:cubicBezTo>
                    <a:pt x="910196" y="884971"/>
                    <a:pt x="915475" y="893188"/>
                    <a:pt x="914400" y="901788"/>
                  </a:cubicBezTo>
                  <a:cubicBezTo>
                    <a:pt x="913234" y="911116"/>
                    <a:pt x="906770" y="919041"/>
                    <a:pt x="901788" y="927013"/>
                  </a:cubicBezTo>
                  <a:cubicBezTo>
                    <a:pt x="896217" y="935926"/>
                    <a:pt x="888978" y="943685"/>
                    <a:pt x="882869" y="952238"/>
                  </a:cubicBezTo>
                  <a:cubicBezTo>
                    <a:pt x="878464" y="958405"/>
                    <a:pt x="874461" y="964850"/>
                    <a:pt x="870257" y="971156"/>
                  </a:cubicBezTo>
                  <a:cubicBezTo>
                    <a:pt x="868155" y="977462"/>
                    <a:pt x="865700" y="983662"/>
                    <a:pt x="863951" y="990075"/>
                  </a:cubicBezTo>
                  <a:cubicBezTo>
                    <a:pt x="830012" y="1114516"/>
                    <a:pt x="845003" y="1107316"/>
                    <a:pt x="857644" y="1317998"/>
                  </a:cubicBezTo>
                  <a:cubicBezTo>
                    <a:pt x="860046" y="1358037"/>
                    <a:pt x="863801" y="1353683"/>
                    <a:pt x="889176" y="1362141"/>
                  </a:cubicBezTo>
                  <a:cubicBezTo>
                    <a:pt x="895482" y="1366345"/>
                    <a:pt x="902176" y="1370018"/>
                    <a:pt x="908094" y="1374753"/>
                  </a:cubicBezTo>
                  <a:cubicBezTo>
                    <a:pt x="912737" y="1378467"/>
                    <a:pt x="915609" y="1384307"/>
                    <a:pt x="920707" y="1387366"/>
                  </a:cubicBezTo>
                  <a:cubicBezTo>
                    <a:pt x="926407" y="1390786"/>
                    <a:pt x="933319" y="1391570"/>
                    <a:pt x="939625" y="1393672"/>
                  </a:cubicBezTo>
                  <a:cubicBezTo>
                    <a:pt x="961639" y="1415686"/>
                    <a:pt x="946597" y="1404405"/>
                    <a:pt x="990075" y="1418897"/>
                  </a:cubicBezTo>
                  <a:cubicBezTo>
                    <a:pt x="990079" y="1418898"/>
                    <a:pt x="1027909" y="1431508"/>
                    <a:pt x="1027912" y="1431509"/>
                  </a:cubicBezTo>
                  <a:cubicBezTo>
                    <a:pt x="1065961" y="1439120"/>
                    <a:pt x="1049274" y="1434427"/>
                    <a:pt x="1078362" y="1444122"/>
                  </a:cubicBezTo>
                  <a:cubicBezTo>
                    <a:pt x="1082566" y="1450428"/>
                    <a:pt x="1084394" y="1459280"/>
                    <a:pt x="1090974" y="1463040"/>
                  </a:cubicBezTo>
                  <a:cubicBezTo>
                    <a:pt x="1160720" y="1502896"/>
                    <a:pt x="1096962" y="1443806"/>
                    <a:pt x="1135118" y="1481959"/>
                  </a:cubicBezTo>
                  <a:cubicBezTo>
                    <a:pt x="1133016" y="1490367"/>
                    <a:pt x="1132225" y="1499218"/>
                    <a:pt x="1128811" y="1507184"/>
                  </a:cubicBezTo>
                  <a:cubicBezTo>
                    <a:pt x="1122845" y="1521104"/>
                    <a:pt x="1113757" y="1528544"/>
                    <a:pt x="1103587" y="1538715"/>
                  </a:cubicBezTo>
                  <a:cubicBezTo>
                    <a:pt x="1086900" y="1605453"/>
                    <a:pt x="1109556" y="1526857"/>
                    <a:pt x="1084668" y="1582858"/>
                  </a:cubicBezTo>
                  <a:cubicBezTo>
                    <a:pt x="1079269" y="1595007"/>
                    <a:pt x="1076260" y="1608083"/>
                    <a:pt x="1072056" y="1620696"/>
                  </a:cubicBezTo>
                  <a:lnTo>
                    <a:pt x="1065749" y="1639614"/>
                  </a:lnTo>
                  <a:cubicBezTo>
                    <a:pt x="1072203" y="1846111"/>
                    <a:pt x="1041959" y="1781219"/>
                    <a:pt x="1078362" y="1854025"/>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a:solidFill>
                  <a:schemeClr val="tx2"/>
                </a:solidFill>
                <a:latin typeface="Segoe UI"/>
              </a:endParaRPr>
            </a:p>
          </p:txBody>
        </p:sp>
        <p:sp>
          <p:nvSpPr>
            <p:cNvPr id="6" name="Freeform: Shape 5">
              <a:extLst>
                <a:ext uri="{FF2B5EF4-FFF2-40B4-BE49-F238E27FC236}">
                  <a16:creationId xmlns:a16="http://schemas.microsoft.com/office/drawing/2014/main" id="{619769C9-B25D-4330-8E73-9281C225CF89}"/>
                </a:ext>
              </a:extLst>
            </p:cNvPr>
            <p:cNvSpPr/>
            <p:nvPr/>
          </p:nvSpPr>
          <p:spPr bwMode="auto">
            <a:xfrm>
              <a:off x="3550394" y="2604463"/>
              <a:ext cx="1166649" cy="158256"/>
            </a:xfrm>
            <a:custGeom>
              <a:avLst/>
              <a:gdLst>
                <a:gd name="connsiteX0" fmla="*/ 0 w 1166649"/>
                <a:gd name="connsiteY0" fmla="*/ 0 h 158256"/>
                <a:gd name="connsiteX1" fmla="*/ 31532 w 1166649"/>
                <a:gd name="connsiteY1" fmla="*/ 6307 h 158256"/>
                <a:gd name="connsiteX2" fmla="*/ 50450 w 1166649"/>
                <a:gd name="connsiteY2" fmla="*/ 18919 h 158256"/>
                <a:gd name="connsiteX3" fmla="*/ 69369 w 1166649"/>
                <a:gd name="connsiteY3" fmla="*/ 25225 h 158256"/>
                <a:gd name="connsiteX4" fmla="*/ 258555 w 1166649"/>
                <a:gd name="connsiteY4" fmla="*/ 44144 h 158256"/>
                <a:gd name="connsiteX5" fmla="*/ 283780 w 1166649"/>
                <a:gd name="connsiteY5" fmla="*/ 50450 h 158256"/>
                <a:gd name="connsiteX6" fmla="*/ 315311 w 1166649"/>
                <a:gd name="connsiteY6" fmla="*/ 56756 h 158256"/>
                <a:gd name="connsiteX7" fmla="*/ 397292 w 1166649"/>
                <a:gd name="connsiteY7" fmla="*/ 75675 h 158256"/>
                <a:gd name="connsiteX8" fmla="*/ 523416 w 1166649"/>
                <a:gd name="connsiteY8" fmla="*/ 88287 h 158256"/>
                <a:gd name="connsiteX9" fmla="*/ 624315 w 1166649"/>
                <a:gd name="connsiteY9" fmla="*/ 100900 h 158256"/>
                <a:gd name="connsiteX10" fmla="*/ 643234 w 1166649"/>
                <a:gd name="connsiteY10" fmla="*/ 107206 h 158256"/>
                <a:gd name="connsiteX11" fmla="*/ 731520 w 1166649"/>
                <a:gd name="connsiteY11" fmla="*/ 119818 h 158256"/>
                <a:gd name="connsiteX12" fmla="*/ 763052 w 1166649"/>
                <a:gd name="connsiteY12" fmla="*/ 126125 h 158256"/>
                <a:gd name="connsiteX13" fmla="*/ 870257 w 1166649"/>
                <a:gd name="connsiteY13" fmla="*/ 132431 h 158256"/>
                <a:gd name="connsiteX14" fmla="*/ 914400 w 1166649"/>
                <a:gd name="connsiteY14" fmla="*/ 138737 h 158256"/>
                <a:gd name="connsiteX15" fmla="*/ 1053137 w 1166649"/>
                <a:gd name="connsiteY15" fmla="*/ 157656 h 158256"/>
                <a:gd name="connsiteX16" fmla="*/ 1166649 w 1166649"/>
                <a:gd name="connsiteY16" fmla="*/ 157656 h 158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66649" h="158256">
                  <a:moveTo>
                    <a:pt x="0" y="0"/>
                  </a:moveTo>
                  <a:cubicBezTo>
                    <a:pt x="10511" y="2102"/>
                    <a:pt x="21496" y="2543"/>
                    <a:pt x="31532" y="6307"/>
                  </a:cubicBezTo>
                  <a:cubicBezTo>
                    <a:pt x="38628" y="8968"/>
                    <a:pt x="43671" y="15530"/>
                    <a:pt x="50450" y="18919"/>
                  </a:cubicBezTo>
                  <a:cubicBezTo>
                    <a:pt x="56396" y="21892"/>
                    <a:pt x="63063" y="23123"/>
                    <a:pt x="69369" y="25225"/>
                  </a:cubicBezTo>
                  <a:cubicBezTo>
                    <a:pt x="124151" y="80011"/>
                    <a:pt x="70825" y="32411"/>
                    <a:pt x="258555" y="44144"/>
                  </a:cubicBezTo>
                  <a:cubicBezTo>
                    <a:pt x="267205" y="44685"/>
                    <a:pt x="275319" y="48570"/>
                    <a:pt x="283780" y="50450"/>
                  </a:cubicBezTo>
                  <a:cubicBezTo>
                    <a:pt x="294243" y="52775"/>
                    <a:pt x="304801" y="54654"/>
                    <a:pt x="315311" y="56756"/>
                  </a:cubicBezTo>
                  <a:cubicBezTo>
                    <a:pt x="356655" y="77429"/>
                    <a:pt x="333028" y="69249"/>
                    <a:pt x="397292" y="75675"/>
                  </a:cubicBezTo>
                  <a:cubicBezTo>
                    <a:pt x="557883" y="91734"/>
                    <a:pt x="384337" y="72834"/>
                    <a:pt x="523416" y="88287"/>
                  </a:cubicBezTo>
                  <a:cubicBezTo>
                    <a:pt x="573293" y="104915"/>
                    <a:pt x="515265" y="87269"/>
                    <a:pt x="624315" y="100900"/>
                  </a:cubicBezTo>
                  <a:cubicBezTo>
                    <a:pt x="630911" y="101724"/>
                    <a:pt x="636688" y="106051"/>
                    <a:pt x="643234" y="107206"/>
                  </a:cubicBezTo>
                  <a:cubicBezTo>
                    <a:pt x="672509" y="112372"/>
                    <a:pt x="702156" y="115182"/>
                    <a:pt x="731520" y="119818"/>
                  </a:cubicBezTo>
                  <a:cubicBezTo>
                    <a:pt x="742108" y="121490"/>
                    <a:pt x="752377" y="125155"/>
                    <a:pt x="763052" y="126125"/>
                  </a:cubicBezTo>
                  <a:cubicBezTo>
                    <a:pt x="798702" y="129366"/>
                    <a:pt x="834522" y="130329"/>
                    <a:pt x="870257" y="132431"/>
                  </a:cubicBezTo>
                  <a:lnTo>
                    <a:pt x="914400" y="138737"/>
                  </a:lnTo>
                  <a:cubicBezTo>
                    <a:pt x="961457" y="146167"/>
                    <a:pt x="1005484" y="155954"/>
                    <a:pt x="1053137" y="157656"/>
                  </a:cubicBezTo>
                  <a:cubicBezTo>
                    <a:pt x="1090950" y="159007"/>
                    <a:pt x="1128812" y="157656"/>
                    <a:pt x="1166649" y="157656"/>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a:solidFill>
                  <a:schemeClr val="tx2"/>
                </a:solidFill>
                <a:latin typeface="Segoe UI"/>
              </a:endParaRPr>
            </a:p>
          </p:txBody>
        </p:sp>
        <p:sp>
          <p:nvSpPr>
            <p:cNvPr id="7" name="Freeform: Shape 6">
              <a:extLst>
                <a:ext uri="{FF2B5EF4-FFF2-40B4-BE49-F238E27FC236}">
                  <a16:creationId xmlns:a16="http://schemas.microsoft.com/office/drawing/2014/main" id="{C3FDFC8A-6C6F-48D7-A2EE-9C5366F85C39}"/>
                </a:ext>
              </a:extLst>
            </p:cNvPr>
            <p:cNvSpPr/>
            <p:nvPr/>
          </p:nvSpPr>
          <p:spPr bwMode="auto">
            <a:xfrm>
              <a:off x="3512557" y="2598156"/>
              <a:ext cx="1166649" cy="164047"/>
            </a:xfrm>
            <a:custGeom>
              <a:avLst/>
              <a:gdLst>
                <a:gd name="connsiteX0" fmla="*/ 0 w 1166649"/>
                <a:gd name="connsiteY0" fmla="*/ 0 h 164047"/>
                <a:gd name="connsiteX1" fmla="*/ 37837 w 1166649"/>
                <a:gd name="connsiteY1" fmla="*/ 6306 h 164047"/>
                <a:gd name="connsiteX2" fmla="*/ 56756 w 1166649"/>
                <a:gd name="connsiteY2" fmla="*/ 12612 h 164047"/>
                <a:gd name="connsiteX3" fmla="*/ 107206 w 1166649"/>
                <a:gd name="connsiteY3" fmla="*/ 18919 h 164047"/>
                <a:gd name="connsiteX4" fmla="*/ 145043 w 1166649"/>
                <a:gd name="connsiteY4" fmla="*/ 31531 h 164047"/>
                <a:gd name="connsiteX5" fmla="*/ 163962 w 1166649"/>
                <a:gd name="connsiteY5" fmla="*/ 37837 h 164047"/>
                <a:gd name="connsiteX6" fmla="*/ 397291 w 1166649"/>
                <a:gd name="connsiteY6" fmla="*/ 50450 h 164047"/>
                <a:gd name="connsiteX7" fmla="*/ 479272 w 1166649"/>
                <a:gd name="connsiteY7" fmla="*/ 63062 h 164047"/>
                <a:gd name="connsiteX8" fmla="*/ 561253 w 1166649"/>
                <a:gd name="connsiteY8" fmla="*/ 75674 h 164047"/>
                <a:gd name="connsiteX9" fmla="*/ 895482 w 1166649"/>
                <a:gd name="connsiteY9" fmla="*/ 88287 h 164047"/>
                <a:gd name="connsiteX10" fmla="*/ 920706 w 1166649"/>
                <a:gd name="connsiteY10" fmla="*/ 113512 h 164047"/>
                <a:gd name="connsiteX11" fmla="*/ 945931 w 1166649"/>
                <a:gd name="connsiteY11" fmla="*/ 119818 h 164047"/>
                <a:gd name="connsiteX12" fmla="*/ 983769 w 1166649"/>
                <a:gd name="connsiteY12" fmla="*/ 132430 h 164047"/>
                <a:gd name="connsiteX13" fmla="*/ 1002687 w 1166649"/>
                <a:gd name="connsiteY13" fmla="*/ 138737 h 164047"/>
                <a:gd name="connsiteX14" fmla="*/ 1027912 w 1166649"/>
                <a:gd name="connsiteY14" fmla="*/ 151349 h 164047"/>
                <a:gd name="connsiteX15" fmla="*/ 1166649 w 1166649"/>
                <a:gd name="connsiteY15" fmla="*/ 163961 h 1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66649" h="164047">
                  <a:moveTo>
                    <a:pt x="0" y="0"/>
                  </a:moveTo>
                  <a:cubicBezTo>
                    <a:pt x="12612" y="2102"/>
                    <a:pt x="25355" y="3532"/>
                    <a:pt x="37837" y="6306"/>
                  </a:cubicBezTo>
                  <a:cubicBezTo>
                    <a:pt x="44326" y="7748"/>
                    <a:pt x="50216" y="11423"/>
                    <a:pt x="56756" y="12612"/>
                  </a:cubicBezTo>
                  <a:cubicBezTo>
                    <a:pt x="73430" y="15644"/>
                    <a:pt x="90389" y="16817"/>
                    <a:pt x="107206" y="18919"/>
                  </a:cubicBezTo>
                  <a:lnTo>
                    <a:pt x="145043" y="31531"/>
                  </a:lnTo>
                  <a:lnTo>
                    <a:pt x="163962" y="37837"/>
                  </a:lnTo>
                  <a:cubicBezTo>
                    <a:pt x="250715" y="66754"/>
                    <a:pt x="176209" y="43947"/>
                    <a:pt x="397291" y="50450"/>
                  </a:cubicBezTo>
                  <a:cubicBezTo>
                    <a:pt x="424618" y="54654"/>
                    <a:pt x="452044" y="58257"/>
                    <a:pt x="479272" y="63062"/>
                  </a:cubicBezTo>
                  <a:cubicBezTo>
                    <a:pt x="545017" y="74664"/>
                    <a:pt x="447448" y="66919"/>
                    <a:pt x="561253" y="75674"/>
                  </a:cubicBezTo>
                  <a:cubicBezTo>
                    <a:pt x="676738" y="84558"/>
                    <a:pt x="774989" y="84940"/>
                    <a:pt x="895482" y="88287"/>
                  </a:cubicBezTo>
                  <a:cubicBezTo>
                    <a:pt x="960344" y="109908"/>
                    <a:pt x="872659" y="75074"/>
                    <a:pt x="920706" y="113512"/>
                  </a:cubicBezTo>
                  <a:cubicBezTo>
                    <a:pt x="927474" y="118926"/>
                    <a:pt x="937629" y="117328"/>
                    <a:pt x="945931" y="119818"/>
                  </a:cubicBezTo>
                  <a:cubicBezTo>
                    <a:pt x="958665" y="123638"/>
                    <a:pt x="971156" y="128226"/>
                    <a:pt x="983769" y="132430"/>
                  </a:cubicBezTo>
                  <a:cubicBezTo>
                    <a:pt x="990075" y="134532"/>
                    <a:pt x="996742" y="135764"/>
                    <a:pt x="1002687" y="138737"/>
                  </a:cubicBezTo>
                  <a:cubicBezTo>
                    <a:pt x="1011095" y="142941"/>
                    <a:pt x="1018713" y="149412"/>
                    <a:pt x="1027912" y="151349"/>
                  </a:cubicBezTo>
                  <a:cubicBezTo>
                    <a:pt x="1097059" y="165906"/>
                    <a:pt x="1109213" y="163961"/>
                    <a:pt x="1166649" y="163961"/>
                  </a:cubicBezTo>
                </a:path>
              </a:pathLst>
            </a:cu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a:solidFill>
                  <a:schemeClr val="tx2"/>
                </a:solidFill>
                <a:latin typeface="Segoe UI"/>
              </a:endParaRPr>
            </a:p>
          </p:txBody>
        </p:sp>
        <p:sp>
          <p:nvSpPr>
            <p:cNvPr id="8" name="Freeform: Shape 7">
              <a:extLst>
                <a:ext uri="{FF2B5EF4-FFF2-40B4-BE49-F238E27FC236}">
                  <a16:creationId xmlns:a16="http://schemas.microsoft.com/office/drawing/2014/main" id="{BD4CF26F-003B-4A1B-B54F-4B9D79CEEB1C}"/>
                </a:ext>
              </a:extLst>
            </p:cNvPr>
            <p:cNvSpPr/>
            <p:nvPr/>
          </p:nvSpPr>
          <p:spPr bwMode="auto">
            <a:xfrm>
              <a:off x="11325948" y="2497258"/>
              <a:ext cx="946829" cy="334229"/>
            </a:xfrm>
            <a:custGeom>
              <a:avLst/>
              <a:gdLst>
                <a:gd name="connsiteX0" fmla="*/ 0 w 946829"/>
                <a:gd name="connsiteY0" fmla="*/ 321616 h 334229"/>
                <a:gd name="connsiteX1" fmla="*/ 75674 w 946829"/>
                <a:gd name="connsiteY1" fmla="*/ 327923 h 334229"/>
                <a:gd name="connsiteX2" fmla="*/ 100899 w 946829"/>
                <a:gd name="connsiteY2" fmla="*/ 334229 h 334229"/>
                <a:gd name="connsiteX3" fmla="*/ 201798 w 946829"/>
                <a:gd name="connsiteY3" fmla="*/ 327923 h 334229"/>
                <a:gd name="connsiteX4" fmla="*/ 258554 w 946829"/>
                <a:gd name="connsiteY4" fmla="*/ 315310 h 334229"/>
                <a:gd name="connsiteX5" fmla="*/ 302698 w 946829"/>
                <a:gd name="connsiteY5" fmla="*/ 296392 h 334229"/>
                <a:gd name="connsiteX6" fmla="*/ 353147 w 946829"/>
                <a:gd name="connsiteY6" fmla="*/ 283779 h 334229"/>
                <a:gd name="connsiteX7" fmla="*/ 390984 w 946829"/>
                <a:gd name="connsiteY7" fmla="*/ 271167 h 334229"/>
                <a:gd name="connsiteX8" fmla="*/ 416209 w 946829"/>
                <a:gd name="connsiteY8" fmla="*/ 264861 h 334229"/>
                <a:gd name="connsiteX9" fmla="*/ 460353 w 946829"/>
                <a:gd name="connsiteY9" fmla="*/ 233330 h 334229"/>
                <a:gd name="connsiteX10" fmla="*/ 472965 w 946829"/>
                <a:gd name="connsiteY10" fmla="*/ 220717 h 334229"/>
                <a:gd name="connsiteX11" fmla="*/ 510802 w 946829"/>
                <a:gd name="connsiteY11" fmla="*/ 208105 h 334229"/>
                <a:gd name="connsiteX12" fmla="*/ 523415 w 946829"/>
                <a:gd name="connsiteY12" fmla="*/ 189186 h 334229"/>
                <a:gd name="connsiteX13" fmla="*/ 542333 w 946829"/>
                <a:gd name="connsiteY13" fmla="*/ 182880 h 334229"/>
                <a:gd name="connsiteX14" fmla="*/ 561252 w 946829"/>
                <a:gd name="connsiteY14" fmla="*/ 163961 h 334229"/>
                <a:gd name="connsiteX15" fmla="*/ 586477 w 946829"/>
                <a:gd name="connsiteY15" fmla="*/ 126124 h 334229"/>
                <a:gd name="connsiteX16" fmla="*/ 599089 w 946829"/>
                <a:gd name="connsiteY16" fmla="*/ 107205 h 334229"/>
                <a:gd name="connsiteX17" fmla="*/ 618008 w 946829"/>
                <a:gd name="connsiteY17" fmla="*/ 100899 h 334229"/>
                <a:gd name="connsiteX18" fmla="*/ 655845 w 946829"/>
                <a:gd name="connsiteY18" fmla="*/ 69368 h 334229"/>
                <a:gd name="connsiteX19" fmla="*/ 718907 w 946829"/>
                <a:gd name="connsiteY19" fmla="*/ 56756 h 334229"/>
                <a:gd name="connsiteX20" fmla="*/ 756744 w 946829"/>
                <a:gd name="connsiteY20" fmla="*/ 50450 h 334229"/>
                <a:gd name="connsiteX21" fmla="*/ 863950 w 946829"/>
                <a:gd name="connsiteY21" fmla="*/ 18919 h 334229"/>
                <a:gd name="connsiteX22" fmla="*/ 901787 w 946829"/>
                <a:gd name="connsiteY22" fmla="*/ 12612 h 334229"/>
                <a:gd name="connsiteX23" fmla="*/ 945931 w 946829"/>
                <a:gd name="connsiteY23" fmla="*/ 6306 h 334229"/>
                <a:gd name="connsiteX24" fmla="*/ 945931 w 946829"/>
                <a:gd name="connsiteY24" fmla="*/ 0 h 3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46829" h="334229">
                  <a:moveTo>
                    <a:pt x="0" y="321616"/>
                  </a:moveTo>
                  <a:cubicBezTo>
                    <a:pt x="25225" y="323718"/>
                    <a:pt x="50557" y="324783"/>
                    <a:pt x="75674" y="327923"/>
                  </a:cubicBezTo>
                  <a:cubicBezTo>
                    <a:pt x="84274" y="328998"/>
                    <a:pt x="92232" y="334229"/>
                    <a:pt x="100899" y="334229"/>
                  </a:cubicBezTo>
                  <a:cubicBezTo>
                    <a:pt x="134598" y="334229"/>
                    <a:pt x="168165" y="330025"/>
                    <a:pt x="201798" y="327923"/>
                  </a:cubicBezTo>
                  <a:cubicBezTo>
                    <a:pt x="244382" y="313727"/>
                    <a:pt x="191973" y="330105"/>
                    <a:pt x="258554" y="315310"/>
                  </a:cubicBezTo>
                  <a:cubicBezTo>
                    <a:pt x="279030" y="310760"/>
                    <a:pt x="281937" y="305290"/>
                    <a:pt x="302698" y="296392"/>
                  </a:cubicBezTo>
                  <a:cubicBezTo>
                    <a:pt x="325029" y="286821"/>
                    <a:pt x="325990" y="291185"/>
                    <a:pt x="353147" y="283779"/>
                  </a:cubicBezTo>
                  <a:cubicBezTo>
                    <a:pt x="365973" y="280281"/>
                    <a:pt x="378086" y="274391"/>
                    <a:pt x="390984" y="271167"/>
                  </a:cubicBezTo>
                  <a:lnTo>
                    <a:pt x="416209" y="264861"/>
                  </a:lnTo>
                  <a:cubicBezTo>
                    <a:pt x="432586" y="253943"/>
                    <a:pt x="444716" y="246361"/>
                    <a:pt x="460353" y="233330"/>
                  </a:cubicBezTo>
                  <a:cubicBezTo>
                    <a:pt x="464921" y="229524"/>
                    <a:pt x="467647" y="223376"/>
                    <a:pt x="472965" y="220717"/>
                  </a:cubicBezTo>
                  <a:cubicBezTo>
                    <a:pt x="484856" y="214771"/>
                    <a:pt x="510802" y="208105"/>
                    <a:pt x="510802" y="208105"/>
                  </a:cubicBezTo>
                  <a:cubicBezTo>
                    <a:pt x="515006" y="201799"/>
                    <a:pt x="517497" y="193921"/>
                    <a:pt x="523415" y="189186"/>
                  </a:cubicBezTo>
                  <a:cubicBezTo>
                    <a:pt x="528606" y="185034"/>
                    <a:pt x="536802" y="186567"/>
                    <a:pt x="542333" y="182880"/>
                  </a:cubicBezTo>
                  <a:cubicBezTo>
                    <a:pt x="549754" y="177933"/>
                    <a:pt x="554946" y="170267"/>
                    <a:pt x="561252" y="163961"/>
                  </a:cubicBezTo>
                  <a:cubicBezTo>
                    <a:pt x="586676" y="113112"/>
                    <a:pt x="560795" y="158226"/>
                    <a:pt x="586477" y="126124"/>
                  </a:cubicBezTo>
                  <a:cubicBezTo>
                    <a:pt x="591212" y="120206"/>
                    <a:pt x="593171" y="111940"/>
                    <a:pt x="599089" y="107205"/>
                  </a:cubicBezTo>
                  <a:cubicBezTo>
                    <a:pt x="604280" y="103052"/>
                    <a:pt x="611702" y="103001"/>
                    <a:pt x="618008" y="100899"/>
                  </a:cubicBezTo>
                  <a:cubicBezTo>
                    <a:pt x="631954" y="86953"/>
                    <a:pt x="638286" y="78147"/>
                    <a:pt x="655845" y="69368"/>
                  </a:cubicBezTo>
                  <a:cubicBezTo>
                    <a:pt x="673685" y="60448"/>
                    <a:pt x="702126" y="59338"/>
                    <a:pt x="718907" y="56756"/>
                  </a:cubicBezTo>
                  <a:cubicBezTo>
                    <a:pt x="731545" y="54812"/>
                    <a:pt x="744206" y="52958"/>
                    <a:pt x="756744" y="50450"/>
                  </a:cubicBezTo>
                  <a:cubicBezTo>
                    <a:pt x="793440" y="43110"/>
                    <a:pt x="827254" y="26259"/>
                    <a:pt x="863950" y="18919"/>
                  </a:cubicBezTo>
                  <a:cubicBezTo>
                    <a:pt x="876488" y="16411"/>
                    <a:pt x="889149" y="14556"/>
                    <a:pt x="901787" y="12612"/>
                  </a:cubicBezTo>
                  <a:cubicBezTo>
                    <a:pt x="916478" y="10352"/>
                    <a:pt x="931639" y="10389"/>
                    <a:pt x="945931" y="6306"/>
                  </a:cubicBezTo>
                  <a:cubicBezTo>
                    <a:pt x="947952" y="5729"/>
                    <a:pt x="945931" y="2102"/>
                    <a:pt x="945931" y="0"/>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a:solidFill>
                  <a:schemeClr val="tx2"/>
                </a:solidFill>
                <a:latin typeface="Segoe UI"/>
              </a:endParaRPr>
            </a:p>
          </p:txBody>
        </p:sp>
        <p:sp>
          <p:nvSpPr>
            <p:cNvPr id="9" name="Freeform: Shape 8">
              <a:extLst>
                <a:ext uri="{FF2B5EF4-FFF2-40B4-BE49-F238E27FC236}">
                  <a16:creationId xmlns:a16="http://schemas.microsoft.com/office/drawing/2014/main" id="{D02B0F2C-07DB-45EB-B7C3-C4B04D01E733}"/>
                </a:ext>
              </a:extLst>
            </p:cNvPr>
            <p:cNvSpPr/>
            <p:nvPr/>
          </p:nvSpPr>
          <p:spPr bwMode="auto">
            <a:xfrm>
              <a:off x="7933208" y="2762119"/>
              <a:ext cx="1683758" cy="853388"/>
            </a:xfrm>
            <a:custGeom>
              <a:avLst/>
              <a:gdLst>
                <a:gd name="connsiteX0" fmla="*/ 0 w 1683758"/>
                <a:gd name="connsiteY0" fmla="*/ 0 h 853388"/>
                <a:gd name="connsiteX1" fmla="*/ 25225 w 1683758"/>
                <a:gd name="connsiteY1" fmla="*/ 75674 h 853388"/>
                <a:gd name="connsiteX2" fmla="*/ 37838 w 1683758"/>
                <a:gd name="connsiteY2" fmla="*/ 113511 h 853388"/>
                <a:gd name="connsiteX3" fmla="*/ 44144 w 1683758"/>
                <a:gd name="connsiteY3" fmla="*/ 132430 h 853388"/>
                <a:gd name="connsiteX4" fmla="*/ 56756 w 1683758"/>
                <a:gd name="connsiteY4" fmla="*/ 151349 h 853388"/>
                <a:gd name="connsiteX5" fmla="*/ 63062 w 1683758"/>
                <a:gd name="connsiteY5" fmla="*/ 170267 h 853388"/>
                <a:gd name="connsiteX6" fmla="*/ 75675 w 1683758"/>
                <a:gd name="connsiteY6" fmla="*/ 182880 h 853388"/>
                <a:gd name="connsiteX7" fmla="*/ 126124 w 1683758"/>
                <a:gd name="connsiteY7" fmla="*/ 208104 h 853388"/>
                <a:gd name="connsiteX8" fmla="*/ 214411 w 1683758"/>
                <a:gd name="connsiteY8" fmla="*/ 214411 h 853388"/>
                <a:gd name="connsiteX9" fmla="*/ 309004 w 1683758"/>
                <a:gd name="connsiteY9" fmla="*/ 227023 h 853388"/>
                <a:gd name="connsiteX10" fmla="*/ 334229 w 1683758"/>
                <a:gd name="connsiteY10" fmla="*/ 233329 h 853388"/>
                <a:gd name="connsiteX11" fmla="*/ 390985 w 1683758"/>
                <a:gd name="connsiteY11" fmla="*/ 245942 h 853388"/>
                <a:gd name="connsiteX12" fmla="*/ 416210 w 1683758"/>
                <a:gd name="connsiteY12" fmla="*/ 252248 h 853388"/>
                <a:gd name="connsiteX13" fmla="*/ 447741 w 1683758"/>
                <a:gd name="connsiteY13" fmla="*/ 258554 h 853388"/>
                <a:gd name="connsiteX14" fmla="*/ 466660 w 1683758"/>
                <a:gd name="connsiteY14" fmla="*/ 264860 h 853388"/>
                <a:gd name="connsiteX15" fmla="*/ 536028 w 1683758"/>
                <a:gd name="connsiteY15" fmla="*/ 271167 h 853388"/>
                <a:gd name="connsiteX16" fmla="*/ 554946 w 1683758"/>
                <a:gd name="connsiteY16" fmla="*/ 277473 h 853388"/>
                <a:gd name="connsiteX17" fmla="*/ 586478 w 1683758"/>
                <a:gd name="connsiteY17" fmla="*/ 283779 h 853388"/>
                <a:gd name="connsiteX18" fmla="*/ 605396 w 1683758"/>
                <a:gd name="connsiteY18" fmla="*/ 296391 h 853388"/>
                <a:gd name="connsiteX19" fmla="*/ 643233 w 1683758"/>
                <a:gd name="connsiteY19" fmla="*/ 309004 h 853388"/>
                <a:gd name="connsiteX20" fmla="*/ 662152 w 1683758"/>
                <a:gd name="connsiteY20" fmla="*/ 315310 h 853388"/>
                <a:gd name="connsiteX21" fmla="*/ 681071 w 1683758"/>
                <a:gd name="connsiteY21" fmla="*/ 321616 h 853388"/>
                <a:gd name="connsiteX22" fmla="*/ 699989 w 1683758"/>
                <a:gd name="connsiteY22" fmla="*/ 353147 h 853388"/>
                <a:gd name="connsiteX23" fmla="*/ 731520 w 1683758"/>
                <a:gd name="connsiteY23" fmla="*/ 378372 h 853388"/>
                <a:gd name="connsiteX24" fmla="*/ 750439 w 1683758"/>
                <a:gd name="connsiteY24" fmla="*/ 479271 h 853388"/>
                <a:gd name="connsiteX25" fmla="*/ 756745 w 1683758"/>
                <a:gd name="connsiteY25" fmla="*/ 510802 h 853388"/>
                <a:gd name="connsiteX26" fmla="*/ 763051 w 1683758"/>
                <a:gd name="connsiteY26" fmla="*/ 529721 h 853388"/>
                <a:gd name="connsiteX27" fmla="*/ 781970 w 1683758"/>
                <a:gd name="connsiteY27" fmla="*/ 536027 h 853388"/>
                <a:gd name="connsiteX28" fmla="*/ 800889 w 1683758"/>
                <a:gd name="connsiteY28" fmla="*/ 573864 h 853388"/>
                <a:gd name="connsiteX29" fmla="*/ 819807 w 1683758"/>
                <a:gd name="connsiteY29" fmla="*/ 611702 h 853388"/>
                <a:gd name="connsiteX30" fmla="*/ 838726 w 1683758"/>
                <a:gd name="connsiteY30" fmla="*/ 618008 h 853388"/>
                <a:gd name="connsiteX31" fmla="*/ 851338 w 1683758"/>
                <a:gd name="connsiteY31" fmla="*/ 636927 h 853388"/>
                <a:gd name="connsiteX32" fmla="*/ 857644 w 1683758"/>
                <a:gd name="connsiteY32" fmla="*/ 662151 h 853388"/>
                <a:gd name="connsiteX33" fmla="*/ 882869 w 1683758"/>
                <a:gd name="connsiteY33" fmla="*/ 718907 h 853388"/>
                <a:gd name="connsiteX34" fmla="*/ 895482 w 1683758"/>
                <a:gd name="connsiteY34" fmla="*/ 756744 h 853388"/>
                <a:gd name="connsiteX35" fmla="*/ 901788 w 1683758"/>
                <a:gd name="connsiteY35" fmla="*/ 826113 h 853388"/>
                <a:gd name="connsiteX36" fmla="*/ 920706 w 1683758"/>
                <a:gd name="connsiteY36" fmla="*/ 832419 h 853388"/>
                <a:gd name="connsiteX37" fmla="*/ 1040524 w 1683758"/>
                <a:gd name="connsiteY37" fmla="*/ 838725 h 853388"/>
                <a:gd name="connsiteX38" fmla="*/ 1097280 w 1683758"/>
                <a:gd name="connsiteY38" fmla="*/ 832419 h 853388"/>
                <a:gd name="connsiteX39" fmla="*/ 1128811 w 1683758"/>
                <a:gd name="connsiteY39" fmla="*/ 813500 h 853388"/>
                <a:gd name="connsiteX40" fmla="*/ 1147730 w 1683758"/>
                <a:gd name="connsiteY40" fmla="*/ 807194 h 853388"/>
                <a:gd name="connsiteX41" fmla="*/ 1172955 w 1683758"/>
                <a:gd name="connsiteY41" fmla="*/ 794582 h 853388"/>
                <a:gd name="connsiteX42" fmla="*/ 1191873 w 1683758"/>
                <a:gd name="connsiteY42" fmla="*/ 781969 h 853388"/>
                <a:gd name="connsiteX43" fmla="*/ 1210792 w 1683758"/>
                <a:gd name="connsiteY43" fmla="*/ 775663 h 853388"/>
                <a:gd name="connsiteX44" fmla="*/ 1236017 w 1683758"/>
                <a:gd name="connsiteY44" fmla="*/ 763051 h 853388"/>
                <a:gd name="connsiteX45" fmla="*/ 1254935 w 1683758"/>
                <a:gd name="connsiteY45" fmla="*/ 750438 h 853388"/>
                <a:gd name="connsiteX46" fmla="*/ 1292773 w 1683758"/>
                <a:gd name="connsiteY46" fmla="*/ 744132 h 853388"/>
                <a:gd name="connsiteX47" fmla="*/ 1336916 w 1683758"/>
                <a:gd name="connsiteY47" fmla="*/ 731520 h 853388"/>
                <a:gd name="connsiteX48" fmla="*/ 1355835 w 1683758"/>
                <a:gd name="connsiteY48" fmla="*/ 725213 h 853388"/>
                <a:gd name="connsiteX49" fmla="*/ 1374753 w 1683758"/>
                <a:gd name="connsiteY49" fmla="*/ 706295 h 853388"/>
                <a:gd name="connsiteX50" fmla="*/ 1437815 w 1683758"/>
                <a:gd name="connsiteY50" fmla="*/ 687376 h 853388"/>
                <a:gd name="connsiteX51" fmla="*/ 1488265 w 1683758"/>
                <a:gd name="connsiteY51" fmla="*/ 662151 h 853388"/>
                <a:gd name="connsiteX52" fmla="*/ 1532409 w 1683758"/>
                <a:gd name="connsiteY52" fmla="*/ 655845 h 853388"/>
                <a:gd name="connsiteX53" fmla="*/ 1608083 w 1683758"/>
                <a:gd name="connsiteY53" fmla="*/ 643233 h 853388"/>
                <a:gd name="connsiteX54" fmla="*/ 1633308 w 1683758"/>
                <a:gd name="connsiteY54" fmla="*/ 636927 h 853388"/>
                <a:gd name="connsiteX55" fmla="*/ 1683758 w 1683758"/>
                <a:gd name="connsiteY55" fmla="*/ 630620 h 85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83758" h="853388">
                  <a:moveTo>
                    <a:pt x="0" y="0"/>
                  </a:moveTo>
                  <a:lnTo>
                    <a:pt x="25225" y="75674"/>
                  </a:lnTo>
                  <a:lnTo>
                    <a:pt x="37838" y="113511"/>
                  </a:lnTo>
                  <a:cubicBezTo>
                    <a:pt x="39940" y="119817"/>
                    <a:pt x="40457" y="126899"/>
                    <a:pt x="44144" y="132430"/>
                  </a:cubicBezTo>
                  <a:cubicBezTo>
                    <a:pt x="48348" y="138736"/>
                    <a:pt x="53367" y="144570"/>
                    <a:pt x="56756" y="151349"/>
                  </a:cubicBezTo>
                  <a:cubicBezTo>
                    <a:pt x="59729" y="157294"/>
                    <a:pt x="59642" y="164567"/>
                    <a:pt x="63062" y="170267"/>
                  </a:cubicBezTo>
                  <a:cubicBezTo>
                    <a:pt x="66121" y="175365"/>
                    <a:pt x="71032" y="179166"/>
                    <a:pt x="75675" y="182880"/>
                  </a:cubicBezTo>
                  <a:cubicBezTo>
                    <a:pt x="88392" y="193054"/>
                    <a:pt x="110886" y="205698"/>
                    <a:pt x="126124" y="208104"/>
                  </a:cubicBezTo>
                  <a:cubicBezTo>
                    <a:pt x="155267" y="212706"/>
                    <a:pt x="184982" y="212309"/>
                    <a:pt x="214411" y="214411"/>
                  </a:cubicBezTo>
                  <a:cubicBezTo>
                    <a:pt x="261666" y="230162"/>
                    <a:pt x="210245" y="214679"/>
                    <a:pt x="309004" y="227023"/>
                  </a:cubicBezTo>
                  <a:cubicBezTo>
                    <a:pt x="317604" y="228098"/>
                    <a:pt x="325784" y="231380"/>
                    <a:pt x="334229" y="233329"/>
                  </a:cubicBezTo>
                  <a:lnTo>
                    <a:pt x="390985" y="245942"/>
                  </a:lnTo>
                  <a:cubicBezTo>
                    <a:pt x="399430" y="247891"/>
                    <a:pt x="407749" y="250368"/>
                    <a:pt x="416210" y="252248"/>
                  </a:cubicBezTo>
                  <a:cubicBezTo>
                    <a:pt x="426673" y="254573"/>
                    <a:pt x="437343" y="255954"/>
                    <a:pt x="447741" y="258554"/>
                  </a:cubicBezTo>
                  <a:cubicBezTo>
                    <a:pt x="454190" y="260166"/>
                    <a:pt x="460079" y="263920"/>
                    <a:pt x="466660" y="264860"/>
                  </a:cubicBezTo>
                  <a:cubicBezTo>
                    <a:pt x="489645" y="268144"/>
                    <a:pt x="512905" y="269065"/>
                    <a:pt x="536028" y="271167"/>
                  </a:cubicBezTo>
                  <a:cubicBezTo>
                    <a:pt x="542334" y="273269"/>
                    <a:pt x="548497" y="275861"/>
                    <a:pt x="554946" y="277473"/>
                  </a:cubicBezTo>
                  <a:cubicBezTo>
                    <a:pt x="565345" y="280073"/>
                    <a:pt x="576442" y="280016"/>
                    <a:pt x="586478" y="283779"/>
                  </a:cubicBezTo>
                  <a:cubicBezTo>
                    <a:pt x="593574" y="286440"/>
                    <a:pt x="598470" y="293313"/>
                    <a:pt x="605396" y="296391"/>
                  </a:cubicBezTo>
                  <a:cubicBezTo>
                    <a:pt x="617545" y="301791"/>
                    <a:pt x="630621" y="304800"/>
                    <a:pt x="643233" y="309004"/>
                  </a:cubicBezTo>
                  <a:lnTo>
                    <a:pt x="662152" y="315310"/>
                  </a:lnTo>
                  <a:lnTo>
                    <a:pt x="681071" y="321616"/>
                  </a:lnTo>
                  <a:cubicBezTo>
                    <a:pt x="713030" y="353578"/>
                    <a:pt x="675427" y="312212"/>
                    <a:pt x="699989" y="353147"/>
                  </a:cubicBezTo>
                  <a:cubicBezTo>
                    <a:pt x="705980" y="363132"/>
                    <a:pt x="722927" y="372643"/>
                    <a:pt x="731520" y="378372"/>
                  </a:cubicBezTo>
                  <a:cubicBezTo>
                    <a:pt x="753432" y="466018"/>
                    <a:pt x="736910" y="391331"/>
                    <a:pt x="750439" y="479271"/>
                  </a:cubicBezTo>
                  <a:cubicBezTo>
                    <a:pt x="752069" y="489865"/>
                    <a:pt x="754145" y="500404"/>
                    <a:pt x="756745" y="510802"/>
                  </a:cubicBezTo>
                  <a:cubicBezTo>
                    <a:pt x="758357" y="517251"/>
                    <a:pt x="758351" y="525021"/>
                    <a:pt x="763051" y="529721"/>
                  </a:cubicBezTo>
                  <a:cubicBezTo>
                    <a:pt x="767751" y="534421"/>
                    <a:pt x="775664" y="533925"/>
                    <a:pt x="781970" y="536027"/>
                  </a:cubicBezTo>
                  <a:cubicBezTo>
                    <a:pt x="797524" y="598244"/>
                    <a:pt x="776792" y="533704"/>
                    <a:pt x="800889" y="573864"/>
                  </a:cubicBezTo>
                  <a:cubicBezTo>
                    <a:pt x="811435" y="591440"/>
                    <a:pt x="801406" y="596981"/>
                    <a:pt x="819807" y="611702"/>
                  </a:cubicBezTo>
                  <a:cubicBezTo>
                    <a:pt x="824998" y="615855"/>
                    <a:pt x="832420" y="615906"/>
                    <a:pt x="838726" y="618008"/>
                  </a:cubicBezTo>
                  <a:cubicBezTo>
                    <a:pt x="842930" y="624314"/>
                    <a:pt x="848352" y="629961"/>
                    <a:pt x="851338" y="636927"/>
                  </a:cubicBezTo>
                  <a:cubicBezTo>
                    <a:pt x="854752" y="644893"/>
                    <a:pt x="855154" y="653850"/>
                    <a:pt x="857644" y="662151"/>
                  </a:cubicBezTo>
                  <a:cubicBezTo>
                    <a:pt x="869924" y="703085"/>
                    <a:pt x="864438" y="691261"/>
                    <a:pt x="882869" y="718907"/>
                  </a:cubicBezTo>
                  <a:cubicBezTo>
                    <a:pt x="887073" y="731519"/>
                    <a:pt x="894278" y="743504"/>
                    <a:pt x="895482" y="756744"/>
                  </a:cubicBezTo>
                  <a:cubicBezTo>
                    <a:pt x="897584" y="779867"/>
                    <a:pt x="894446" y="804086"/>
                    <a:pt x="901788" y="826113"/>
                  </a:cubicBezTo>
                  <a:cubicBezTo>
                    <a:pt x="903890" y="832419"/>
                    <a:pt x="914400" y="830317"/>
                    <a:pt x="920706" y="832419"/>
                  </a:cubicBezTo>
                  <a:cubicBezTo>
                    <a:pt x="958316" y="870026"/>
                    <a:pt x="929285" y="847282"/>
                    <a:pt x="1040524" y="838725"/>
                  </a:cubicBezTo>
                  <a:cubicBezTo>
                    <a:pt x="1059503" y="837265"/>
                    <a:pt x="1078361" y="834521"/>
                    <a:pt x="1097280" y="832419"/>
                  </a:cubicBezTo>
                  <a:cubicBezTo>
                    <a:pt x="1150875" y="814555"/>
                    <a:pt x="1085529" y="839470"/>
                    <a:pt x="1128811" y="813500"/>
                  </a:cubicBezTo>
                  <a:cubicBezTo>
                    <a:pt x="1134511" y="810080"/>
                    <a:pt x="1141620" y="809812"/>
                    <a:pt x="1147730" y="807194"/>
                  </a:cubicBezTo>
                  <a:cubicBezTo>
                    <a:pt x="1156371" y="803491"/>
                    <a:pt x="1164793" y="799246"/>
                    <a:pt x="1172955" y="794582"/>
                  </a:cubicBezTo>
                  <a:cubicBezTo>
                    <a:pt x="1179535" y="790822"/>
                    <a:pt x="1185094" y="785359"/>
                    <a:pt x="1191873" y="781969"/>
                  </a:cubicBezTo>
                  <a:cubicBezTo>
                    <a:pt x="1197819" y="778996"/>
                    <a:pt x="1204682" y="778281"/>
                    <a:pt x="1210792" y="775663"/>
                  </a:cubicBezTo>
                  <a:cubicBezTo>
                    <a:pt x="1219433" y="771960"/>
                    <a:pt x="1227855" y="767715"/>
                    <a:pt x="1236017" y="763051"/>
                  </a:cubicBezTo>
                  <a:cubicBezTo>
                    <a:pt x="1242597" y="759291"/>
                    <a:pt x="1247745" y="752835"/>
                    <a:pt x="1254935" y="750438"/>
                  </a:cubicBezTo>
                  <a:cubicBezTo>
                    <a:pt x="1267065" y="746394"/>
                    <a:pt x="1280160" y="746234"/>
                    <a:pt x="1292773" y="744132"/>
                  </a:cubicBezTo>
                  <a:cubicBezTo>
                    <a:pt x="1338146" y="729008"/>
                    <a:pt x="1281469" y="747362"/>
                    <a:pt x="1336916" y="731520"/>
                  </a:cubicBezTo>
                  <a:cubicBezTo>
                    <a:pt x="1343308" y="729694"/>
                    <a:pt x="1349529" y="727315"/>
                    <a:pt x="1355835" y="725213"/>
                  </a:cubicBezTo>
                  <a:cubicBezTo>
                    <a:pt x="1362141" y="718907"/>
                    <a:pt x="1366957" y="710626"/>
                    <a:pt x="1374753" y="706295"/>
                  </a:cubicBezTo>
                  <a:cubicBezTo>
                    <a:pt x="1387316" y="699315"/>
                    <a:pt x="1421529" y="691447"/>
                    <a:pt x="1437815" y="687376"/>
                  </a:cubicBezTo>
                  <a:cubicBezTo>
                    <a:pt x="1456855" y="674683"/>
                    <a:pt x="1463584" y="668321"/>
                    <a:pt x="1488265" y="662151"/>
                  </a:cubicBezTo>
                  <a:cubicBezTo>
                    <a:pt x="1502685" y="658546"/>
                    <a:pt x="1517694" y="657947"/>
                    <a:pt x="1532409" y="655845"/>
                  </a:cubicBezTo>
                  <a:cubicBezTo>
                    <a:pt x="1574653" y="641764"/>
                    <a:pt x="1529635" y="655301"/>
                    <a:pt x="1608083" y="643233"/>
                  </a:cubicBezTo>
                  <a:cubicBezTo>
                    <a:pt x="1616649" y="641915"/>
                    <a:pt x="1624781" y="638477"/>
                    <a:pt x="1633308" y="636927"/>
                  </a:cubicBezTo>
                  <a:cubicBezTo>
                    <a:pt x="1669630" y="630323"/>
                    <a:pt x="1663988" y="630620"/>
                    <a:pt x="1683758" y="630620"/>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a:solidFill>
                  <a:schemeClr val="tx2"/>
                </a:solidFill>
                <a:latin typeface="Segoe UI"/>
              </a:endParaRPr>
            </a:p>
          </p:txBody>
        </p:sp>
        <p:sp>
          <p:nvSpPr>
            <p:cNvPr id="10" name="Freeform: Shape 9">
              <a:extLst>
                <a:ext uri="{FF2B5EF4-FFF2-40B4-BE49-F238E27FC236}">
                  <a16:creationId xmlns:a16="http://schemas.microsoft.com/office/drawing/2014/main" id="{CF248898-4FFF-4056-8338-CCAF9910859E}"/>
                </a:ext>
              </a:extLst>
            </p:cNvPr>
            <p:cNvSpPr/>
            <p:nvPr/>
          </p:nvSpPr>
          <p:spPr bwMode="auto">
            <a:xfrm>
              <a:off x="8570137" y="3380127"/>
              <a:ext cx="687376" cy="1434415"/>
            </a:xfrm>
            <a:custGeom>
              <a:avLst/>
              <a:gdLst>
                <a:gd name="connsiteX0" fmla="*/ 687376 w 687376"/>
                <a:gd name="connsiteY0" fmla="*/ 0 h 1434415"/>
                <a:gd name="connsiteX1" fmla="*/ 681070 w 687376"/>
                <a:gd name="connsiteY1" fmla="*/ 88287 h 1434415"/>
                <a:gd name="connsiteX2" fmla="*/ 674764 w 687376"/>
                <a:gd name="connsiteY2" fmla="*/ 119818 h 1434415"/>
                <a:gd name="connsiteX3" fmla="*/ 655845 w 687376"/>
                <a:gd name="connsiteY3" fmla="*/ 145043 h 1434415"/>
                <a:gd name="connsiteX4" fmla="*/ 630620 w 687376"/>
                <a:gd name="connsiteY4" fmla="*/ 195492 h 1434415"/>
                <a:gd name="connsiteX5" fmla="*/ 624314 w 687376"/>
                <a:gd name="connsiteY5" fmla="*/ 214411 h 1434415"/>
                <a:gd name="connsiteX6" fmla="*/ 611702 w 687376"/>
                <a:gd name="connsiteY6" fmla="*/ 239636 h 1434415"/>
                <a:gd name="connsiteX7" fmla="*/ 592783 w 687376"/>
                <a:gd name="connsiteY7" fmla="*/ 283779 h 1434415"/>
                <a:gd name="connsiteX8" fmla="*/ 586477 w 687376"/>
                <a:gd name="connsiteY8" fmla="*/ 302698 h 1434415"/>
                <a:gd name="connsiteX9" fmla="*/ 573864 w 687376"/>
                <a:gd name="connsiteY9" fmla="*/ 353147 h 1434415"/>
                <a:gd name="connsiteX10" fmla="*/ 561252 w 687376"/>
                <a:gd name="connsiteY10" fmla="*/ 365760 h 1434415"/>
                <a:gd name="connsiteX11" fmla="*/ 554946 w 687376"/>
                <a:gd name="connsiteY11" fmla="*/ 384679 h 1434415"/>
                <a:gd name="connsiteX12" fmla="*/ 542333 w 687376"/>
                <a:gd name="connsiteY12" fmla="*/ 441434 h 1434415"/>
                <a:gd name="connsiteX13" fmla="*/ 529721 w 687376"/>
                <a:gd name="connsiteY13" fmla="*/ 454047 h 1434415"/>
                <a:gd name="connsiteX14" fmla="*/ 523415 w 687376"/>
                <a:gd name="connsiteY14" fmla="*/ 472965 h 1434415"/>
                <a:gd name="connsiteX15" fmla="*/ 504496 w 687376"/>
                <a:gd name="connsiteY15" fmla="*/ 485578 h 1434415"/>
                <a:gd name="connsiteX16" fmla="*/ 485578 w 687376"/>
                <a:gd name="connsiteY16" fmla="*/ 504496 h 1434415"/>
                <a:gd name="connsiteX17" fmla="*/ 460353 w 687376"/>
                <a:gd name="connsiteY17" fmla="*/ 548640 h 1434415"/>
                <a:gd name="connsiteX18" fmla="*/ 441434 w 687376"/>
                <a:gd name="connsiteY18" fmla="*/ 592783 h 1434415"/>
                <a:gd name="connsiteX19" fmla="*/ 428822 w 687376"/>
                <a:gd name="connsiteY19" fmla="*/ 605396 h 1434415"/>
                <a:gd name="connsiteX20" fmla="*/ 422515 w 687376"/>
                <a:gd name="connsiteY20" fmla="*/ 643233 h 1434415"/>
                <a:gd name="connsiteX21" fmla="*/ 403597 w 687376"/>
                <a:gd name="connsiteY21" fmla="*/ 693683 h 1434415"/>
                <a:gd name="connsiteX22" fmla="*/ 372066 w 687376"/>
                <a:gd name="connsiteY22" fmla="*/ 737826 h 1434415"/>
                <a:gd name="connsiteX23" fmla="*/ 353147 w 687376"/>
                <a:gd name="connsiteY23" fmla="*/ 769357 h 1434415"/>
                <a:gd name="connsiteX24" fmla="*/ 346841 w 687376"/>
                <a:gd name="connsiteY24" fmla="*/ 788276 h 1434415"/>
                <a:gd name="connsiteX25" fmla="*/ 334229 w 687376"/>
                <a:gd name="connsiteY25" fmla="*/ 807194 h 1434415"/>
                <a:gd name="connsiteX26" fmla="*/ 327922 w 687376"/>
                <a:gd name="connsiteY26" fmla="*/ 826113 h 1434415"/>
                <a:gd name="connsiteX27" fmla="*/ 315310 w 687376"/>
                <a:gd name="connsiteY27" fmla="*/ 845032 h 1434415"/>
                <a:gd name="connsiteX28" fmla="*/ 271167 w 687376"/>
                <a:gd name="connsiteY28" fmla="*/ 971156 h 1434415"/>
                <a:gd name="connsiteX29" fmla="*/ 264860 w 687376"/>
                <a:gd name="connsiteY29" fmla="*/ 1128811 h 1434415"/>
                <a:gd name="connsiteX30" fmla="*/ 252248 w 687376"/>
                <a:gd name="connsiteY30" fmla="*/ 1147730 h 1434415"/>
                <a:gd name="connsiteX31" fmla="*/ 245942 w 687376"/>
                <a:gd name="connsiteY31" fmla="*/ 1185567 h 1434415"/>
                <a:gd name="connsiteX32" fmla="*/ 239635 w 687376"/>
                <a:gd name="connsiteY32" fmla="*/ 1204485 h 1434415"/>
                <a:gd name="connsiteX33" fmla="*/ 233329 w 687376"/>
                <a:gd name="connsiteY33" fmla="*/ 1236016 h 1434415"/>
                <a:gd name="connsiteX34" fmla="*/ 220717 w 687376"/>
                <a:gd name="connsiteY34" fmla="*/ 1280160 h 1434415"/>
                <a:gd name="connsiteX35" fmla="*/ 214411 w 687376"/>
                <a:gd name="connsiteY35" fmla="*/ 1324303 h 1434415"/>
                <a:gd name="connsiteX36" fmla="*/ 208104 w 687376"/>
                <a:gd name="connsiteY36" fmla="*/ 1381059 h 1434415"/>
                <a:gd name="connsiteX37" fmla="*/ 195492 w 687376"/>
                <a:gd name="connsiteY37" fmla="*/ 1393672 h 1434415"/>
                <a:gd name="connsiteX38" fmla="*/ 182880 w 687376"/>
                <a:gd name="connsiteY38" fmla="*/ 1412590 h 1434415"/>
                <a:gd name="connsiteX39" fmla="*/ 145042 w 687376"/>
                <a:gd name="connsiteY39" fmla="*/ 1425203 h 1434415"/>
                <a:gd name="connsiteX40" fmla="*/ 0 w 687376"/>
                <a:gd name="connsiteY40" fmla="*/ 1431509 h 143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87376" h="1434415">
                  <a:moveTo>
                    <a:pt x="687376" y="0"/>
                  </a:moveTo>
                  <a:cubicBezTo>
                    <a:pt x="685274" y="29429"/>
                    <a:pt x="684159" y="58945"/>
                    <a:pt x="681070" y="88287"/>
                  </a:cubicBezTo>
                  <a:cubicBezTo>
                    <a:pt x="679948" y="98947"/>
                    <a:pt x="679117" y="110023"/>
                    <a:pt x="674764" y="119818"/>
                  </a:cubicBezTo>
                  <a:cubicBezTo>
                    <a:pt x="670495" y="129423"/>
                    <a:pt x="662151" y="136635"/>
                    <a:pt x="655845" y="145043"/>
                  </a:cubicBezTo>
                  <a:cubicBezTo>
                    <a:pt x="641353" y="188520"/>
                    <a:pt x="652634" y="173480"/>
                    <a:pt x="630620" y="195492"/>
                  </a:cubicBezTo>
                  <a:cubicBezTo>
                    <a:pt x="628518" y="201798"/>
                    <a:pt x="626932" y="208301"/>
                    <a:pt x="624314" y="214411"/>
                  </a:cubicBezTo>
                  <a:cubicBezTo>
                    <a:pt x="620611" y="223052"/>
                    <a:pt x="615003" y="230834"/>
                    <a:pt x="611702" y="239636"/>
                  </a:cubicBezTo>
                  <a:cubicBezTo>
                    <a:pt x="594250" y="286173"/>
                    <a:pt x="618340" y="245443"/>
                    <a:pt x="592783" y="283779"/>
                  </a:cubicBezTo>
                  <a:cubicBezTo>
                    <a:pt x="590681" y="290085"/>
                    <a:pt x="588089" y="296249"/>
                    <a:pt x="586477" y="302698"/>
                  </a:cubicBezTo>
                  <a:cubicBezTo>
                    <a:pt x="584538" y="310456"/>
                    <a:pt x="580044" y="342846"/>
                    <a:pt x="573864" y="353147"/>
                  </a:cubicBezTo>
                  <a:cubicBezTo>
                    <a:pt x="570805" y="358245"/>
                    <a:pt x="565456" y="361556"/>
                    <a:pt x="561252" y="365760"/>
                  </a:cubicBezTo>
                  <a:cubicBezTo>
                    <a:pt x="559150" y="372066"/>
                    <a:pt x="556388" y="378190"/>
                    <a:pt x="554946" y="384679"/>
                  </a:cubicBezTo>
                  <a:cubicBezTo>
                    <a:pt x="552996" y="393452"/>
                    <a:pt x="549851" y="428904"/>
                    <a:pt x="542333" y="441434"/>
                  </a:cubicBezTo>
                  <a:cubicBezTo>
                    <a:pt x="539274" y="446532"/>
                    <a:pt x="533925" y="449843"/>
                    <a:pt x="529721" y="454047"/>
                  </a:cubicBezTo>
                  <a:cubicBezTo>
                    <a:pt x="527619" y="460353"/>
                    <a:pt x="527567" y="467774"/>
                    <a:pt x="523415" y="472965"/>
                  </a:cubicBezTo>
                  <a:cubicBezTo>
                    <a:pt x="518680" y="478883"/>
                    <a:pt x="510319" y="480726"/>
                    <a:pt x="504496" y="485578"/>
                  </a:cubicBezTo>
                  <a:cubicBezTo>
                    <a:pt x="497645" y="491287"/>
                    <a:pt x="491884" y="498190"/>
                    <a:pt x="485578" y="504496"/>
                  </a:cubicBezTo>
                  <a:cubicBezTo>
                    <a:pt x="473363" y="553352"/>
                    <a:pt x="489253" y="508179"/>
                    <a:pt x="460353" y="548640"/>
                  </a:cubicBezTo>
                  <a:cubicBezTo>
                    <a:pt x="414222" y="613225"/>
                    <a:pt x="472311" y="541320"/>
                    <a:pt x="441434" y="592783"/>
                  </a:cubicBezTo>
                  <a:cubicBezTo>
                    <a:pt x="438375" y="597881"/>
                    <a:pt x="433026" y="601192"/>
                    <a:pt x="428822" y="605396"/>
                  </a:cubicBezTo>
                  <a:cubicBezTo>
                    <a:pt x="426720" y="618008"/>
                    <a:pt x="425289" y="630751"/>
                    <a:pt x="422515" y="643233"/>
                  </a:cubicBezTo>
                  <a:cubicBezTo>
                    <a:pt x="419837" y="655284"/>
                    <a:pt x="406404" y="685963"/>
                    <a:pt x="403597" y="693683"/>
                  </a:cubicBezTo>
                  <a:cubicBezTo>
                    <a:pt x="387360" y="738333"/>
                    <a:pt x="404357" y="727062"/>
                    <a:pt x="372066" y="737826"/>
                  </a:cubicBezTo>
                  <a:cubicBezTo>
                    <a:pt x="354202" y="791421"/>
                    <a:pt x="379117" y="726075"/>
                    <a:pt x="353147" y="769357"/>
                  </a:cubicBezTo>
                  <a:cubicBezTo>
                    <a:pt x="349727" y="775057"/>
                    <a:pt x="349814" y="782330"/>
                    <a:pt x="346841" y="788276"/>
                  </a:cubicBezTo>
                  <a:cubicBezTo>
                    <a:pt x="343452" y="795055"/>
                    <a:pt x="337618" y="800415"/>
                    <a:pt x="334229" y="807194"/>
                  </a:cubicBezTo>
                  <a:cubicBezTo>
                    <a:pt x="331256" y="813140"/>
                    <a:pt x="330895" y="820167"/>
                    <a:pt x="327922" y="826113"/>
                  </a:cubicBezTo>
                  <a:cubicBezTo>
                    <a:pt x="324533" y="832892"/>
                    <a:pt x="318251" y="838047"/>
                    <a:pt x="315310" y="845032"/>
                  </a:cubicBezTo>
                  <a:cubicBezTo>
                    <a:pt x="281766" y="924700"/>
                    <a:pt x="284414" y="918164"/>
                    <a:pt x="271167" y="971156"/>
                  </a:cubicBezTo>
                  <a:cubicBezTo>
                    <a:pt x="269065" y="1023708"/>
                    <a:pt x="270463" y="1076517"/>
                    <a:pt x="264860" y="1128811"/>
                  </a:cubicBezTo>
                  <a:cubicBezTo>
                    <a:pt x="264053" y="1136347"/>
                    <a:pt x="254645" y="1140540"/>
                    <a:pt x="252248" y="1147730"/>
                  </a:cubicBezTo>
                  <a:cubicBezTo>
                    <a:pt x="248205" y="1159860"/>
                    <a:pt x="248716" y="1173085"/>
                    <a:pt x="245942" y="1185567"/>
                  </a:cubicBezTo>
                  <a:cubicBezTo>
                    <a:pt x="244500" y="1192056"/>
                    <a:pt x="241247" y="1198036"/>
                    <a:pt x="239635" y="1204485"/>
                  </a:cubicBezTo>
                  <a:cubicBezTo>
                    <a:pt x="237035" y="1214883"/>
                    <a:pt x="235654" y="1225553"/>
                    <a:pt x="233329" y="1236016"/>
                  </a:cubicBezTo>
                  <a:cubicBezTo>
                    <a:pt x="228050" y="1259771"/>
                    <a:pt x="227739" y="1259092"/>
                    <a:pt x="220717" y="1280160"/>
                  </a:cubicBezTo>
                  <a:cubicBezTo>
                    <a:pt x="218615" y="1294874"/>
                    <a:pt x="216255" y="1309554"/>
                    <a:pt x="214411" y="1324303"/>
                  </a:cubicBezTo>
                  <a:cubicBezTo>
                    <a:pt x="212050" y="1343191"/>
                    <a:pt x="213113" y="1362695"/>
                    <a:pt x="208104" y="1381059"/>
                  </a:cubicBezTo>
                  <a:cubicBezTo>
                    <a:pt x="206540" y="1386795"/>
                    <a:pt x="199206" y="1389029"/>
                    <a:pt x="195492" y="1393672"/>
                  </a:cubicBezTo>
                  <a:cubicBezTo>
                    <a:pt x="190758" y="1399590"/>
                    <a:pt x="189307" y="1408573"/>
                    <a:pt x="182880" y="1412590"/>
                  </a:cubicBezTo>
                  <a:cubicBezTo>
                    <a:pt x="171606" y="1419636"/>
                    <a:pt x="157940" y="1421979"/>
                    <a:pt x="145042" y="1425203"/>
                  </a:cubicBezTo>
                  <a:cubicBezTo>
                    <a:pt x="81071" y="1441196"/>
                    <a:pt x="128485" y="1431509"/>
                    <a:pt x="0" y="1431509"/>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a:solidFill>
                  <a:schemeClr val="tx2"/>
                </a:solidFill>
                <a:latin typeface="Segoe UI"/>
              </a:endParaRPr>
            </a:p>
          </p:txBody>
        </p:sp>
        <p:sp>
          <p:nvSpPr>
            <p:cNvPr id="11" name="Freeform: Shape 10">
              <a:extLst>
                <a:ext uri="{FF2B5EF4-FFF2-40B4-BE49-F238E27FC236}">
                  <a16:creationId xmlns:a16="http://schemas.microsoft.com/office/drawing/2014/main" id="{E84F2CC0-7B4A-4F5C-A37E-67DA1C922795}"/>
                </a:ext>
              </a:extLst>
            </p:cNvPr>
            <p:cNvSpPr/>
            <p:nvPr/>
          </p:nvSpPr>
          <p:spPr bwMode="auto">
            <a:xfrm>
              <a:off x="9339492" y="3342290"/>
              <a:ext cx="397291" cy="460353"/>
            </a:xfrm>
            <a:custGeom>
              <a:avLst/>
              <a:gdLst>
                <a:gd name="connsiteX0" fmla="*/ 0 w 397291"/>
                <a:gd name="connsiteY0" fmla="*/ 0 h 460353"/>
                <a:gd name="connsiteX1" fmla="*/ 31531 w 397291"/>
                <a:gd name="connsiteY1" fmla="*/ 31531 h 460353"/>
                <a:gd name="connsiteX2" fmla="*/ 69369 w 397291"/>
                <a:gd name="connsiteY2" fmla="*/ 56756 h 460353"/>
                <a:gd name="connsiteX3" fmla="*/ 88287 w 397291"/>
                <a:gd name="connsiteY3" fmla="*/ 94593 h 460353"/>
                <a:gd name="connsiteX4" fmla="*/ 100900 w 397291"/>
                <a:gd name="connsiteY4" fmla="*/ 107205 h 460353"/>
                <a:gd name="connsiteX5" fmla="*/ 126125 w 397291"/>
                <a:gd name="connsiteY5" fmla="*/ 138736 h 460353"/>
                <a:gd name="connsiteX6" fmla="*/ 132431 w 397291"/>
                <a:gd name="connsiteY6" fmla="*/ 157655 h 460353"/>
                <a:gd name="connsiteX7" fmla="*/ 138737 w 397291"/>
                <a:gd name="connsiteY7" fmla="*/ 182880 h 460353"/>
                <a:gd name="connsiteX8" fmla="*/ 151349 w 397291"/>
                <a:gd name="connsiteY8" fmla="*/ 201798 h 460353"/>
                <a:gd name="connsiteX9" fmla="*/ 163962 w 397291"/>
                <a:gd name="connsiteY9" fmla="*/ 239636 h 460353"/>
                <a:gd name="connsiteX10" fmla="*/ 170268 w 397291"/>
                <a:gd name="connsiteY10" fmla="*/ 258554 h 460353"/>
                <a:gd name="connsiteX11" fmla="*/ 189187 w 397291"/>
                <a:gd name="connsiteY11" fmla="*/ 321616 h 460353"/>
                <a:gd name="connsiteX12" fmla="*/ 208105 w 397291"/>
                <a:gd name="connsiteY12" fmla="*/ 334229 h 460353"/>
                <a:gd name="connsiteX13" fmla="*/ 214411 w 397291"/>
                <a:gd name="connsiteY13" fmla="*/ 353147 h 460353"/>
                <a:gd name="connsiteX14" fmla="*/ 252249 w 397291"/>
                <a:gd name="connsiteY14" fmla="*/ 378372 h 460353"/>
                <a:gd name="connsiteX15" fmla="*/ 271167 w 397291"/>
                <a:gd name="connsiteY15" fmla="*/ 390984 h 460353"/>
                <a:gd name="connsiteX16" fmla="*/ 283780 w 397291"/>
                <a:gd name="connsiteY16" fmla="*/ 403597 h 460353"/>
                <a:gd name="connsiteX17" fmla="*/ 309005 w 397291"/>
                <a:gd name="connsiteY17" fmla="*/ 416209 h 460353"/>
                <a:gd name="connsiteX18" fmla="*/ 346842 w 397291"/>
                <a:gd name="connsiteY18" fmla="*/ 428822 h 460353"/>
                <a:gd name="connsiteX19" fmla="*/ 365760 w 397291"/>
                <a:gd name="connsiteY19" fmla="*/ 441434 h 460353"/>
                <a:gd name="connsiteX20" fmla="*/ 384679 w 397291"/>
                <a:gd name="connsiteY20" fmla="*/ 447740 h 460353"/>
                <a:gd name="connsiteX21" fmla="*/ 397291 w 397291"/>
                <a:gd name="connsiteY21" fmla="*/ 460353 h 46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7291" h="460353">
                  <a:moveTo>
                    <a:pt x="0" y="0"/>
                  </a:moveTo>
                  <a:cubicBezTo>
                    <a:pt x="10510" y="10510"/>
                    <a:pt x="19798" y="22406"/>
                    <a:pt x="31531" y="31531"/>
                  </a:cubicBezTo>
                  <a:cubicBezTo>
                    <a:pt x="100253" y="84981"/>
                    <a:pt x="25961" y="13348"/>
                    <a:pt x="69369" y="56756"/>
                  </a:cubicBezTo>
                  <a:cubicBezTo>
                    <a:pt x="76029" y="76736"/>
                    <a:pt x="74317" y="77131"/>
                    <a:pt x="88287" y="94593"/>
                  </a:cubicBezTo>
                  <a:cubicBezTo>
                    <a:pt x="92001" y="99236"/>
                    <a:pt x="97186" y="102562"/>
                    <a:pt x="100900" y="107205"/>
                  </a:cubicBezTo>
                  <a:cubicBezTo>
                    <a:pt x="132721" y="146981"/>
                    <a:pt x="95671" y="108284"/>
                    <a:pt x="126125" y="138736"/>
                  </a:cubicBezTo>
                  <a:cubicBezTo>
                    <a:pt x="128227" y="145042"/>
                    <a:pt x="130605" y="151263"/>
                    <a:pt x="132431" y="157655"/>
                  </a:cubicBezTo>
                  <a:cubicBezTo>
                    <a:pt x="134812" y="165989"/>
                    <a:pt x="135323" y="174914"/>
                    <a:pt x="138737" y="182880"/>
                  </a:cubicBezTo>
                  <a:cubicBezTo>
                    <a:pt x="141722" y="189846"/>
                    <a:pt x="148271" y="194872"/>
                    <a:pt x="151349" y="201798"/>
                  </a:cubicBezTo>
                  <a:cubicBezTo>
                    <a:pt x="156749" y="213947"/>
                    <a:pt x="159758" y="227023"/>
                    <a:pt x="163962" y="239636"/>
                  </a:cubicBezTo>
                  <a:cubicBezTo>
                    <a:pt x="166064" y="245942"/>
                    <a:pt x="168656" y="252105"/>
                    <a:pt x="170268" y="258554"/>
                  </a:cubicBezTo>
                  <a:cubicBezTo>
                    <a:pt x="172792" y="268652"/>
                    <a:pt x="184580" y="318544"/>
                    <a:pt x="189187" y="321616"/>
                  </a:cubicBezTo>
                  <a:lnTo>
                    <a:pt x="208105" y="334229"/>
                  </a:lnTo>
                  <a:cubicBezTo>
                    <a:pt x="210207" y="340535"/>
                    <a:pt x="210991" y="347447"/>
                    <a:pt x="214411" y="353147"/>
                  </a:cubicBezTo>
                  <a:cubicBezTo>
                    <a:pt x="223208" y="367808"/>
                    <a:pt x="238249" y="370372"/>
                    <a:pt x="252249" y="378372"/>
                  </a:cubicBezTo>
                  <a:cubicBezTo>
                    <a:pt x="258829" y="382132"/>
                    <a:pt x="265249" y="386249"/>
                    <a:pt x="271167" y="390984"/>
                  </a:cubicBezTo>
                  <a:cubicBezTo>
                    <a:pt x="275810" y="394698"/>
                    <a:pt x="278833" y="400299"/>
                    <a:pt x="283780" y="403597"/>
                  </a:cubicBezTo>
                  <a:cubicBezTo>
                    <a:pt x="291602" y="408812"/>
                    <a:pt x="300277" y="412718"/>
                    <a:pt x="309005" y="416209"/>
                  </a:cubicBezTo>
                  <a:cubicBezTo>
                    <a:pt x="321349" y="421147"/>
                    <a:pt x="346842" y="428822"/>
                    <a:pt x="346842" y="428822"/>
                  </a:cubicBezTo>
                  <a:cubicBezTo>
                    <a:pt x="353148" y="433026"/>
                    <a:pt x="358981" y="438045"/>
                    <a:pt x="365760" y="441434"/>
                  </a:cubicBezTo>
                  <a:cubicBezTo>
                    <a:pt x="371706" y="444407"/>
                    <a:pt x="378979" y="444320"/>
                    <a:pt x="384679" y="447740"/>
                  </a:cubicBezTo>
                  <a:cubicBezTo>
                    <a:pt x="389777" y="450799"/>
                    <a:pt x="397291" y="460353"/>
                    <a:pt x="397291" y="460353"/>
                  </a:cubicBezTo>
                </a:path>
              </a:pathLst>
            </a:custGeom>
            <a:noFill/>
            <a:ln w="158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a:solidFill>
                  <a:schemeClr val="tx2"/>
                </a:solidFill>
                <a:latin typeface="Segoe UI"/>
              </a:endParaRPr>
            </a:p>
          </p:txBody>
        </p:sp>
      </p:grpSp>
      <p:grpSp>
        <p:nvGrpSpPr>
          <p:cNvPr id="18" name="Group 17">
            <a:extLst>
              <a:ext uri="{FF2B5EF4-FFF2-40B4-BE49-F238E27FC236}">
                <a16:creationId xmlns:a16="http://schemas.microsoft.com/office/drawing/2014/main" id="{89870DA2-956D-4811-9649-06E9525E8B91}"/>
              </a:ext>
            </a:extLst>
          </p:cNvPr>
          <p:cNvGrpSpPr/>
          <p:nvPr/>
        </p:nvGrpSpPr>
        <p:grpSpPr>
          <a:xfrm>
            <a:off x="5348920" y="6238120"/>
            <a:ext cx="1175852" cy="235352"/>
            <a:chOff x="5348920" y="6238120"/>
            <a:chExt cx="1175852" cy="235352"/>
          </a:xfrm>
        </p:grpSpPr>
        <p:sp>
          <p:nvSpPr>
            <p:cNvPr id="47" name="TextBox 46">
              <a:extLst>
                <a:ext uri="{FF2B5EF4-FFF2-40B4-BE49-F238E27FC236}">
                  <a16:creationId xmlns:a16="http://schemas.microsoft.com/office/drawing/2014/main" id="{F178C6D1-2051-4CC1-8244-F7AA9DF29D27}"/>
                </a:ext>
              </a:extLst>
            </p:cNvPr>
            <p:cNvSpPr txBox="1"/>
            <p:nvPr/>
          </p:nvSpPr>
          <p:spPr>
            <a:xfrm>
              <a:off x="5668857" y="6305702"/>
              <a:ext cx="855915" cy="100188"/>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1000" kern="0" dirty="0">
                  <a:solidFill>
                    <a:schemeClr val="tx2"/>
                  </a:solidFill>
                  <a:latin typeface="Segoe UI"/>
                </a:rPr>
                <a:t>Edge Site</a:t>
              </a:r>
            </a:p>
          </p:txBody>
        </p:sp>
        <p:grpSp>
          <p:nvGrpSpPr>
            <p:cNvPr id="17" name="Group 16">
              <a:extLst>
                <a:ext uri="{FF2B5EF4-FFF2-40B4-BE49-F238E27FC236}">
                  <a16:creationId xmlns:a16="http://schemas.microsoft.com/office/drawing/2014/main" id="{B95EF60C-B51D-4DD9-B4E4-EAFF033B584B}"/>
                </a:ext>
              </a:extLst>
            </p:cNvPr>
            <p:cNvGrpSpPr/>
            <p:nvPr/>
          </p:nvGrpSpPr>
          <p:grpSpPr>
            <a:xfrm>
              <a:off x="5348920" y="6238120"/>
              <a:ext cx="237187" cy="235352"/>
              <a:chOff x="5348920" y="6173373"/>
              <a:chExt cx="237187" cy="235352"/>
            </a:xfrm>
          </p:grpSpPr>
          <p:sp>
            <p:nvSpPr>
              <p:cNvPr id="48" name="Oval 47">
                <a:extLst>
                  <a:ext uri="{FF2B5EF4-FFF2-40B4-BE49-F238E27FC236}">
                    <a16:creationId xmlns:a16="http://schemas.microsoft.com/office/drawing/2014/main" id="{CF812A16-3F4B-4137-8B31-3D043BA402AD}"/>
                  </a:ext>
                </a:extLst>
              </p:cNvPr>
              <p:cNvSpPr/>
              <p:nvPr/>
            </p:nvSpPr>
            <p:spPr bwMode="auto">
              <a:xfrm>
                <a:off x="5348920" y="6173373"/>
                <a:ext cx="237187" cy="23535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16" name="Group 15">
                <a:extLst>
                  <a:ext uri="{FF2B5EF4-FFF2-40B4-BE49-F238E27FC236}">
                    <a16:creationId xmlns:a16="http://schemas.microsoft.com/office/drawing/2014/main" id="{356A2D06-9D11-4670-9A63-5B46806109A4}"/>
                  </a:ext>
                </a:extLst>
              </p:cNvPr>
              <p:cNvGrpSpPr/>
              <p:nvPr/>
            </p:nvGrpSpPr>
            <p:grpSpPr>
              <a:xfrm>
                <a:off x="5404434" y="6234585"/>
                <a:ext cx="126158" cy="112928"/>
                <a:chOff x="6506130" y="6071125"/>
                <a:chExt cx="69187" cy="61932"/>
              </a:xfrm>
            </p:grpSpPr>
            <p:sp>
              <p:nvSpPr>
                <p:cNvPr id="750" name="Freeform 34">
                  <a:extLst>
                    <a:ext uri="{FF2B5EF4-FFF2-40B4-BE49-F238E27FC236}">
                      <a16:creationId xmlns:a16="http://schemas.microsoft.com/office/drawing/2014/main" id="{E857C7C1-CFA6-4C9D-8291-F85726812FBC}"/>
                    </a:ext>
                  </a:extLst>
                </p:cNvPr>
                <p:cNvSpPr/>
                <p:nvPr/>
              </p:nvSpPr>
              <p:spPr>
                <a:xfrm>
                  <a:off x="6507964" y="6075142"/>
                  <a:ext cx="29314" cy="55329"/>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51" name="Freeform 37">
                  <a:extLst>
                    <a:ext uri="{FF2B5EF4-FFF2-40B4-BE49-F238E27FC236}">
                      <a16:creationId xmlns:a16="http://schemas.microsoft.com/office/drawing/2014/main" id="{44C1F839-19E0-4F76-BA9A-F3425FE4B5F6}"/>
                    </a:ext>
                  </a:extLst>
                </p:cNvPr>
                <p:cNvSpPr/>
                <p:nvPr/>
              </p:nvSpPr>
              <p:spPr>
                <a:xfrm>
                  <a:off x="6525485" y="6079564"/>
                  <a:ext cx="27152" cy="44273"/>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52" name="Freeform 39">
                  <a:extLst>
                    <a:ext uri="{FF2B5EF4-FFF2-40B4-BE49-F238E27FC236}">
                      <a16:creationId xmlns:a16="http://schemas.microsoft.com/office/drawing/2014/main" id="{779D465F-C7BC-489F-9B3F-2CC3C6201CB3}"/>
                    </a:ext>
                  </a:extLst>
                </p:cNvPr>
                <p:cNvSpPr/>
                <p:nvPr/>
              </p:nvSpPr>
              <p:spPr>
                <a:xfrm>
                  <a:off x="6542138" y="6084056"/>
                  <a:ext cx="21747" cy="3473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53" name="Freeform 40">
                  <a:extLst>
                    <a:ext uri="{FF2B5EF4-FFF2-40B4-BE49-F238E27FC236}">
                      <a16:creationId xmlns:a16="http://schemas.microsoft.com/office/drawing/2014/main" id="{2267BB6B-661F-489A-85F8-1AB0D95FE6FB}"/>
                    </a:ext>
                  </a:extLst>
                </p:cNvPr>
                <p:cNvSpPr/>
                <p:nvPr/>
              </p:nvSpPr>
              <p:spPr>
                <a:xfrm>
                  <a:off x="6556403" y="6087459"/>
                  <a:ext cx="16578" cy="27359"/>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54" name="Freeform 5">
                  <a:extLst>
                    <a:ext uri="{FF2B5EF4-FFF2-40B4-BE49-F238E27FC236}">
                      <a16:creationId xmlns:a16="http://schemas.microsoft.com/office/drawing/2014/main" id="{B5ABDEDF-30E0-45A0-8EE2-D88A6459E653}"/>
                    </a:ext>
                  </a:extLst>
                </p:cNvPr>
                <p:cNvSpPr/>
                <p:nvPr/>
              </p:nvSpPr>
              <p:spPr bwMode="auto">
                <a:xfrm>
                  <a:off x="6506130" y="6071125"/>
                  <a:ext cx="69187" cy="61932"/>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spTree>
    <p:extLst>
      <p:ext uri="{BB962C8B-B14F-4D97-AF65-F5344CB8AC3E}">
        <p14:creationId xmlns:p14="http://schemas.microsoft.com/office/powerpoint/2010/main" val="24370573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BEC21EED-CED3-4560-9C1B-CD00DF505BCF}"/>
              </a:ext>
            </a:extLst>
          </p:cNvPr>
          <p:cNvSpPr>
            <a:spLocks noGrp="1"/>
          </p:cNvSpPr>
          <p:nvPr>
            <p:ph type="title"/>
          </p:nvPr>
        </p:nvSpPr>
        <p:spPr/>
        <p:txBody>
          <a:bodyPr/>
          <a:lstStyle/>
          <a:p>
            <a:r>
              <a:rPr lang="en-US" dirty="0"/>
              <a:t>Robust Networking Infrastructure Services </a:t>
            </a:r>
            <a:endParaRPr lang="en-IN" dirty="0"/>
          </a:p>
        </p:txBody>
      </p:sp>
      <p:sp>
        <p:nvSpPr>
          <p:cNvPr id="70" name="TextBox 69">
            <a:extLst>
              <a:ext uri="{FF2B5EF4-FFF2-40B4-BE49-F238E27FC236}">
                <a16:creationId xmlns:a16="http://schemas.microsoft.com/office/drawing/2014/main" id="{3F99F471-C24F-4962-8BD6-299F63FCD180}"/>
              </a:ext>
            </a:extLst>
          </p:cNvPr>
          <p:cNvSpPr txBox="1"/>
          <p:nvPr/>
        </p:nvSpPr>
        <p:spPr>
          <a:xfrm>
            <a:off x="1593053" y="2405241"/>
            <a:ext cx="4565044" cy="769441"/>
          </a:xfrm>
          <a:prstGeom prst="rect">
            <a:avLst/>
          </a:prstGeom>
          <a:noFill/>
        </p:spPr>
        <p:txBody>
          <a:bodyPr wrap="square" lIns="0" tIns="0" rIns="0" bIns="0" rtlCol="0">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Load Balancer</a:t>
            </a:r>
          </a:p>
          <a:p>
            <a:pPr defTabSz="914191">
              <a:lnSpc>
                <a:spcPct val="90000"/>
              </a:lnSpc>
              <a:spcAft>
                <a:spcPts val="587"/>
              </a:spcAft>
              <a:defRPr/>
            </a:pPr>
            <a:r>
              <a:rPr lang="en-US" sz="1600" dirty="0">
                <a:solidFill>
                  <a:schemeClr val="tx2"/>
                </a:solidFill>
                <a:cs typeface="Segoe UI" panose="020B0502040204020203" pitchFamily="34" charset="0"/>
              </a:rPr>
              <a:t>Deliver high availability and network performance to your applications</a:t>
            </a:r>
          </a:p>
        </p:txBody>
      </p:sp>
      <p:sp>
        <p:nvSpPr>
          <p:cNvPr id="71" name="TextBox 70">
            <a:extLst>
              <a:ext uri="{FF2B5EF4-FFF2-40B4-BE49-F238E27FC236}">
                <a16:creationId xmlns:a16="http://schemas.microsoft.com/office/drawing/2014/main" id="{4D1B0B48-FCBB-4B8C-A6FF-776AC3EC24B1}"/>
              </a:ext>
            </a:extLst>
          </p:cNvPr>
          <p:cNvSpPr txBox="1"/>
          <p:nvPr/>
        </p:nvSpPr>
        <p:spPr>
          <a:xfrm>
            <a:off x="1593053" y="3534427"/>
            <a:ext cx="4565044" cy="769441"/>
          </a:xfrm>
          <a:prstGeom prst="rect">
            <a:avLst/>
          </a:prstGeom>
          <a:noFill/>
        </p:spPr>
        <p:txBody>
          <a:bodyPr wrap="square" lIns="0" tIns="0" rIns="0" bIns="0" rtlCol="0" anchor="t">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Application Gateway/WAF</a:t>
            </a:r>
          </a:p>
          <a:p>
            <a:pPr defTabSz="914191">
              <a:lnSpc>
                <a:spcPct val="90000"/>
              </a:lnSpc>
              <a:spcAft>
                <a:spcPts val="587"/>
              </a:spcAft>
              <a:defRPr/>
            </a:pPr>
            <a:r>
              <a:rPr lang="en-US" sz="1600" dirty="0">
                <a:solidFill>
                  <a:schemeClr val="tx2"/>
                </a:solidFill>
                <a:cs typeface="Segoe UI" panose="020B0502040204020203" pitchFamily="34" charset="0"/>
              </a:rPr>
              <a:t>Build scalable and highly-available web front </a:t>
            </a:r>
            <a:br>
              <a:rPr lang="en-US" sz="1600" dirty="0">
                <a:solidFill>
                  <a:schemeClr val="tx2"/>
                </a:solidFill>
                <a:cs typeface="Segoe UI" panose="020B0502040204020203" pitchFamily="34" charset="0"/>
              </a:rPr>
            </a:br>
            <a:r>
              <a:rPr lang="en-US" sz="1600" dirty="0">
                <a:solidFill>
                  <a:schemeClr val="tx2"/>
                </a:solidFill>
                <a:cs typeface="Segoe UI" panose="020B0502040204020203" pitchFamily="34" charset="0"/>
              </a:rPr>
              <a:t>ends in Azure </a:t>
            </a:r>
          </a:p>
        </p:txBody>
      </p:sp>
      <p:sp>
        <p:nvSpPr>
          <p:cNvPr id="72" name="TextBox 71">
            <a:extLst>
              <a:ext uri="{FF2B5EF4-FFF2-40B4-BE49-F238E27FC236}">
                <a16:creationId xmlns:a16="http://schemas.microsoft.com/office/drawing/2014/main" id="{46A614C8-0B55-4702-90FE-059653BFD675}"/>
              </a:ext>
            </a:extLst>
          </p:cNvPr>
          <p:cNvSpPr txBox="1"/>
          <p:nvPr/>
        </p:nvSpPr>
        <p:spPr>
          <a:xfrm>
            <a:off x="1593053" y="1158915"/>
            <a:ext cx="4565044" cy="991041"/>
          </a:xfrm>
          <a:prstGeom prst="rect">
            <a:avLst/>
          </a:prstGeom>
          <a:noFill/>
        </p:spPr>
        <p:txBody>
          <a:bodyPr wrap="square" lIns="0" tIns="0" rIns="0" bIns="0" rtlCol="0" anchor="t">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Virtual Network</a:t>
            </a:r>
          </a:p>
          <a:p>
            <a:pPr defTabSz="914191">
              <a:lnSpc>
                <a:spcPct val="90000"/>
              </a:lnSpc>
              <a:spcAft>
                <a:spcPts val="587"/>
              </a:spcAft>
              <a:defRPr/>
            </a:pPr>
            <a:r>
              <a:rPr lang="en-US" sz="1600" dirty="0">
                <a:solidFill>
                  <a:schemeClr val="tx2"/>
                </a:solidFill>
                <a:cs typeface="Segoe UI" panose="020B0502040204020203" pitchFamily="34" charset="0"/>
              </a:rPr>
              <a:t>Provision private networks, optionally connect </a:t>
            </a:r>
            <a:br>
              <a:rPr lang="en-US" sz="1600" dirty="0">
                <a:solidFill>
                  <a:schemeClr val="tx2"/>
                </a:solidFill>
                <a:cs typeface="Segoe UI" panose="020B0502040204020203" pitchFamily="34" charset="0"/>
              </a:rPr>
            </a:br>
            <a:r>
              <a:rPr lang="en-US" sz="1600" dirty="0">
                <a:solidFill>
                  <a:schemeClr val="tx2"/>
                </a:solidFill>
                <a:cs typeface="Segoe UI" panose="020B0502040204020203" pitchFamily="34" charset="0"/>
              </a:rPr>
              <a:t>to on premise datacenters. NSG, User Defined Routes, &amp; IP addresses</a:t>
            </a:r>
          </a:p>
        </p:txBody>
      </p:sp>
      <p:sp>
        <p:nvSpPr>
          <p:cNvPr id="73" name="TextBox 72">
            <a:extLst>
              <a:ext uri="{FF2B5EF4-FFF2-40B4-BE49-F238E27FC236}">
                <a16:creationId xmlns:a16="http://schemas.microsoft.com/office/drawing/2014/main" id="{A85D2955-CF34-4477-A3A8-B57B87AE36B6}"/>
              </a:ext>
            </a:extLst>
          </p:cNvPr>
          <p:cNvSpPr txBox="1"/>
          <p:nvPr/>
        </p:nvSpPr>
        <p:spPr>
          <a:xfrm>
            <a:off x="1593053" y="5889749"/>
            <a:ext cx="4565044" cy="575542"/>
          </a:xfrm>
          <a:prstGeom prst="rect">
            <a:avLst/>
          </a:prstGeom>
          <a:noFill/>
        </p:spPr>
        <p:txBody>
          <a:bodyPr wrap="square" lIns="0" tIns="0" rIns="0" bIns="0" rtlCol="0">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VPN Gateway</a:t>
            </a:r>
          </a:p>
          <a:p>
            <a:pPr defTabSz="914191">
              <a:lnSpc>
                <a:spcPct val="90000"/>
              </a:lnSpc>
              <a:spcAft>
                <a:spcPts val="587"/>
              </a:spcAft>
              <a:defRPr/>
            </a:pPr>
            <a:r>
              <a:rPr lang="en-US" dirty="0">
                <a:solidFill>
                  <a:schemeClr val="tx2"/>
                </a:solidFill>
                <a:cs typeface="Segoe UI" panose="020B0502040204020203" pitchFamily="34" charset="0"/>
              </a:rPr>
              <a:t>Establish secure, cross-premise connectivity</a:t>
            </a:r>
          </a:p>
        </p:txBody>
      </p:sp>
      <p:sp>
        <p:nvSpPr>
          <p:cNvPr id="74" name="TextBox 73">
            <a:extLst>
              <a:ext uri="{FF2B5EF4-FFF2-40B4-BE49-F238E27FC236}">
                <a16:creationId xmlns:a16="http://schemas.microsoft.com/office/drawing/2014/main" id="{988A9727-3EDC-49F2-8EE3-576DA8982685}"/>
              </a:ext>
            </a:extLst>
          </p:cNvPr>
          <p:cNvSpPr txBox="1"/>
          <p:nvPr/>
        </p:nvSpPr>
        <p:spPr>
          <a:xfrm>
            <a:off x="1593053" y="4635914"/>
            <a:ext cx="4565044" cy="824841"/>
          </a:xfrm>
          <a:prstGeom prst="rect">
            <a:avLst/>
          </a:prstGeom>
          <a:noFill/>
        </p:spPr>
        <p:txBody>
          <a:bodyPr wrap="square" lIns="0" tIns="0" rIns="0" bIns="0" rtlCol="0">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DDoS Protection</a:t>
            </a:r>
          </a:p>
          <a:p>
            <a:pPr defTabSz="914191">
              <a:lnSpc>
                <a:spcPct val="90000"/>
              </a:lnSpc>
              <a:spcAft>
                <a:spcPts val="587"/>
              </a:spcAft>
              <a:defRPr/>
            </a:pPr>
            <a:r>
              <a:rPr lang="en-US" dirty="0">
                <a:solidFill>
                  <a:schemeClr val="tx2"/>
                </a:solidFill>
                <a:cs typeface="Segoe UI" panose="020B0502040204020203" pitchFamily="34" charset="0"/>
              </a:rPr>
              <a:t>Protect your Azure resources from </a:t>
            </a:r>
            <a:br>
              <a:rPr lang="en-US" dirty="0">
                <a:solidFill>
                  <a:schemeClr val="tx2"/>
                </a:solidFill>
                <a:cs typeface="Segoe UI" panose="020B0502040204020203" pitchFamily="34" charset="0"/>
              </a:rPr>
            </a:br>
            <a:r>
              <a:rPr lang="en-US" dirty="0">
                <a:solidFill>
                  <a:schemeClr val="tx2"/>
                </a:solidFill>
                <a:cs typeface="Segoe UI" panose="020B0502040204020203" pitchFamily="34" charset="0"/>
              </a:rPr>
              <a:t>DDoS attacks</a:t>
            </a:r>
          </a:p>
        </p:txBody>
      </p:sp>
      <p:sp>
        <p:nvSpPr>
          <p:cNvPr id="82" name="TextBox 81">
            <a:extLst>
              <a:ext uri="{FF2B5EF4-FFF2-40B4-BE49-F238E27FC236}">
                <a16:creationId xmlns:a16="http://schemas.microsoft.com/office/drawing/2014/main" id="{959E8D43-E205-4C07-A1A5-D3D74806BCB2}"/>
              </a:ext>
            </a:extLst>
          </p:cNvPr>
          <p:cNvSpPr txBox="1"/>
          <p:nvPr/>
        </p:nvSpPr>
        <p:spPr>
          <a:xfrm>
            <a:off x="7482491" y="2405241"/>
            <a:ext cx="4565044" cy="769441"/>
          </a:xfrm>
          <a:prstGeom prst="rect">
            <a:avLst/>
          </a:prstGeom>
          <a:noFill/>
        </p:spPr>
        <p:txBody>
          <a:bodyPr wrap="square" lIns="0" tIns="0" rIns="0" bIns="0" rtlCol="0">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Content Delivery Network</a:t>
            </a:r>
          </a:p>
          <a:p>
            <a:pPr defTabSz="914191">
              <a:lnSpc>
                <a:spcPct val="90000"/>
              </a:lnSpc>
              <a:spcAft>
                <a:spcPts val="587"/>
              </a:spcAft>
              <a:defRPr/>
            </a:pPr>
            <a:r>
              <a:rPr lang="en-US" sz="1600" dirty="0">
                <a:solidFill>
                  <a:schemeClr val="tx2"/>
                </a:solidFill>
                <a:cs typeface="Segoe UI Semibold" panose="020B0702040204020203" pitchFamily="34" charset="0"/>
              </a:rPr>
              <a:t>Ensure secure, reliable content delivery with broad global reach</a:t>
            </a:r>
          </a:p>
        </p:txBody>
      </p:sp>
      <p:sp>
        <p:nvSpPr>
          <p:cNvPr id="83" name="TextBox 82">
            <a:extLst>
              <a:ext uri="{FF2B5EF4-FFF2-40B4-BE49-F238E27FC236}">
                <a16:creationId xmlns:a16="http://schemas.microsoft.com/office/drawing/2014/main" id="{5EF21F8B-D390-49C5-9AC0-149FF1395344}"/>
              </a:ext>
            </a:extLst>
          </p:cNvPr>
          <p:cNvSpPr txBox="1"/>
          <p:nvPr/>
        </p:nvSpPr>
        <p:spPr>
          <a:xfrm>
            <a:off x="7482491" y="3534427"/>
            <a:ext cx="4565044" cy="769441"/>
          </a:xfrm>
          <a:prstGeom prst="rect">
            <a:avLst/>
          </a:prstGeom>
          <a:noFill/>
        </p:spPr>
        <p:txBody>
          <a:bodyPr wrap="square" lIns="0" tIns="0" rIns="0" bIns="0" rtlCol="0" anchor="t">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Traffic Manager</a:t>
            </a:r>
          </a:p>
          <a:p>
            <a:pPr defTabSz="914191">
              <a:lnSpc>
                <a:spcPct val="90000"/>
              </a:lnSpc>
              <a:spcAft>
                <a:spcPts val="587"/>
              </a:spcAft>
              <a:defRPr/>
            </a:pPr>
            <a:r>
              <a:rPr lang="en-US" sz="1600" dirty="0">
                <a:solidFill>
                  <a:schemeClr val="tx2"/>
                </a:solidFill>
                <a:cs typeface="Segoe UI Semibold" panose="020B0702040204020203" pitchFamily="34" charset="0"/>
              </a:rPr>
              <a:t>Route incoming traffic for high performance and availability</a:t>
            </a:r>
          </a:p>
        </p:txBody>
      </p:sp>
      <p:sp>
        <p:nvSpPr>
          <p:cNvPr id="84" name="TextBox 83">
            <a:extLst>
              <a:ext uri="{FF2B5EF4-FFF2-40B4-BE49-F238E27FC236}">
                <a16:creationId xmlns:a16="http://schemas.microsoft.com/office/drawing/2014/main" id="{046DEB1C-8FEE-4E88-ABBD-196AA08A1775}"/>
              </a:ext>
            </a:extLst>
          </p:cNvPr>
          <p:cNvSpPr txBox="1"/>
          <p:nvPr/>
        </p:nvSpPr>
        <p:spPr>
          <a:xfrm>
            <a:off x="7482491" y="1386853"/>
            <a:ext cx="4565044" cy="547842"/>
          </a:xfrm>
          <a:prstGeom prst="rect">
            <a:avLst/>
          </a:prstGeom>
          <a:noFill/>
        </p:spPr>
        <p:txBody>
          <a:bodyPr wrap="square" lIns="0" tIns="0" rIns="0" bIns="0" rtlCol="0" anchor="t">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Azure DNS</a:t>
            </a:r>
          </a:p>
          <a:p>
            <a:pPr defTabSz="914191">
              <a:lnSpc>
                <a:spcPct val="90000"/>
              </a:lnSpc>
              <a:spcAft>
                <a:spcPts val="587"/>
              </a:spcAft>
              <a:defRPr/>
            </a:pPr>
            <a:r>
              <a:rPr lang="en-US" sz="1600" dirty="0">
                <a:solidFill>
                  <a:schemeClr val="tx2"/>
                </a:solidFill>
                <a:cs typeface="Segoe UI Semibold" panose="020B0702040204020203" pitchFamily="34" charset="0"/>
              </a:rPr>
              <a:t>Host your DNS domain in Azure</a:t>
            </a:r>
          </a:p>
        </p:txBody>
      </p:sp>
      <p:sp>
        <p:nvSpPr>
          <p:cNvPr id="85" name="TextBox 84">
            <a:extLst>
              <a:ext uri="{FF2B5EF4-FFF2-40B4-BE49-F238E27FC236}">
                <a16:creationId xmlns:a16="http://schemas.microsoft.com/office/drawing/2014/main" id="{56EB1AE3-F947-4624-B3CA-2CD1453F4F10}"/>
              </a:ext>
            </a:extLst>
          </p:cNvPr>
          <p:cNvSpPr txBox="1"/>
          <p:nvPr/>
        </p:nvSpPr>
        <p:spPr>
          <a:xfrm>
            <a:off x="7482491" y="5792800"/>
            <a:ext cx="4565044" cy="769441"/>
          </a:xfrm>
          <a:prstGeom prst="rect">
            <a:avLst/>
          </a:prstGeom>
          <a:noFill/>
        </p:spPr>
        <p:txBody>
          <a:bodyPr wrap="square" lIns="0" tIns="0" rIns="0" bIns="0" rtlCol="0">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Network Watcher</a:t>
            </a:r>
          </a:p>
          <a:p>
            <a:pPr defTabSz="914191">
              <a:lnSpc>
                <a:spcPct val="90000"/>
              </a:lnSpc>
              <a:spcAft>
                <a:spcPts val="587"/>
              </a:spcAft>
              <a:defRPr/>
            </a:pPr>
            <a:r>
              <a:rPr lang="en-US" sz="1600" dirty="0">
                <a:solidFill>
                  <a:schemeClr val="tx2"/>
                </a:solidFill>
                <a:cs typeface="Segoe UI Semibold" panose="020B0702040204020203" pitchFamily="34" charset="0"/>
              </a:rPr>
              <a:t>Network performance monitoring and diagnostics solution</a:t>
            </a:r>
          </a:p>
        </p:txBody>
      </p:sp>
      <p:sp>
        <p:nvSpPr>
          <p:cNvPr id="86" name="TextBox 85">
            <a:extLst>
              <a:ext uri="{FF2B5EF4-FFF2-40B4-BE49-F238E27FC236}">
                <a16:creationId xmlns:a16="http://schemas.microsoft.com/office/drawing/2014/main" id="{A7DD3712-B66C-4E7D-B3B3-BC3E27ED7E46}"/>
              </a:ext>
            </a:extLst>
          </p:cNvPr>
          <p:cNvSpPr txBox="1"/>
          <p:nvPr/>
        </p:nvSpPr>
        <p:spPr>
          <a:xfrm>
            <a:off x="7482491" y="4663614"/>
            <a:ext cx="4565044" cy="769441"/>
          </a:xfrm>
          <a:prstGeom prst="rect">
            <a:avLst/>
          </a:prstGeom>
          <a:noFill/>
        </p:spPr>
        <p:txBody>
          <a:bodyPr wrap="square" lIns="0" tIns="0" rIns="0" bIns="0" rtlCol="0">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ExpressRoute</a:t>
            </a:r>
          </a:p>
          <a:p>
            <a:pPr defTabSz="914191">
              <a:lnSpc>
                <a:spcPct val="90000"/>
              </a:lnSpc>
              <a:spcAft>
                <a:spcPts val="587"/>
              </a:spcAft>
              <a:defRPr/>
            </a:pPr>
            <a:r>
              <a:rPr lang="en-US" sz="1600" dirty="0">
                <a:solidFill>
                  <a:schemeClr val="tx2"/>
                </a:solidFill>
                <a:cs typeface="Segoe UI Semibold" panose="020B0702040204020203" pitchFamily="34" charset="0"/>
              </a:rPr>
              <a:t>Dedicated private network fiber connections to Azure</a:t>
            </a:r>
          </a:p>
        </p:txBody>
      </p:sp>
      <p:grpSp>
        <p:nvGrpSpPr>
          <p:cNvPr id="143" name="Group 142">
            <a:extLst>
              <a:ext uri="{FF2B5EF4-FFF2-40B4-BE49-F238E27FC236}">
                <a16:creationId xmlns:a16="http://schemas.microsoft.com/office/drawing/2014/main" id="{8BE504E9-9D05-4E76-95DE-554C8EF9FD7D}"/>
              </a:ext>
            </a:extLst>
          </p:cNvPr>
          <p:cNvGrpSpPr/>
          <p:nvPr/>
        </p:nvGrpSpPr>
        <p:grpSpPr>
          <a:xfrm>
            <a:off x="388938" y="1193019"/>
            <a:ext cx="935510" cy="935510"/>
            <a:chOff x="388938" y="1193019"/>
            <a:chExt cx="935510" cy="935510"/>
          </a:xfrm>
        </p:grpSpPr>
        <p:grpSp>
          <p:nvGrpSpPr>
            <p:cNvPr id="39" name="Group 38">
              <a:extLst>
                <a:ext uri="{FF2B5EF4-FFF2-40B4-BE49-F238E27FC236}">
                  <a16:creationId xmlns:a16="http://schemas.microsoft.com/office/drawing/2014/main" id="{0A3E9B44-28CA-4B57-9008-1DC62F1B8C14}"/>
                </a:ext>
              </a:extLst>
            </p:cNvPr>
            <p:cNvGrpSpPr/>
            <p:nvPr/>
          </p:nvGrpSpPr>
          <p:grpSpPr>
            <a:xfrm>
              <a:off x="388938" y="1193019"/>
              <a:ext cx="935510" cy="935510"/>
              <a:chOff x="343218" y="1193019"/>
              <a:chExt cx="935510" cy="935510"/>
            </a:xfrm>
          </p:grpSpPr>
          <p:sp>
            <p:nvSpPr>
              <p:cNvPr id="45" name="Oval 44">
                <a:extLst>
                  <a:ext uri="{FF2B5EF4-FFF2-40B4-BE49-F238E27FC236}">
                    <a16:creationId xmlns:a16="http://schemas.microsoft.com/office/drawing/2014/main" id="{C7AF44F4-4810-454E-87E8-077DC8D4177E}"/>
                  </a:ext>
                </a:extLst>
              </p:cNvPr>
              <p:cNvSpPr/>
              <p:nvPr/>
            </p:nvSpPr>
            <p:spPr bwMode="auto">
              <a:xfrm>
                <a:off x="420790" y="1270593"/>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46" name="Arc 45">
                <a:extLst>
                  <a:ext uri="{FF2B5EF4-FFF2-40B4-BE49-F238E27FC236}">
                    <a16:creationId xmlns:a16="http://schemas.microsoft.com/office/drawing/2014/main" id="{4D3696AE-2E8D-4307-A7F0-4471AC90D7B2}"/>
                  </a:ext>
                </a:extLst>
              </p:cNvPr>
              <p:cNvSpPr/>
              <p:nvPr/>
            </p:nvSpPr>
            <p:spPr>
              <a:xfrm>
                <a:off x="343218" y="1193019"/>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sp>
          <p:nvSpPr>
            <p:cNvPr id="107" name="Freeform 73">
              <a:extLst>
                <a:ext uri="{FF2B5EF4-FFF2-40B4-BE49-F238E27FC236}">
                  <a16:creationId xmlns:a16="http://schemas.microsoft.com/office/drawing/2014/main" id="{4351DD15-1B48-493F-9C7E-6525BD7BFB55}"/>
                </a:ext>
              </a:extLst>
            </p:cNvPr>
            <p:cNvSpPr>
              <a:spLocks/>
            </p:cNvSpPr>
            <p:nvPr/>
          </p:nvSpPr>
          <p:spPr bwMode="auto">
            <a:xfrm>
              <a:off x="551953" y="1495405"/>
              <a:ext cx="609480" cy="330738"/>
            </a:xfrm>
            <a:custGeom>
              <a:avLst/>
              <a:gdLst>
                <a:gd name="connsiteX0" fmla="*/ 4211619 w 6156140"/>
                <a:gd name="connsiteY0" fmla="*/ 1290612 h 3340681"/>
                <a:gd name="connsiteX1" fmla="*/ 4589368 w 6156140"/>
                <a:gd name="connsiteY1" fmla="*/ 1672989 h 3340681"/>
                <a:gd name="connsiteX2" fmla="*/ 4211619 w 6156140"/>
                <a:gd name="connsiteY2" fmla="*/ 2046262 h 3340681"/>
                <a:gd name="connsiteX3" fmla="*/ 3836893 w 6156140"/>
                <a:gd name="connsiteY3" fmla="*/ 1669955 h 3340681"/>
                <a:gd name="connsiteX4" fmla="*/ 4211619 w 6156140"/>
                <a:gd name="connsiteY4" fmla="*/ 1290612 h 3340681"/>
                <a:gd name="connsiteX5" fmla="*/ 3082257 w 6156140"/>
                <a:gd name="connsiteY5" fmla="*/ 1290612 h 3340681"/>
                <a:gd name="connsiteX6" fmla="*/ 3463831 w 6156140"/>
                <a:gd name="connsiteY6" fmla="*/ 1666920 h 3340681"/>
                <a:gd name="connsiteX7" fmla="*/ 3085285 w 6156140"/>
                <a:gd name="connsiteY7" fmla="*/ 2046262 h 3340681"/>
                <a:gd name="connsiteX8" fmla="*/ 2709768 w 6156140"/>
                <a:gd name="connsiteY8" fmla="*/ 1669955 h 3340681"/>
                <a:gd name="connsiteX9" fmla="*/ 3082257 w 6156140"/>
                <a:gd name="connsiteY9" fmla="*/ 1290612 h 3340681"/>
                <a:gd name="connsiteX10" fmla="*/ 1965805 w 6156140"/>
                <a:gd name="connsiteY10" fmla="*/ 1290612 h 3340681"/>
                <a:gd name="connsiteX11" fmla="*/ 2338294 w 6156140"/>
                <a:gd name="connsiteY11" fmla="*/ 1666920 h 3340681"/>
                <a:gd name="connsiteX12" fmla="*/ 1959748 w 6156140"/>
                <a:gd name="connsiteY12" fmla="*/ 2046262 h 3340681"/>
                <a:gd name="connsiteX13" fmla="*/ 1584231 w 6156140"/>
                <a:gd name="connsiteY13" fmla="*/ 1669955 h 3340681"/>
                <a:gd name="connsiteX14" fmla="*/ 1965805 w 6156140"/>
                <a:gd name="connsiteY14" fmla="*/ 1290612 h 3340681"/>
                <a:gd name="connsiteX15" fmla="*/ 1665602 w 6156140"/>
                <a:gd name="connsiteY15" fmla="*/ 507 h 3340681"/>
                <a:gd name="connsiteX16" fmla="*/ 1720478 w 6156140"/>
                <a:gd name="connsiteY16" fmla="*/ 46486 h 3340681"/>
                <a:gd name="connsiteX17" fmla="*/ 1829475 w 6156140"/>
                <a:gd name="connsiteY17" fmla="*/ 168084 h 3340681"/>
                <a:gd name="connsiteX18" fmla="*/ 1859752 w 6156140"/>
                <a:gd name="connsiteY18" fmla="*/ 204564 h 3340681"/>
                <a:gd name="connsiteX19" fmla="*/ 1817364 w 6156140"/>
                <a:gd name="connsiteY19" fmla="*/ 265363 h 3340681"/>
                <a:gd name="connsiteX20" fmla="*/ 660790 w 6156140"/>
                <a:gd name="connsiteY20" fmla="*/ 1423586 h 3340681"/>
                <a:gd name="connsiteX21" fmla="*/ 467019 w 6156140"/>
                <a:gd name="connsiteY21" fmla="*/ 1618143 h 3340681"/>
                <a:gd name="connsiteX22" fmla="*/ 463991 w 6156140"/>
                <a:gd name="connsiteY22" fmla="*/ 1727581 h 3340681"/>
                <a:gd name="connsiteX23" fmla="*/ 1802226 w 6156140"/>
                <a:gd name="connsiteY23" fmla="*/ 3065161 h 3340681"/>
                <a:gd name="connsiteX24" fmla="*/ 1805253 w 6156140"/>
                <a:gd name="connsiteY24" fmla="*/ 3195879 h 3340681"/>
                <a:gd name="connsiteX25" fmla="*/ 1693229 w 6156140"/>
                <a:gd name="connsiteY25" fmla="*/ 3323557 h 3340681"/>
                <a:gd name="connsiteX26" fmla="*/ 1629648 w 6156140"/>
                <a:gd name="connsiteY26" fmla="*/ 3323557 h 3340681"/>
                <a:gd name="connsiteX27" fmla="*/ 1599371 w 6156140"/>
                <a:gd name="connsiteY27" fmla="*/ 3293158 h 3340681"/>
                <a:gd name="connsiteX28" fmla="*/ 43144 w 6156140"/>
                <a:gd name="connsiteY28" fmla="*/ 1727581 h 3340681"/>
                <a:gd name="connsiteX29" fmla="*/ 43144 w 6156140"/>
                <a:gd name="connsiteY29" fmla="*/ 1615103 h 3340681"/>
                <a:gd name="connsiteX30" fmla="*/ 1608454 w 6156140"/>
                <a:gd name="connsiteY30" fmla="*/ 43446 h 3340681"/>
                <a:gd name="connsiteX31" fmla="*/ 1665602 w 6156140"/>
                <a:gd name="connsiteY31" fmla="*/ 507 h 3340681"/>
                <a:gd name="connsiteX32" fmla="*/ 4493577 w 6156140"/>
                <a:gd name="connsiteY32" fmla="*/ 17 h 3340681"/>
                <a:gd name="connsiteX33" fmla="*/ 4526874 w 6156140"/>
                <a:gd name="connsiteY33" fmla="*/ 19398 h 3340681"/>
                <a:gd name="connsiteX34" fmla="*/ 4551090 w 6156140"/>
                <a:gd name="connsiteY34" fmla="*/ 43719 h 3340681"/>
                <a:gd name="connsiteX35" fmla="*/ 6113006 w 6156140"/>
                <a:gd name="connsiteY35" fmla="*/ 1612398 h 3340681"/>
                <a:gd name="connsiteX36" fmla="*/ 6113006 w 6156140"/>
                <a:gd name="connsiteY36" fmla="*/ 1724881 h 3340681"/>
                <a:gd name="connsiteX37" fmla="*/ 4548063 w 6156140"/>
                <a:gd name="connsiteY37" fmla="*/ 3299641 h 3340681"/>
                <a:gd name="connsiteX38" fmla="*/ 4439092 w 6156140"/>
                <a:gd name="connsiteY38" fmla="*/ 3299641 h 3340681"/>
                <a:gd name="connsiteX39" fmla="*/ 4324067 w 6156140"/>
                <a:gd name="connsiteY39" fmla="*/ 3174998 h 3340681"/>
                <a:gd name="connsiteX40" fmla="*/ 4327094 w 6156140"/>
                <a:gd name="connsiteY40" fmla="*/ 3089875 h 3340681"/>
                <a:gd name="connsiteX41" fmla="*/ 4778112 w 6156140"/>
                <a:gd name="connsiteY41" fmla="*/ 2639944 h 3340681"/>
                <a:gd name="connsiteX42" fmla="*/ 5692257 w 6156140"/>
                <a:gd name="connsiteY42" fmla="*/ 1718801 h 3340681"/>
                <a:gd name="connsiteX43" fmla="*/ 5728580 w 6156140"/>
                <a:gd name="connsiteY43" fmla="*/ 1673200 h 3340681"/>
                <a:gd name="connsiteX44" fmla="*/ 5689230 w 6156140"/>
                <a:gd name="connsiteY44" fmla="*/ 1621518 h 3340681"/>
                <a:gd name="connsiteX45" fmla="*/ 4608602 w 6156140"/>
                <a:gd name="connsiteY45" fmla="*/ 539251 h 3340681"/>
                <a:gd name="connsiteX46" fmla="*/ 4327094 w 6156140"/>
                <a:gd name="connsiteY46" fmla="*/ 253484 h 3340681"/>
                <a:gd name="connsiteX47" fmla="*/ 4324067 w 6156140"/>
                <a:gd name="connsiteY47" fmla="*/ 165322 h 3340681"/>
                <a:gd name="connsiteX48" fmla="*/ 4460281 w 6156140"/>
                <a:gd name="connsiteY48" fmla="*/ 19398 h 3340681"/>
                <a:gd name="connsiteX49" fmla="*/ 4493577 w 6156140"/>
                <a:gd name="connsiteY49" fmla="*/ 17 h 334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156140" h="3340681">
                  <a:moveTo>
                    <a:pt x="4211619" y="1290612"/>
                  </a:moveTo>
                  <a:cubicBezTo>
                    <a:pt x="4417115" y="1293647"/>
                    <a:pt x="4589368" y="1466627"/>
                    <a:pt x="4589368" y="1672989"/>
                  </a:cubicBezTo>
                  <a:cubicBezTo>
                    <a:pt x="4589368" y="1876317"/>
                    <a:pt x="4417115" y="2046262"/>
                    <a:pt x="4211619" y="2046262"/>
                  </a:cubicBezTo>
                  <a:cubicBezTo>
                    <a:pt x="4003102" y="2046262"/>
                    <a:pt x="3836893" y="1882386"/>
                    <a:pt x="3836893" y="1669955"/>
                  </a:cubicBezTo>
                  <a:cubicBezTo>
                    <a:pt x="3836893" y="1460558"/>
                    <a:pt x="4006124" y="1290612"/>
                    <a:pt x="4211619" y="1290612"/>
                  </a:cubicBezTo>
                  <a:close/>
                  <a:moveTo>
                    <a:pt x="3082257" y="1290612"/>
                  </a:moveTo>
                  <a:cubicBezTo>
                    <a:pt x="3288186" y="1290612"/>
                    <a:pt x="3463831" y="1463592"/>
                    <a:pt x="3463831" y="1666920"/>
                  </a:cubicBezTo>
                  <a:cubicBezTo>
                    <a:pt x="3463831" y="1873282"/>
                    <a:pt x="3294242" y="2046262"/>
                    <a:pt x="3085285" y="2046262"/>
                  </a:cubicBezTo>
                  <a:cubicBezTo>
                    <a:pt x="2876328" y="2046262"/>
                    <a:pt x="2709768" y="1882386"/>
                    <a:pt x="2709768" y="1669955"/>
                  </a:cubicBezTo>
                  <a:cubicBezTo>
                    <a:pt x="2709768" y="1463592"/>
                    <a:pt x="2876328" y="1293647"/>
                    <a:pt x="3082257" y="1290612"/>
                  </a:cubicBezTo>
                  <a:close/>
                  <a:moveTo>
                    <a:pt x="1965805" y="1290612"/>
                  </a:moveTo>
                  <a:cubicBezTo>
                    <a:pt x="2168705" y="1293647"/>
                    <a:pt x="2338294" y="1463592"/>
                    <a:pt x="2338294" y="1666920"/>
                  </a:cubicBezTo>
                  <a:cubicBezTo>
                    <a:pt x="2338294" y="1873282"/>
                    <a:pt x="2165677" y="2046262"/>
                    <a:pt x="1959748" y="2046262"/>
                  </a:cubicBezTo>
                  <a:cubicBezTo>
                    <a:pt x="1744734" y="2046262"/>
                    <a:pt x="1584231" y="1885421"/>
                    <a:pt x="1584231" y="1669955"/>
                  </a:cubicBezTo>
                  <a:cubicBezTo>
                    <a:pt x="1587259" y="1463592"/>
                    <a:pt x="1759876" y="1290612"/>
                    <a:pt x="1965805" y="1290612"/>
                  </a:cubicBezTo>
                  <a:close/>
                  <a:moveTo>
                    <a:pt x="1665602" y="507"/>
                  </a:moveTo>
                  <a:cubicBezTo>
                    <a:pt x="1679605" y="887"/>
                    <a:pt x="1693229" y="16087"/>
                    <a:pt x="1720478" y="46486"/>
                  </a:cubicBezTo>
                  <a:cubicBezTo>
                    <a:pt x="1756811" y="89046"/>
                    <a:pt x="1793143" y="128565"/>
                    <a:pt x="1829475" y="168084"/>
                  </a:cubicBezTo>
                  <a:cubicBezTo>
                    <a:pt x="1841586" y="180244"/>
                    <a:pt x="1850669" y="192404"/>
                    <a:pt x="1859752" y="204564"/>
                  </a:cubicBezTo>
                  <a:cubicBezTo>
                    <a:pt x="1856724" y="234964"/>
                    <a:pt x="1832503" y="247123"/>
                    <a:pt x="1817364" y="265363"/>
                  </a:cubicBezTo>
                  <a:cubicBezTo>
                    <a:pt x="1432849" y="651437"/>
                    <a:pt x="1045306" y="1037512"/>
                    <a:pt x="660790" y="1423586"/>
                  </a:cubicBezTo>
                  <a:cubicBezTo>
                    <a:pt x="597209" y="1490465"/>
                    <a:pt x="533628" y="1557344"/>
                    <a:pt x="467019" y="1618143"/>
                  </a:cubicBezTo>
                  <a:cubicBezTo>
                    <a:pt x="421604" y="1657662"/>
                    <a:pt x="418576" y="1681982"/>
                    <a:pt x="463991" y="1727581"/>
                  </a:cubicBezTo>
                  <a:cubicBezTo>
                    <a:pt x="912088" y="2171415"/>
                    <a:pt x="1357157" y="2618288"/>
                    <a:pt x="1802226" y="3065161"/>
                  </a:cubicBezTo>
                  <a:cubicBezTo>
                    <a:pt x="1877918" y="3141160"/>
                    <a:pt x="1871862" y="3129000"/>
                    <a:pt x="1805253" y="3195879"/>
                  </a:cubicBezTo>
                  <a:cubicBezTo>
                    <a:pt x="1768921" y="3238439"/>
                    <a:pt x="1729561" y="3280998"/>
                    <a:pt x="1693229" y="3323557"/>
                  </a:cubicBezTo>
                  <a:cubicBezTo>
                    <a:pt x="1672036" y="3344837"/>
                    <a:pt x="1650842" y="3344837"/>
                    <a:pt x="1629648" y="3323557"/>
                  </a:cubicBezTo>
                  <a:cubicBezTo>
                    <a:pt x="1620565" y="3311398"/>
                    <a:pt x="1611482" y="3302278"/>
                    <a:pt x="1599371" y="3293158"/>
                  </a:cubicBezTo>
                  <a:cubicBezTo>
                    <a:pt x="1081638" y="2770286"/>
                    <a:pt x="560877" y="2250453"/>
                    <a:pt x="43144" y="1727581"/>
                  </a:cubicBezTo>
                  <a:cubicBezTo>
                    <a:pt x="-14382" y="1672862"/>
                    <a:pt x="-14382" y="1672862"/>
                    <a:pt x="43144" y="1615103"/>
                  </a:cubicBezTo>
                  <a:cubicBezTo>
                    <a:pt x="563905" y="1092231"/>
                    <a:pt x="1087693" y="566319"/>
                    <a:pt x="1608454" y="43446"/>
                  </a:cubicBezTo>
                  <a:cubicBezTo>
                    <a:pt x="1637217" y="14567"/>
                    <a:pt x="1651599" y="127"/>
                    <a:pt x="1665602" y="507"/>
                  </a:cubicBezTo>
                  <a:close/>
                  <a:moveTo>
                    <a:pt x="4493577" y="17"/>
                  </a:moveTo>
                  <a:cubicBezTo>
                    <a:pt x="4504172" y="397"/>
                    <a:pt x="4514766" y="7238"/>
                    <a:pt x="4526874" y="19398"/>
                  </a:cubicBezTo>
                  <a:cubicBezTo>
                    <a:pt x="4532928" y="28518"/>
                    <a:pt x="4542009" y="34598"/>
                    <a:pt x="4551090" y="43719"/>
                  </a:cubicBezTo>
                  <a:cubicBezTo>
                    <a:pt x="5071728" y="566612"/>
                    <a:pt x="5592367" y="1089505"/>
                    <a:pt x="6113006" y="1612398"/>
                  </a:cubicBezTo>
                  <a:cubicBezTo>
                    <a:pt x="6170518" y="1670160"/>
                    <a:pt x="6170518" y="1670160"/>
                    <a:pt x="6113006" y="1724881"/>
                  </a:cubicBezTo>
                  <a:cubicBezTo>
                    <a:pt x="5592367" y="2250814"/>
                    <a:pt x="5068701" y="2773707"/>
                    <a:pt x="4548063" y="3299641"/>
                  </a:cubicBezTo>
                  <a:cubicBezTo>
                    <a:pt x="4493577" y="3354362"/>
                    <a:pt x="4493577" y="3354362"/>
                    <a:pt x="4439092" y="3299641"/>
                  </a:cubicBezTo>
                  <a:cubicBezTo>
                    <a:pt x="4402768" y="3257080"/>
                    <a:pt x="4366444" y="3214519"/>
                    <a:pt x="4324067" y="3174998"/>
                  </a:cubicBezTo>
                  <a:cubicBezTo>
                    <a:pt x="4290770" y="3141557"/>
                    <a:pt x="4296824" y="3120276"/>
                    <a:pt x="4327094" y="3089875"/>
                  </a:cubicBezTo>
                  <a:cubicBezTo>
                    <a:pt x="4478442" y="2940912"/>
                    <a:pt x="4626764" y="2788908"/>
                    <a:pt x="4778112" y="2639944"/>
                  </a:cubicBezTo>
                  <a:cubicBezTo>
                    <a:pt x="5083836" y="2332896"/>
                    <a:pt x="5386533" y="2025849"/>
                    <a:pt x="5692257" y="1718801"/>
                  </a:cubicBezTo>
                  <a:cubicBezTo>
                    <a:pt x="5707392" y="1706641"/>
                    <a:pt x="5725554" y="1694480"/>
                    <a:pt x="5728580" y="1673200"/>
                  </a:cubicBezTo>
                  <a:cubicBezTo>
                    <a:pt x="5722526" y="1648879"/>
                    <a:pt x="5704365" y="1636719"/>
                    <a:pt x="5689230" y="1621518"/>
                  </a:cubicBezTo>
                  <a:cubicBezTo>
                    <a:pt x="5329020" y="1259749"/>
                    <a:pt x="4968811" y="897980"/>
                    <a:pt x="4608602" y="539251"/>
                  </a:cubicBezTo>
                  <a:cubicBezTo>
                    <a:pt x="4514766" y="445009"/>
                    <a:pt x="4423957" y="347726"/>
                    <a:pt x="4327094" y="253484"/>
                  </a:cubicBezTo>
                  <a:cubicBezTo>
                    <a:pt x="4293797" y="223083"/>
                    <a:pt x="4287743" y="198762"/>
                    <a:pt x="4324067" y="165322"/>
                  </a:cubicBezTo>
                  <a:cubicBezTo>
                    <a:pt x="4372498" y="119721"/>
                    <a:pt x="4417903" y="71079"/>
                    <a:pt x="4460281" y="19398"/>
                  </a:cubicBezTo>
                  <a:cubicBezTo>
                    <a:pt x="4472388" y="5717"/>
                    <a:pt x="4482983" y="-363"/>
                    <a:pt x="4493577" y="17"/>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39" name="Group 138">
            <a:extLst>
              <a:ext uri="{FF2B5EF4-FFF2-40B4-BE49-F238E27FC236}">
                <a16:creationId xmlns:a16="http://schemas.microsoft.com/office/drawing/2014/main" id="{3C20B6F3-D222-4292-A94D-6520349F7839}"/>
              </a:ext>
            </a:extLst>
          </p:cNvPr>
          <p:cNvGrpSpPr/>
          <p:nvPr/>
        </p:nvGrpSpPr>
        <p:grpSpPr>
          <a:xfrm>
            <a:off x="388938" y="2322206"/>
            <a:ext cx="935510" cy="935510"/>
            <a:chOff x="388938" y="2322206"/>
            <a:chExt cx="935510" cy="935510"/>
          </a:xfrm>
        </p:grpSpPr>
        <p:grpSp>
          <p:nvGrpSpPr>
            <p:cNvPr id="38" name="Group 37">
              <a:extLst>
                <a:ext uri="{FF2B5EF4-FFF2-40B4-BE49-F238E27FC236}">
                  <a16:creationId xmlns:a16="http://schemas.microsoft.com/office/drawing/2014/main" id="{01EF8D05-EBBF-4D06-B0E1-495540392129}"/>
                </a:ext>
              </a:extLst>
            </p:cNvPr>
            <p:cNvGrpSpPr/>
            <p:nvPr/>
          </p:nvGrpSpPr>
          <p:grpSpPr>
            <a:xfrm>
              <a:off x="388938" y="2322206"/>
              <a:ext cx="935510" cy="935510"/>
              <a:chOff x="343218" y="2322206"/>
              <a:chExt cx="935510" cy="935510"/>
            </a:xfrm>
          </p:grpSpPr>
          <p:sp>
            <p:nvSpPr>
              <p:cNvPr id="49" name="Oval 48">
                <a:extLst>
                  <a:ext uri="{FF2B5EF4-FFF2-40B4-BE49-F238E27FC236}">
                    <a16:creationId xmlns:a16="http://schemas.microsoft.com/office/drawing/2014/main" id="{5ACC7002-BBA8-4E88-8AF8-C9BED446B6E3}"/>
                  </a:ext>
                </a:extLst>
              </p:cNvPr>
              <p:cNvSpPr/>
              <p:nvPr/>
            </p:nvSpPr>
            <p:spPr bwMode="auto">
              <a:xfrm>
                <a:off x="420790" y="2399780"/>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50" name="Arc 49">
                <a:extLst>
                  <a:ext uri="{FF2B5EF4-FFF2-40B4-BE49-F238E27FC236}">
                    <a16:creationId xmlns:a16="http://schemas.microsoft.com/office/drawing/2014/main" id="{3DEFB48C-C28E-41AC-A0F7-3550DFDD6D7E}"/>
                  </a:ext>
                </a:extLst>
              </p:cNvPr>
              <p:cNvSpPr/>
              <p:nvPr/>
            </p:nvSpPr>
            <p:spPr>
              <a:xfrm flipH="1">
                <a:off x="343218" y="2322206"/>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sp>
          <p:nvSpPr>
            <p:cNvPr id="108" name="Freeform: Shape 107">
              <a:extLst>
                <a:ext uri="{FF2B5EF4-FFF2-40B4-BE49-F238E27FC236}">
                  <a16:creationId xmlns:a16="http://schemas.microsoft.com/office/drawing/2014/main" id="{BACD620E-D967-428D-A1EA-2CDAF0C8D39C}"/>
                </a:ext>
              </a:extLst>
            </p:cNvPr>
            <p:cNvSpPr/>
            <p:nvPr/>
          </p:nvSpPr>
          <p:spPr>
            <a:xfrm>
              <a:off x="607119" y="2540387"/>
              <a:ext cx="499148" cy="499148"/>
            </a:xfrm>
            <a:custGeom>
              <a:avLst/>
              <a:gdLst>
                <a:gd name="connsiteX0" fmla="*/ 567647 w 1135293"/>
                <a:gd name="connsiteY0" fmla="*/ 440559 h 1135311"/>
                <a:gd name="connsiteX1" fmla="*/ 687035 w 1135293"/>
                <a:gd name="connsiteY1" fmla="*/ 559947 h 1135311"/>
                <a:gd name="connsiteX2" fmla="*/ 567647 w 1135293"/>
                <a:gd name="connsiteY2" fmla="*/ 679334 h 1135311"/>
                <a:gd name="connsiteX3" fmla="*/ 448259 w 1135293"/>
                <a:gd name="connsiteY3" fmla="*/ 559947 h 1135311"/>
                <a:gd name="connsiteX4" fmla="*/ 567647 w 1135293"/>
                <a:gd name="connsiteY4" fmla="*/ 440559 h 1135311"/>
                <a:gd name="connsiteX5" fmla="*/ 567647 w 1135293"/>
                <a:gd name="connsiteY5" fmla="*/ 99632 h 1135311"/>
                <a:gd name="connsiteX6" fmla="*/ 417516 w 1135293"/>
                <a:gd name="connsiteY6" fmla="*/ 249785 h 1135311"/>
                <a:gd name="connsiteX7" fmla="*/ 522236 w 1135293"/>
                <a:gd name="connsiteY7" fmla="*/ 249785 h 1135311"/>
                <a:gd name="connsiteX8" fmla="*/ 522236 w 1135293"/>
                <a:gd name="connsiteY8" fmla="*/ 401664 h 1135311"/>
                <a:gd name="connsiteX9" fmla="*/ 409138 w 1135293"/>
                <a:gd name="connsiteY9" fmla="*/ 515375 h 1135311"/>
                <a:gd name="connsiteX10" fmla="*/ 249765 w 1135293"/>
                <a:gd name="connsiteY10" fmla="*/ 515239 h 1135311"/>
                <a:gd name="connsiteX11" fmla="*/ 249765 w 1135293"/>
                <a:gd name="connsiteY11" fmla="*/ 410384 h 1135311"/>
                <a:gd name="connsiteX12" fmla="*/ 99611 w 1135293"/>
                <a:gd name="connsiteY12" fmla="*/ 560537 h 1135311"/>
                <a:gd name="connsiteX13" fmla="*/ 249765 w 1135293"/>
                <a:gd name="connsiteY13" fmla="*/ 710668 h 1135311"/>
                <a:gd name="connsiteX14" fmla="*/ 249765 w 1135293"/>
                <a:gd name="connsiteY14" fmla="*/ 604677 h 1135311"/>
                <a:gd name="connsiteX15" fmla="*/ 409206 w 1135293"/>
                <a:gd name="connsiteY15" fmla="*/ 604813 h 1135311"/>
                <a:gd name="connsiteX16" fmla="*/ 522236 w 1135293"/>
                <a:gd name="connsiteY16" fmla="*/ 718251 h 1135311"/>
                <a:gd name="connsiteX17" fmla="*/ 522236 w 1135293"/>
                <a:gd name="connsiteY17" fmla="*/ 823515 h 1135311"/>
                <a:gd name="connsiteX18" fmla="*/ 464835 w 1135293"/>
                <a:gd name="connsiteY18" fmla="*/ 915246 h 1135311"/>
                <a:gd name="connsiteX19" fmla="*/ 567330 w 1135293"/>
                <a:gd name="connsiteY19" fmla="*/ 1017422 h 1135311"/>
                <a:gd name="connsiteX20" fmla="*/ 669733 w 1135293"/>
                <a:gd name="connsiteY20" fmla="*/ 915246 h 1135311"/>
                <a:gd name="connsiteX21" fmla="*/ 613059 w 1135293"/>
                <a:gd name="connsiteY21" fmla="*/ 824128 h 1135311"/>
                <a:gd name="connsiteX22" fmla="*/ 613059 w 1135293"/>
                <a:gd name="connsiteY22" fmla="*/ 718251 h 1135311"/>
                <a:gd name="connsiteX23" fmla="*/ 726021 w 1135293"/>
                <a:gd name="connsiteY23" fmla="*/ 605108 h 1135311"/>
                <a:gd name="connsiteX24" fmla="*/ 885529 w 1135293"/>
                <a:gd name="connsiteY24" fmla="*/ 605245 h 1135311"/>
                <a:gd name="connsiteX25" fmla="*/ 885529 w 1135293"/>
                <a:gd name="connsiteY25" fmla="*/ 710100 h 1135311"/>
                <a:gd name="connsiteX26" fmla="*/ 1035683 w 1135293"/>
                <a:gd name="connsiteY26" fmla="*/ 559947 h 1135311"/>
                <a:gd name="connsiteX27" fmla="*/ 885529 w 1135293"/>
                <a:gd name="connsiteY27" fmla="*/ 409815 h 1135311"/>
                <a:gd name="connsiteX28" fmla="*/ 885529 w 1135293"/>
                <a:gd name="connsiteY28" fmla="*/ 515807 h 1135311"/>
                <a:gd name="connsiteX29" fmla="*/ 726225 w 1135293"/>
                <a:gd name="connsiteY29" fmla="*/ 515670 h 1135311"/>
                <a:gd name="connsiteX30" fmla="*/ 613059 w 1135293"/>
                <a:gd name="connsiteY30" fmla="*/ 401687 h 1135311"/>
                <a:gd name="connsiteX31" fmla="*/ 613059 w 1135293"/>
                <a:gd name="connsiteY31" fmla="*/ 249785 h 1135311"/>
                <a:gd name="connsiteX32" fmla="*/ 717801 w 1135293"/>
                <a:gd name="connsiteY32" fmla="*/ 249785 h 1135311"/>
                <a:gd name="connsiteX33" fmla="*/ 567670 w 1135293"/>
                <a:gd name="connsiteY33" fmla="*/ 0 h 1135311"/>
                <a:gd name="connsiteX34" fmla="*/ 641713 w 1135293"/>
                <a:gd name="connsiteY34" fmla="*/ 30698 h 1135311"/>
                <a:gd name="connsiteX35" fmla="*/ 1104595 w 1135293"/>
                <a:gd name="connsiteY35" fmla="*/ 493623 h 1135311"/>
                <a:gd name="connsiteX36" fmla="*/ 1135293 w 1135293"/>
                <a:gd name="connsiteY36" fmla="*/ 567644 h 1135311"/>
                <a:gd name="connsiteX37" fmla="*/ 1104572 w 1135293"/>
                <a:gd name="connsiteY37" fmla="*/ 641733 h 1135311"/>
                <a:gd name="connsiteX38" fmla="*/ 641713 w 1135293"/>
                <a:gd name="connsiteY38" fmla="*/ 1104612 h 1135311"/>
                <a:gd name="connsiteX39" fmla="*/ 567670 w 1135293"/>
                <a:gd name="connsiteY39" fmla="*/ 1135311 h 1135311"/>
                <a:gd name="connsiteX40" fmla="*/ 493626 w 1135293"/>
                <a:gd name="connsiteY40" fmla="*/ 1104612 h 1135311"/>
                <a:gd name="connsiteX41" fmla="*/ 30676 w 1135293"/>
                <a:gd name="connsiteY41" fmla="*/ 641687 h 1135311"/>
                <a:gd name="connsiteX42" fmla="*/ 0 w 1135293"/>
                <a:gd name="connsiteY42" fmla="*/ 567644 h 1135311"/>
                <a:gd name="connsiteX43" fmla="*/ 30676 w 1135293"/>
                <a:gd name="connsiteY43" fmla="*/ 493623 h 1135311"/>
                <a:gd name="connsiteX44" fmla="*/ 493626 w 1135293"/>
                <a:gd name="connsiteY44" fmla="*/ 30698 h 1135311"/>
                <a:gd name="connsiteX45" fmla="*/ 567670 w 1135293"/>
                <a:gd name="connsiteY45" fmla="*/ 0 h 1135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35293" h="1135311">
                  <a:moveTo>
                    <a:pt x="567647" y="440559"/>
                  </a:moveTo>
                  <a:cubicBezTo>
                    <a:pt x="633471" y="440559"/>
                    <a:pt x="687035" y="494099"/>
                    <a:pt x="687035" y="559947"/>
                  </a:cubicBezTo>
                  <a:cubicBezTo>
                    <a:pt x="687035" y="625793"/>
                    <a:pt x="633471" y="679334"/>
                    <a:pt x="567647" y="679334"/>
                  </a:cubicBezTo>
                  <a:cubicBezTo>
                    <a:pt x="501823" y="679334"/>
                    <a:pt x="448259" y="625771"/>
                    <a:pt x="448259" y="559947"/>
                  </a:cubicBezTo>
                  <a:cubicBezTo>
                    <a:pt x="448259" y="494122"/>
                    <a:pt x="501823" y="440559"/>
                    <a:pt x="567647" y="440559"/>
                  </a:cubicBezTo>
                  <a:close/>
                  <a:moveTo>
                    <a:pt x="567647" y="99632"/>
                  </a:moveTo>
                  <a:lnTo>
                    <a:pt x="417516" y="249785"/>
                  </a:lnTo>
                  <a:lnTo>
                    <a:pt x="522236" y="249785"/>
                  </a:lnTo>
                  <a:lnTo>
                    <a:pt x="522236" y="401664"/>
                  </a:lnTo>
                  <a:cubicBezTo>
                    <a:pt x="467583" y="417377"/>
                    <a:pt x="424578" y="460609"/>
                    <a:pt x="409138" y="515375"/>
                  </a:cubicBezTo>
                  <a:lnTo>
                    <a:pt x="249765" y="515239"/>
                  </a:lnTo>
                  <a:lnTo>
                    <a:pt x="249765" y="410384"/>
                  </a:lnTo>
                  <a:lnTo>
                    <a:pt x="99611" y="560537"/>
                  </a:lnTo>
                  <a:lnTo>
                    <a:pt x="249765" y="710668"/>
                  </a:lnTo>
                  <a:lnTo>
                    <a:pt x="249765" y="604677"/>
                  </a:lnTo>
                  <a:lnTo>
                    <a:pt x="409206" y="604813"/>
                  </a:lnTo>
                  <a:cubicBezTo>
                    <a:pt x="424714" y="659466"/>
                    <a:pt x="467651" y="702562"/>
                    <a:pt x="522236" y="718251"/>
                  </a:cubicBezTo>
                  <a:lnTo>
                    <a:pt x="522236" y="823515"/>
                  </a:lnTo>
                  <a:cubicBezTo>
                    <a:pt x="499530" y="840045"/>
                    <a:pt x="464835" y="874785"/>
                    <a:pt x="464835" y="915246"/>
                  </a:cubicBezTo>
                  <a:cubicBezTo>
                    <a:pt x="464835" y="971579"/>
                    <a:pt x="510996" y="1017422"/>
                    <a:pt x="567330" y="1017422"/>
                  </a:cubicBezTo>
                  <a:cubicBezTo>
                    <a:pt x="623663" y="1017422"/>
                    <a:pt x="669733" y="971579"/>
                    <a:pt x="669733" y="915246"/>
                  </a:cubicBezTo>
                  <a:cubicBezTo>
                    <a:pt x="669733" y="875239"/>
                    <a:pt x="635765" y="840908"/>
                    <a:pt x="613059" y="824128"/>
                  </a:cubicBezTo>
                  <a:lnTo>
                    <a:pt x="613059" y="718251"/>
                  </a:lnTo>
                  <a:cubicBezTo>
                    <a:pt x="667530" y="702607"/>
                    <a:pt x="710444" y="659602"/>
                    <a:pt x="726021" y="605108"/>
                  </a:cubicBezTo>
                  <a:lnTo>
                    <a:pt x="885529" y="605245"/>
                  </a:lnTo>
                  <a:lnTo>
                    <a:pt x="885529" y="710100"/>
                  </a:lnTo>
                  <a:lnTo>
                    <a:pt x="1035683" y="559947"/>
                  </a:lnTo>
                  <a:lnTo>
                    <a:pt x="885529" y="409815"/>
                  </a:lnTo>
                  <a:lnTo>
                    <a:pt x="885529" y="515807"/>
                  </a:lnTo>
                  <a:lnTo>
                    <a:pt x="726225" y="515670"/>
                  </a:lnTo>
                  <a:cubicBezTo>
                    <a:pt x="710853" y="460768"/>
                    <a:pt x="667803" y="417400"/>
                    <a:pt x="613059" y="401687"/>
                  </a:cubicBezTo>
                  <a:lnTo>
                    <a:pt x="613059" y="249785"/>
                  </a:lnTo>
                  <a:lnTo>
                    <a:pt x="717801" y="249785"/>
                  </a:lnTo>
                  <a:close/>
                  <a:moveTo>
                    <a:pt x="567670" y="0"/>
                  </a:moveTo>
                  <a:cubicBezTo>
                    <a:pt x="595621" y="0"/>
                    <a:pt x="621937" y="10899"/>
                    <a:pt x="641713" y="30698"/>
                  </a:cubicBezTo>
                  <a:lnTo>
                    <a:pt x="1104595" y="493623"/>
                  </a:lnTo>
                  <a:cubicBezTo>
                    <a:pt x="1124417" y="513332"/>
                    <a:pt x="1135293" y="539648"/>
                    <a:pt x="1135293" y="567644"/>
                  </a:cubicBezTo>
                  <a:cubicBezTo>
                    <a:pt x="1135293" y="595640"/>
                    <a:pt x="1124417" y="621956"/>
                    <a:pt x="1104572" y="641733"/>
                  </a:cubicBezTo>
                  <a:lnTo>
                    <a:pt x="641713" y="1104612"/>
                  </a:lnTo>
                  <a:cubicBezTo>
                    <a:pt x="621959" y="1124412"/>
                    <a:pt x="595621" y="1135311"/>
                    <a:pt x="567670" y="1135311"/>
                  </a:cubicBezTo>
                  <a:cubicBezTo>
                    <a:pt x="539696" y="1135311"/>
                    <a:pt x="513357" y="1124412"/>
                    <a:pt x="493626" y="1104612"/>
                  </a:cubicBezTo>
                  <a:lnTo>
                    <a:pt x="30676" y="641687"/>
                  </a:lnTo>
                  <a:cubicBezTo>
                    <a:pt x="11171" y="622183"/>
                    <a:pt x="0" y="595231"/>
                    <a:pt x="0" y="567644"/>
                  </a:cubicBezTo>
                  <a:cubicBezTo>
                    <a:pt x="0" y="540079"/>
                    <a:pt x="11171" y="513105"/>
                    <a:pt x="30676" y="493623"/>
                  </a:cubicBezTo>
                  <a:lnTo>
                    <a:pt x="493626" y="30698"/>
                  </a:lnTo>
                  <a:cubicBezTo>
                    <a:pt x="513403" y="10899"/>
                    <a:pt x="539696" y="0"/>
                    <a:pt x="567670" y="0"/>
                  </a:cubicBezTo>
                  <a:close/>
                </a:path>
              </a:pathLst>
            </a:custGeom>
            <a:solidFill>
              <a:schemeClr val="bg1"/>
            </a:solidFill>
            <a:ln w="22670" cap="flat">
              <a:noFill/>
              <a:prstDash val="solid"/>
              <a:miter/>
            </a:ln>
          </p:spPr>
          <p:txBody>
            <a:bodyPr rtlCol="0" anchor="ctr"/>
            <a:lstStyle/>
            <a:p>
              <a:endParaRPr lang="en-IN"/>
            </a:p>
          </p:txBody>
        </p:sp>
      </p:grpSp>
      <p:grpSp>
        <p:nvGrpSpPr>
          <p:cNvPr id="140" name="Group 139">
            <a:extLst>
              <a:ext uri="{FF2B5EF4-FFF2-40B4-BE49-F238E27FC236}">
                <a16:creationId xmlns:a16="http://schemas.microsoft.com/office/drawing/2014/main" id="{087F4062-AD7C-4BA9-BBBF-D57CAB8231EF}"/>
              </a:ext>
            </a:extLst>
          </p:cNvPr>
          <p:cNvGrpSpPr/>
          <p:nvPr/>
        </p:nvGrpSpPr>
        <p:grpSpPr>
          <a:xfrm>
            <a:off x="388938" y="3451392"/>
            <a:ext cx="935510" cy="935510"/>
            <a:chOff x="388938" y="3451392"/>
            <a:chExt cx="935510" cy="935510"/>
          </a:xfrm>
        </p:grpSpPr>
        <p:grpSp>
          <p:nvGrpSpPr>
            <p:cNvPr id="37" name="Group 36">
              <a:extLst>
                <a:ext uri="{FF2B5EF4-FFF2-40B4-BE49-F238E27FC236}">
                  <a16:creationId xmlns:a16="http://schemas.microsoft.com/office/drawing/2014/main" id="{B4D17F39-525A-4D50-BCB3-849E1B1B84D4}"/>
                </a:ext>
              </a:extLst>
            </p:cNvPr>
            <p:cNvGrpSpPr/>
            <p:nvPr/>
          </p:nvGrpSpPr>
          <p:grpSpPr>
            <a:xfrm>
              <a:off x="388938" y="3451392"/>
              <a:ext cx="935510" cy="935510"/>
              <a:chOff x="343218" y="3451392"/>
              <a:chExt cx="935510" cy="935510"/>
            </a:xfrm>
          </p:grpSpPr>
          <p:sp>
            <p:nvSpPr>
              <p:cNvPr id="52" name="Oval 51">
                <a:extLst>
                  <a:ext uri="{FF2B5EF4-FFF2-40B4-BE49-F238E27FC236}">
                    <a16:creationId xmlns:a16="http://schemas.microsoft.com/office/drawing/2014/main" id="{161D5559-5D99-4863-AE8E-D2CAD01E0BA8}"/>
                  </a:ext>
                </a:extLst>
              </p:cNvPr>
              <p:cNvSpPr/>
              <p:nvPr/>
            </p:nvSpPr>
            <p:spPr bwMode="auto">
              <a:xfrm>
                <a:off x="420790" y="3528966"/>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53" name="Arc 52">
                <a:extLst>
                  <a:ext uri="{FF2B5EF4-FFF2-40B4-BE49-F238E27FC236}">
                    <a16:creationId xmlns:a16="http://schemas.microsoft.com/office/drawing/2014/main" id="{C82F85B8-F5BE-4A0C-90B4-9274BA0575BE}"/>
                  </a:ext>
                </a:extLst>
              </p:cNvPr>
              <p:cNvSpPr/>
              <p:nvPr/>
            </p:nvSpPr>
            <p:spPr>
              <a:xfrm>
                <a:off x="343218" y="3451392"/>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sp>
          <p:nvSpPr>
            <p:cNvPr id="109" name="Freeform: Shape 108">
              <a:extLst>
                <a:ext uri="{FF2B5EF4-FFF2-40B4-BE49-F238E27FC236}">
                  <a16:creationId xmlns:a16="http://schemas.microsoft.com/office/drawing/2014/main" id="{35FE60EA-0677-43A6-9DE4-368F484A8F51}"/>
                </a:ext>
              </a:extLst>
            </p:cNvPr>
            <p:cNvSpPr/>
            <p:nvPr/>
          </p:nvSpPr>
          <p:spPr>
            <a:xfrm>
              <a:off x="607119" y="3669573"/>
              <a:ext cx="499148" cy="499148"/>
            </a:xfrm>
            <a:custGeom>
              <a:avLst/>
              <a:gdLst>
                <a:gd name="connsiteX0" fmla="*/ 237020 w 516723"/>
                <a:gd name="connsiteY0" fmla="*/ 64633 h 515691"/>
                <a:gd name="connsiteX1" fmla="*/ 256287 w 516723"/>
                <a:gd name="connsiteY1" fmla="*/ 85911 h 515691"/>
                <a:gd name="connsiteX2" fmla="*/ 256297 w 516723"/>
                <a:gd name="connsiteY2" fmla="*/ 85921 h 515691"/>
                <a:gd name="connsiteX3" fmla="*/ 302461 w 516723"/>
                <a:gd name="connsiteY3" fmla="*/ 77319 h 515691"/>
                <a:gd name="connsiteX4" fmla="*/ 312414 w 516723"/>
                <a:gd name="connsiteY4" fmla="*/ 87520 h 515691"/>
                <a:gd name="connsiteX5" fmla="*/ 269158 w 516723"/>
                <a:gd name="connsiteY5" fmla="*/ 99133 h 515691"/>
                <a:gd name="connsiteX6" fmla="*/ 292045 w 516723"/>
                <a:gd name="connsiteY6" fmla="*/ 120751 h 515691"/>
                <a:gd name="connsiteX7" fmla="*/ 311187 w 516723"/>
                <a:gd name="connsiteY7" fmla="*/ 124546 h 515691"/>
                <a:gd name="connsiteX8" fmla="*/ 313198 w 516723"/>
                <a:gd name="connsiteY8" fmla="*/ 138820 h 515691"/>
                <a:gd name="connsiteX9" fmla="*/ 325038 w 516723"/>
                <a:gd name="connsiteY9" fmla="*/ 148082 h 515691"/>
                <a:gd name="connsiteX10" fmla="*/ 323192 w 516723"/>
                <a:gd name="connsiteY10" fmla="*/ 153992 h 515691"/>
                <a:gd name="connsiteX11" fmla="*/ 309330 w 516723"/>
                <a:gd name="connsiteY11" fmla="*/ 144452 h 515691"/>
                <a:gd name="connsiteX12" fmla="*/ 308423 w 516723"/>
                <a:gd name="connsiteY12" fmla="*/ 145308 h 515691"/>
                <a:gd name="connsiteX13" fmla="*/ 287610 w 516723"/>
                <a:gd name="connsiteY13" fmla="*/ 142533 h 515691"/>
                <a:gd name="connsiteX14" fmla="*/ 286052 w 516723"/>
                <a:gd name="connsiteY14" fmla="*/ 127228 h 515691"/>
                <a:gd name="connsiteX15" fmla="*/ 259659 w 516723"/>
                <a:gd name="connsiteY15" fmla="*/ 104970 h 515691"/>
                <a:gd name="connsiteX16" fmla="*/ 259669 w 516723"/>
                <a:gd name="connsiteY16" fmla="*/ 104970 h 515691"/>
                <a:gd name="connsiteX17" fmla="*/ 259009 w 516723"/>
                <a:gd name="connsiteY17" fmla="*/ 104341 h 515691"/>
                <a:gd name="connsiteX18" fmla="*/ 259659 w 516723"/>
                <a:gd name="connsiteY18" fmla="*/ 104981 h 515691"/>
                <a:gd name="connsiteX19" fmla="*/ 241672 w 516723"/>
                <a:gd name="connsiteY19" fmla="*/ 119534 h 515691"/>
                <a:gd name="connsiteX20" fmla="*/ 239269 w 516723"/>
                <a:gd name="connsiteY20" fmla="*/ 121895 h 515691"/>
                <a:gd name="connsiteX21" fmla="*/ 238392 w 516723"/>
                <a:gd name="connsiteY21" fmla="*/ 142729 h 515691"/>
                <a:gd name="connsiteX22" fmla="*/ 242146 w 516723"/>
                <a:gd name="connsiteY22" fmla="*/ 145813 h 515691"/>
                <a:gd name="connsiteX23" fmla="*/ 260794 w 516723"/>
                <a:gd name="connsiteY23" fmla="*/ 158200 h 515691"/>
                <a:gd name="connsiteX24" fmla="*/ 279059 w 516723"/>
                <a:gd name="connsiteY24" fmla="*/ 161325 h 515691"/>
                <a:gd name="connsiteX25" fmla="*/ 281535 w 516723"/>
                <a:gd name="connsiteY25" fmla="*/ 166791 h 515691"/>
                <a:gd name="connsiteX26" fmla="*/ 315477 w 516723"/>
                <a:gd name="connsiteY26" fmla="*/ 169112 h 515691"/>
                <a:gd name="connsiteX27" fmla="*/ 306639 w 516723"/>
                <a:gd name="connsiteY27" fmla="*/ 180003 h 515691"/>
                <a:gd name="connsiteX28" fmla="*/ 279575 w 516723"/>
                <a:gd name="connsiteY28" fmla="*/ 177188 h 515691"/>
                <a:gd name="connsiteX29" fmla="*/ 276522 w 516723"/>
                <a:gd name="connsiteY29" fmla="*/ 180540 h 515691"/>
                <a:gd name="connsiteX30" fmla="*/ 257256 w 516723"/>
                <a:gd name="connsiteY30" fmla="*/ 178002 h 515691"/>
                <a:gd name="connsiteX31" fmla="*/ 254585 w 516723"/>
                <a:gd name="connsiteY31" fmla="*/ 168297 h 515691"/>
                <a:gd name="connsiteX32" fmla="*/ 234483 w 516723"/>
                <a:gd name="connsiteY32" fmla="*/ 155487 h 515691"/>
                <a:gd name="connsiteX33" fmla="*/ 228893 w 516723"/>
                <a:gd name="connsiteY33" fmla="*/ 150764 h 515691"/>
                <a:gd name="connsiteX34" fmla="*/ 219281 w 516723"/>
                <a:gd name="connsiteY34" fmla="*/ 152321 h 515691"/>
                <a:gd name="connsiteX35" fmla="*/ 214547 w 516723"/>
                <a:gd name="connsiteY35" fmla="*/ 183706 h 515691"/>
                <a:gd name="connsiteX36" fmla="*/ 203067 w 516723"/>
                <a:gd name="connsiteY36" fmla="*/ 172650 h 515691"/>
                <a:gd name="connsiteX37" fmla="*/ 201768 w 516723"/>
                <a:gd name="connsiteY37" fmla="*/ 170174 h 515691"/>
                <a:gd name="connsiteX38" fmla="*/ 205801 w 516723"/>
                <a:gd name="connsiteY38" fmla="*/ 145999 h 515691"/>
                <a:gd name="connsiteX39" fmla="*/ 204253 w 516723"/>
                <a:gd name="connsiteY39" fmla="*/ 144214 h 515691"/>
                <a:gd name="connsiteX40" fmla="*/ 204264 w 516723"/>
                <a:gd name="connsiteY40" fmla="*/ 118956 h 515691"/>
                <a:gd name="connsiteX41" fmla="*/ 201541 w 516723"/>
                <a:gd name="connsiteY41" fmla="*/ 91098 h 515691"/>
                <a:gd name="connsiteX42" fmla="*/ 208967 w 516723"/>
                <a:gd name="connsiteY42" fmla="*/ 82084 h 515691"/>
                <a:gd name="connsiteX43" fmla="*/ 213722 w 516723"/>
                <a:gd name="connsiteY43" fmla="*/ 111974 h 515691"/>
                <a:gd name="connsiteX44" fmla="*/ 225087 w 516723"/>
                <a:gd name="connsiteY44" fmla="*/ 111200 h 515691"/>
                <a:gd name="connsiteX45" fmla="*/ 227408 w 516723"/>
                <a:gd name="connsiteY45" fmla="*/ 108632 h 515691"/>
                <a:gd name="connsiteX46" fmla="*/ 246571 w 516723"/>
                <a:gd name="connsiteY46" fmla="*/ 92037 h 515691"/>
                <a:gd name="connsiteX47" fmla="*/ 246519 w 516723"/>
                <a:gd name="connsiteY47" fmla="*/ 91985 h 515691"/>
                <a:gd name="connsiteX48" fmla="*/ 227882 w 516723"/>
                <a:gd name="connsiteY48" fmla="*/ 68346 h 515691"/>
                <a:gd name="connsiteX49" fmla="*/ 237020 w 516723"/>
                <a:gd name="connsiteY49" fmla="*/ 64633 h 515691"/>
                <a:gd name="connsiteX50" fmla="*/ 258289 w 516723"/>
                <a:gd name="connsiteY50" fmla="*/ 50885 h 515691"/>
                <a:gd name="connsiteX51" fmla="*/ 210029 w 516723"/>
                <a:gd name="connsiteY51" fmla="*/ 67263 h 515691"/>
                <a:gd name="connsiteX52" fmla="*/ 195209 w 516723"/>
                <a:gd name="connsiteY52" fmla="*/ 178767 h 515691"/>
                <a:gd name="connsiteX53" fmla="*/ 223721 w 516723"/>
                <a:gd name="connsiteY53" fmla="*/ 202036 h 515691"/>
                <a:gd name="connsiteX54" fmla="*/ 224483 w 516723"/>
                <a:gd name="connsiteY54" fmla="*/ 202210 h 515691"/>
                <a:gd name="connsiteX55" fmla="*/ 143744 w 516723"/>
                <a:gd name="connsiteY55" fmla="*/ 282950 h 515691"/>
                <a:gd name="connsiteX56" fmla="*/ 110202 w 516723"/>
                <a:gd name="connsiteY56" fmla="*/ 249410 h 515691"/>
                <a:gd name="connsiteX57" fmla="*/ 110202 w 516723"/>
                <a:gd name="connsiteY57" fmla="*/ 345668 h 515691"/>
                <a:gd name="connsiteX58" fmla="*/ 206462 w 516723"/>
                <a:gd name="connsiteY58" fmla="*/ 345668 h 515691"/>
                <a:gd name="connsiteX59" fmla="*/ 172921 w 516723"/>
                <a:gd name="connsiteY59" fmla="*/ 312128 h 515691"/>
                <a:gd name="connsiteX60" fmla="*/ 237217 w 516723"/>
                <a:gd name="connsiteY60" fmla="*/ 247832 h 515691"/>
                <a:gd name="connsiteX61" fmla="*/ 237217 w 516723"/>
                <a:gd name="connsiteY61" fmla="*/ 402238 h 515691"/>
                <a:gd name="connsiteX62" fmla="*/ 189773 w 516723"/>
                <a:gd name="connsiteY62" fmla="*/ 402238 h 515691"/>
                <a:gd name="connsiteX63" fmla="*/ 257844 w 516723"/>
                <a:gd name="connsiteY63" fmla="*/ 470310 h 515691"/>
                <a:gd name="connsiteX64" fmla="*/ 325915 w 516723"/>
                <a:gd name="connsiteY64" fmla="*/ 402238 h 515691"/>
                <a:gd name="connsiteX65" fmla="*/ 277440 w 516723"/>
                <a:gd name="connsiteY65" fmla="*/ 402238 h 515691"/>
                <a:gd name="connsiteX66" fmla="*/ 277440 w 516723"/>
                <a:gd name="connsiteY66" fmla="*/ 246273 h 515691"/>
                <a:gd name="connsiteX67" fmla="*/ 342924 w 516723"/>
                <a:gd name="connsiteY67" fmla="*/ 311756 h 515691"/>
                <a:gd name="connsiteX68" fmla="*/ 309373 w 516723"/>
                <a:gd name="connsiteY68" fmla="*/ 345307 h 515691"/>
                <a:gd name="connsiteX69" fmla="*/ 405642 w 516723"/>
                <a:gd name="connsiteY69" fmla="*/ 345307 h 515691"/>
                <a:gd name="connsiteX70" fmla="*/ 405642 w 516723"/>
                <a:gd name="connsiteY70" fmla="*/ 249038 h 515691"/>
                <a:gd name="connsiteX71" fmla="*/ 372091 w 516723"/>
                <a:gd name="connsiteY71" fmla="*/ 282589 h 515691"/>
                <a:gd name="connsiteX72" fmla="*/ 289071 w 516723"/>
                <a:gd name="connsiteY72" fmla="*/ 199568 h 515691"/>
                <a:gd name="connsiteX73" fmla="*/ 306712 w 516723"/>
                <a:gd name="connsiteY73" fmla="*/ 193578 h 515691"/>
                <a:gd name="connsiteX74" fmla="*/ 321523 w 516723"/>
                <a:gd name="connsiteY74" fmla="*/ 82095 h 515691"/>
                <a:gd name="connsiteX75" fmla="*/ 258289 w 516723"/>
                <a:gd name="connsiteY75" fmla="*/ 50885 h 515691"/>
                <a:gd name="connsiteX76" fmla="*/ 257846 w 516723"/>
                <a:gd name="connsiteY76" fmla="*/ 0 h 515691"/>
                <a:gd name="connsiteX77" fmla="*/ 291882 w 516723"/>
                <a:gd name="connsiteY77" fmla="*/ 14439 h 515691"/>
                <a:gd name="connsiteX78" fmla="*/ 502283 w 516723"/>
                <a:gd name="connsiteY78" fmla="*/ 224842 h 515691"/>
                <a:gd name="connsiteX79" fmla="*/ 516723 w 516723"/>
                <a:gd name="connsiteY79" fmla="*/ 258878 h 515691"/>
                <a:gd name="connsiteX80" fmla="*/ 502283 w 516723"/>
                <a:gd name="connsiteY80" fmla="*/ 292913 h 515691"/>
                <a:gd name="connsiteX81" fmla="*/ 291882 w 516723"/>
                <a:gd name="connsiteY81" fmla="*/ 501252 h 515691"/>
                <a:gd name="connsiteX82" fmla="*/ 257846 w 516723"/>
                <a:gd name="connsiteY82" fmla="*/ 515691 h 515691"/>
                <a:gd name="connsiteX83" fmla="*/ 223811 w 516723"/>
                <a:gd name="connsiteY83" fmla="*/ 501252 h 515691"/>
                <a:gd name="connsiteX84" fmla="*/ 14439 w 516723"/>
                <a:gd name="connsiteY84" fmla="*/ 291882 h 515691"/>
                <a:gd name="connsiteX85" fmla="*/ 0 w 516723"/>
                <a:gd name="connsiteY85" fmla="*/ 257846 h 515691"/>
                <a:gd name="connsiteX86" fmla="*/ 14439 w 516723"/>
                <a:gd name="connsiteY86" fmla="*/ 223811 h 515691"/>
                <a:gd name="connsiteX87" fmla="*/ 223811 w 516723"/>
                <a:gd name="connsiteY87" fmla="*/ 14439 h 515691"/>
                <a:gd name="connsiteX88" fmla="*/ 257846 w 516723"/>
                <a:gd name="connsiteY88" fmla="*/ 0 h 515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516723" h="515691">
                  <a:moveTo>
                    <a:pt x="237020" y="64633"/>
                  </a:moveTo>
                  <a:cubicBezTo>
                    <a:pt x="243559" y="72224"/>
                    <a:pt x="249975" y="79310"/>
                    <a:pt x="256287" y="85911"/>
                  </a:cubicBezTo>
                  <a:lnTo>
                    <a:pt x="256297" y="85921"/>
                  </a:lnTo>
                  <a:cubicBezTo>
                    <a:pt x="275233" y="75855"/>
                    <a:pt x="291797" y="75669"/>
                    <a:pt x="302461" y="77319"/>
                  </a:cubicBezTo>
                  <a:cubicBezTo>
                    <a:pt x="306051" y="80341"/>
                    <a:pt x="309413" y="83693"/>
                    <a:pt x="312414" y="87520"/>
                  </a:cubicBezTo>
                  <a:cubicBezTo>
                    <a:pt x="312414" y="87520"/>
                    <a:pt x="294448" y="85529"/>
                    <a:pt x="269158" y="99133"/>
                  </a:cubicBezTo>
                  <a:cubicBezTo>
                    <a:pt x="277296" y="107219"/>
                    <a:pt x="285021" y="114449"/>
                    <a:pt x="292045" y="120751"/>
                  </a:cubicBezTo>
                  <a:cubicBezTo>
                    <a:pt x="298418" y="117069"/>
                    <a:pt x="306577" y="118585"/>
                    <a:pt x="311187" y="124546"/>
                  </a:cubicBezTo>
                  <a:cubicBezTo>
                    <a:pt x="314405" y="128775"/>
                    <a:pt x="314962" y="134189"/>
                    <a:pt x="313198" y="138820"/>
                  </a:cubicBezTo>
                  <a:cubicBezTo>
                    <a:pt x="318572" y="143173"/>
                    <a:pt x="322295" y="146040"/>
                    <a:pt x="325038" y="148082"/>
                  </a:cubicBezTo>
                  <a:cubicBezTo>
                    <a:pt x="324492" y="150083"/>
                    <a:pt x="323966" y="152001"/>
                    <a:pt x="323192" y="153992"/>
                  </a:cubicBezTo>
                  <a:cubicBezTo>
                    <a:pt x="320593" y="152228"/>
                    <a:pt x="315983" y="149134"/>
                    <a:pt x="309330" y="144452"/>
                  </a:cubicBezTo>
                  <a:cubicBezTo>
                    <a:pt x="309021" y="144730"/>
                    <a:pt x="308763" y="145050"/>
                    <a:pt x="308423" y="145308"/>
                  </a:cubicBezTo>
                  <a:cubicBezTo>
                    <a:pt x="301925" y="150248"/>
                    <a:pt x="292622" y="149072"/>
                    <a:pt x="287610" y="142533"/>
                  </a:cubicBezTo>
                  <a:cubicBezTo>
                    <a:pt x="284134" y="137985"/>
                    <a:pt x="283773" y="132075"/>
                    <a:pt x="286052" y="127228"/>
                  </a:cubicBezTo>
                  <a:cubicBezTo>
                    <a:pt x="277399" y="120482"/>
                    <a:pt x="268271" y="112933"/>
                    <a:pt x="259659" y="104970"/>
                  </a:cubicBezTo>
                  <a:cubicBezTo>
                    <a:pt x="259669" y="104970"/>
                    <a:pt x="259669" y="104970"/>
                    <a:pt x="259669" y="104970"/>
                  </a:cubicBezTo>
                  <a:cubicBezTo>
                    <a:pt x="259443" y="104764"/>
                    <a:pt x="259236" y="104548"/>
                    <a:pt x="259009" y="104341"/>
                  </a:cubicBezTo>
                  <a:cubicBezTo>
                    <a:pt x="259226" y="104548"/>
                    <a:pt x="259432" y="104774"/>
                    <a:pt x="259659" y="104981"/>
                  </a:cubicBezTo>
                  <a:cubicBezTo>
                    <a:pt x="254048" y="108807"/>
                    <a:pt x="248046" y="113572"/>
                    <a:pt x="241672" y="119534"/>
                  </a:cubicBezTo>
                  <a:cubicBezTo>
                    <a:pt x="240836" y="120317"/>
                    <a:pt x="240063" y="121101"/>
                    <a:pt x="239269" y="121895"/>
                  </a:cubicBezTo>
                  <a:cubicBezTo>
                    <a:pt x="242745" y="128579"/>
                    <a:pt x="242332" y="136531"/>
                    <a:pt x="238392" y="142729"/>
                  </a:cubicBezTo>
                  <a:cubicBezTo>
                    <a:pt x="239599" y="143761"/>
                    <a:pt x="240847" y="144782"/>
                    <a:pt x="242146" y="145813"/>
                  </a:cubicBezTo>
                  <a:cubicBezTo>
                    <a:pt x="248582" y="150908"/>
                    <a:pt x="254832" y="154961"/>
                    <a:pt x="260794" y="158200"/>
                  </a:cubicBezTo>
                  <a:cubicBezTo>
                    <a:pt x="266734" y="154374"/>
                    <a:pt x="274707" y="155611"/>
                    <a:pt x="279059" y="161325"/>
                  </a:cubicBezTo>
                  <a:cubicBezTo>
                    <a:pt x="280328" y="162996"/>
                    <a:pt x="281122" y="164863"/>
                    <a:pt x="281535" y="166791"/>
                  </a:cubicBezTo>
                  <a:cubicBezTo>
                    <a:pt x="298687" y="171721"/>
                    <a:pt x="311249" y="169999"/>
                    <a:pt x="315477" y="169112"/>
                  </a:cubicBezTo>
                  <a:cubicBezTo>
                    <a:pt x="312641" y="173279"/>
                    <a:pt x="307701" y="180003"/>
                    <a:pt x="306639" y="180003"/>
                  </a:cubicBezTo>
                  <a:cubicBezTo>
                    <a:pt x="299687" y="180003"/>
                    <a:pt x="290312" y="179580"/>
                    <a:pt x="279575" y="177188"/>
                  </a:cubicBezTo>
                  <a:cubicBezTo>
                    <a:pt x="278760" y="178425"/>
                    <a:pt x="277770" y="179580"/>
                    <a:pt x="276522" y="180540"/>
                  </a:cubicBezTo>
                  <a:cubicBezTo>
                    <a:pt x="270520" y="185129"/>
                    <a:pt x="261908" y="184005"/>
                    <a:pt x="257256" y="178002"/>
                  </a:cubicBezTo>
                  <a:cubicBezTo>
                    <a:pt x="255080" y="175125"/>
                    <a:pt x="254244" y="171649"/>
                    <a:pt x="254585" y="168297"/>
                  </a:cubicBezTo>
                  <a:cubicBezTo>
                    <a:pt x="248005" y="165017"/>
                    <a:pt x="241249" y="160851"/>
                    <a:pt x="234483" y="155487"/>
                  </a:cubicBezTo>
                  <a:cubicBezTo>
                    <a:pt x="232503" y="153889"/>
                    <a:pt x="230657" y="152321"/>
                    <a:pt x="228893" y="150764"/>
                  </a:cubicBezTo>
                  <a:cubicBezTo>
                    <a:pt x="225809" y="152053"/>
                    <a:pt x="222519" y="152569"/>
                    <a:pt x="219281" y="152321"/>
                  </a:cubicBezTo>
                  <a:cubicBezTo>
                    <a:pt x="214588" y="164925"/>
                    <a:pt x="214052" y="176115"/>
                    <a:pt x="214547" y="183706"/>
                  </a:cubicBezTo>
                  <a:cubicBezTo>
                    <a:pt x="210535" y="180467"/>
                    <a:pt x="206378" y="176889"/>
                    <a:pt x="203067" y="172650"/>
                  </a:cubicBezTo>
                  <a:cubicBezTo>
                    <a:pt x="202418" y="171783"/>
                    <a:pt x="202418" y="171061"/>
                    <a:pt x="201768" y="170174"/>
                  </a:cubicBezTo>
                  <a:cubicBezTo>
                    <a:pt x="202118" y="163006"/>
                    <a:pt x="203263" y="154652"/>
                    <a:pt x="205801" y="145999"/>
                  </a:cubicBezTo>
                  <a:cubicBezTo>
                    <a:pt x="205254" y="145431"/>
                    <a:pt x="204738" y="144844"/>
                    <a:pt x="204253" y="144214"/>
                  </a:cubicBezTo>
                  <a:cubicBezTo>
                    <a:pt x="198426" y="136582"/>
                    <a:pt x="198694" y="126248"/>
                    <a:pt x="204264" y="118956"/>
                  </a:cubicBezTo>
                  <a:cubicBezTo>
                    <a:pt x="199447" y="107374"/>
                    <a:pt x="199911" y="97761"/>
                    <a:pt x="201541" y="91098"/>
                  </a:cubicBezTo>
                  <a:cubicBezTo>
                    <a:pt x="203717" y="87911"/>
                    <a:pt x="206254" y="84931"/>
                    <a:pt x="208967" y="82084"/>
                  </a:cubicBezTo>
                  <a:cubicBezTo>
                    <a:pt x="207977" y="87664"/>
                    <a:pt x="207471" y="98493"/>
                    <a:pt x="213722" y="111974"/>
                  </a:cubicBezTo>
                  <a:cubicBezTo>
                    <a:pt x="217404" y="110643"/>
                    <a:pt x="221343" y="110416"/>
                    <a:pt x="225087" y="111200"/>
                  </a:cubicBezTo>
                  <a:cubicBezTo>
                    <a:pt x="225840" y="110344"/>
                    <a:pt x="226603" y="109488"/>
                    <a:pt x="227408" y="108632"/>
                  </a:cubicBezTo>
                  <a:cubicBezTo>
                    <a:pt x="233679" y="102010"/>
                    <a:pt x="240465" y="96307"/>
                    <a:pt x="246571" y="92037"/>
                  </a:cubicBezTo>
                  <a:cubicBezTo>
                    <a:pt x="246550" y="92016"/>
                    <a:pt x="246530" y="92006"/>
                    <a:pt x="246519" y="91985"/>
                  </a:cubicBezTo>
                  <a:cubicBezTo>
                    <a:pt x="239207" y="84209"/>
                    <a:pt x="232709" y="76247"/>
                    <a:pt x="227882" y="68346"/>
                  </a:cubicBezTo>
                  <a:cubicBezTo>
                    <a:pt x="230832" y="66871"/>
                    <a:pt x="233895" y="65634"/>
                    <a:pt x="237020" y="64633"/>
                  </a:cubicBezTo>
                  <a:close/>
                  <a:moveTo>
                    <a:pt x="258289" y="50885"/>
                  </a:moveTo>
                  <a:cubicBezTo>
                    <a:pt x="241446" y="50885"/>
                    <a:pt x="224439" y="56176"/>
                    <a:pt x="210029" y="67263"/>
                  </a:cubicBezTo>
                  <a:cubicBezTo>
                    <a:pt x="175086" y="93997"/>
                    <a:pt x="168496" y="143886"/>
                    <a:pt x="195209" y="178767"/>
                  </a:cubicBezTo>
                  <a:cubicBezTo>
                    <a:pt x="203032" y="188993"/>
                    <a:pt x="212859" y="196793"/>
                    <a:pt x="223721" y="202036"/>
                  </a:cubicBezTo>
                  <a:lnTo>
                    <a:pt x="224483" y="202210"/>
                  </a:lnTo>
                  <a:lnTo>
                    <a:pt x="143744" y="282950"/>
                  </a:lnTo>
                  <a:lnTo>
                    <a:pt x="110202" y="249410"/>
                  </a:lnTo>
                  <a:lnTo>
                    <a:pt x="110202" y="345668"/>
                  </a:lnTo>
                  <a:lnTo>
                    <a:pt x="206462" y="345668"/>
                  </a:lnTo>
                  <a:lnTo>
                    <a:pt x="172921" y="312128"/>
                  </a:lnTo>
                  <a:lnTo>
                    <a:pt x="237217" y="247832"/>
                  </a:lnTo>
                  <a:lnTo>
                    <a:pt x="237217" y="402238"/>
                  </a:lnTo>
                  <a:lnTo>
                    <a:pt x="189773" y="402238"/>
                  </a:lnTo>
                  <a:lnTo>
                    <a:pt x="257844" y="470310"/>
                  </a:lnTo>
                  <a:lnTo>
                    <a:pt x="325915" y="402238"/>
                  </a:lnTo>
                  <a:lnTo>
                    <a:pt x="277440" y="402238"/>
                  </a:lnTo>
                  <a:lnTo>
                    <a:pt x="277440" y="246273"/>
                  </a:lnTo>
                  <a:lnTo>
                    <a:pt x="342924" y="311756"/>
                  </a:lnTo>
                  <a:lnTo>
                    <a:pt x="309373" y="345307"/>
                  </a:lnTo>
                  <a:lnTo>
                    <a:pt x="405642" y="345307"/>
                  </a:lnTo>
                  <a:lnTo>
                    <a:pt x="405642" y="249038"/>
                  </a:lnTo>
                  <a:lnTo>
                    <a:pt x="372091" y="282589"/>
                  </a:lnTo>
                  <a:lnTo>
                    <a:pt x="289071" y="199568"/>
                  </a:lnTo>
                  <a:lnTo>
                    <a:pt x="306712" y="193578"/>
                  </a:lnTo>
                  <a:cubicBezTo>
                    <a:pt x="341583" y="166885"/>
                    <a:pt x="348246" y="116987"/>
                    <a:pt x="321523" y="82095"/>
                  </a:cubicBezTo>
                  <a:cubicBezTo>
                    <a:pt x="305887" y="61632"/>
                    <a:pt x="282217" y="50885"/>
                    <a:pt x="258289" y="50885"/>
                  </a:cubicBezTo>
                  <a:close/>
                  <a:moveTo>
                    <a:pt x="257846" y="0"/>
                  </a:moveTo>
                  <a:cubicBezTo>
                    <a:pt x="270223" y="0"/>
                    <a:pt x="282599" y="5157"/>
                    <a:pt x="291882" y="14439"/>
                  </a:cubicBezTo>
                  <a:lnTo>
                    <a:pt x="502283" y="224842"/>
                  </a:lnTo>
                  <a:cubicBezTo>
                    <a:pt x="511566" y="234124"/>
                    <a:pt x="516723" y="245470"/>
                    <a:pt x="516723" y="258878"/>
                  </a:cubicBezTo>
                  <a:cubicBezTo>
                    <a:pt x="516723" y="271254"/>
                    <a:pt x="511566" y="283631"/>
                    <a:pt x="502283" y="292913"/>
                  </a:cubicBezTo>
                  <a:lnTo>
                    <a:pt x="291882" y="501252"/>
                  </a:lnTo>
                  <a:cubicBezTo>
                    <a:pt x="282599" y="510534"/>
                    <a:pt x="270223" y="515691"/>
                    <a:pt x="257846" y="515691"/>
                  </a:cubicBezTo>
                  <a:cubicBezTo>
                    <a:pt x="245470" y="515691"/>
                    <a:pt x="233093" y="510534"/>
                    <a:pt x="223811" y="501252"/>
                  </a:cubicBezTo>
                  <a:lnTo>
                    <a:pt x="14439" y="291882"/>
                  </a:lnTo>
                  <a:cubicBezTo>
                    <a:pt x="5157" y="282599"/>
                    <a:pt x="0" y="270223"/>
                    <a:pt x="0" y="257846"/>
                  </a:cubicBezTo>
                  <a:cubicBezTo>
                    <a:pt x="0" y="245470"/>
                    <a:pt x="5157" y="233093"/>
                    <a:pt x="14439" y="223811"/>
                  </a:cubicBezTo>
                  <a:lnTo>
                    <a:pt x="223811" y="14439"/>
                  </a:lnTo>
                  <a:cubicBezTo>
                    <a:pt x="233093" y="5157"/>
                    <a:pt x="245470" y="0"/>
                    <a:pt x="257846" y="0"/>
                  </a:cubicBezTo>
                  <a:close/>
                </a:path>
              </a:pathLst>
            </a:custGeom>
            <a:solidFill>
              <a:schemeClr val="bg1"/>
            </a:solidFill>
            <a:ln w="10287" cap="flat">
              <a:noFill/>
              <a:prstDash val="solid"/>
              <a:miter/>
            </a:ln>
          </p:spPr>
          <p:txBody>
            <a:bodyPr rtlCol="0" anchor="ctr"/>
            <a:lstStyle/>
            <a:p>
              <a:endParaRPr lang="en-IN"/>
            </a:p>
          </p:txBody>
        </p:sp>
      </p:grpSp>
      <p:grpSp>
        <p:nvGrpSpPr>
          <p:cNvPr id="141" name="Group 140">
            <a:extLst>
              <a:ext uri="{FF2B5EF4-FFF2-40B4-BE49-F238E27FC236}">
                <a16:creationId xmlns:a16="http://schemas.microsoft.com/office/drawing/2014/main" id="{49D18116-6A2A-4E91-B2E3-A92F07FD88FD}"/>
              </a:ext>
            </a:extLst>
          </p:cNvPr>
          <p:cNvGrpSpPr/>
          <p:nvPr/>
        </p:nvGrpSpPr>
        <p:grpSpPr>
          <a:xfrm>
            <a:off x="388938" y="4580579"/>
            <a:ext cx="935510" cy="935510"/>
            <a:chOff x="388938" y="4580579"/>
            <a:chExt cx="935510" cy="935510"/>
          </a:xfrm>
        </p:grpSpPr>
        <p:grpSp>
          <p:nvGrpSpPr>
            <p:cNvPr id="36" name="Group 35">
              <a:extLst>
                <a:ext uri="{FF2B5EF4-FFF2-40B4-BE49-F238E27FC236}">
                  <a16:creationId xmlns:a16="http://schemas.microsoft.com/office/drawing/2014/main" id="{569508A0-654A-4B20-BD76-1D0495479DED}"/>
                </a:ext>
              </a:extLst>
            </p:cNvPr>
            <p:cNvGrpSpPr/>
            <p:nvPr/>
          </p:nvGrpSpPr>
          <p:grpSpPr>
            <a:xfrm>
              <a:off x="388938" y="4580579"/>
              <a:ext cx="935510" cy="935510"/>
              <a:chOff x="343218" y="4580579"/>
              <a:chExt cx="935510" cy="935510"/>
            </a:xfrm>
          </p:grpSpPr>
          <p:sp>
            <p:nvSpPr>
              <p:cNvPr id="65" name="Oval 64">
                <a:extLst>
                  <a:ext uri="{FF2B5EF4-FFF2-40B4-BE49-F238E27FC236}">
                    <a16:creationId xmlns:a16="http://schemas.microsoft.com/office/drawing/2014/main" id="{D9EDC9F6-CC13-4DDB-AE1F-BA20E92AB25F}"/>
                  </a:ext>
                </a:extLst>
              </p:cNvPr>
              <p:cNvSpPr/>
              <p:nvPr/>
            </p:nvSpPr>
            <p:spPr bwMode="auto">
              <a:xfrm>
                <a:off x="420790" y="4658153"/>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66" name="Arc 65">
                <a:extLst>
                  <a:ext uri="{FF2B5EF4-FFF2-40B4-BE49-F238E27FC236}">
                    <a16:creationId xmlns:a16="http://schemas.microsoft.com/office/drawing/2014/main" id="{B4F43C3D-4C36-4C2F-9353-64785FE97511}"/>
                  </a:ext>
                </a:extLst>
              </p:cNvPr>
              <p:cNvSpPr/>
              <p:nvPr/>
            </p:nvSpPr>
            <p:spPr>
              <a:xfrm flipH="1">
                <a:off x="343218" y="4580579"/>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grpSp>
          <p:nvGrpSpPr>
            <p:cNvPr id="110" name="Group 109">
              <a:extLst>
                <a:ext uri="{FF2B5EF4-FFF2-40B4-BE49-F238E27FC236}">
                  <a16:creationId xmlns:a16="http://schemas.microsoft.com/office/drawing/2014/main" id="{2C4EB0ED-856B-44D8-A3F8-E572F13B83E9}"/>
                </a:ext>
              </a:extLst>
            </p:cNvPr>
            <p:cNvGrpSpPr/>
            <p:nvPr/>
          </p:nvGrpSpPr>
          <p:grpSpPr>
            <a:xfrm>
              <a:off x="624519" y="4825170"/>
              <a:ext cx="464348" cy="446328"/>
              <a:chOff x="5553075" y="700088"/>
              <a:chExt cx="7281862" cy="6999288"/>
            </a:xfrm>
          </p:grpSpPr>
          <p:grpSp>
            <p:nvGrpSpPr>
              <p:cNvPr id="111" name="Group 110">
                <a:extLst>
                  <a:ext uri="{FF2B5EF4-FFF2-40B4-BE49-F238E27FC236}">
                    <a16:creationId xmlns:a16="http://schemas.microsoft.com/office/drawing/2014/main" id="{2777F46F-45FC-402B-9A39-25F5001149EA}"/>
                  </a:ext>
                </a:extLst>
              </p:cNvPr>
              <p:cNvGrpSpPr/>
              <p:nvPr/>
            </p:nvGrpSpPr>
            <p:grpSpPr>
              <a:xfrm>
                <a:off x="7702408" y="4923692"/>
                <a:ext cx="2983196" cy="1380200"/>
                <a:chOff x="6714942" y="2244673"/>
                <a:chExt cx="2300338" cy="1064270"/>
              </a:xfrm>
            </p:grpSpPr>
            <p:sp>
              <p:nvSpPr>
                <p:cNvPr id="122" name="Freeform: Shape 121">
                  <a:extLst>
                    <a:ext uri="{FF2B5EF4-FFF2-40B4-BE49-F238E27FC236}">
                      <a16:creationId xmlns:a16="http://schemas.microsoft.com/office/drawing/2014/main" id="{8BD5F3D9-9287-4900-9C67-D307237A9916}"/>
                    </a:ext>
                  </a:extLst>
                </p:cNvPr>
                <p:cNvSpPr/>
                <p:nvPr/>
              </p:nvSpPr>
              <p:spPr bwMode="auto">
                <a:xfrm>
                  <a:off x="6714942" y="2488851"/>
                  <a:ext cx="2300338" cy="820092"/>
                </a:xfrm>
                <a:custGeom>
                  <a:avLst/>
                  <a:gdLst>
                    <a:gd name="connsiteX0" fmla="*/ 1150169 w 2300338"/>
                    <a:gd name="connsiteY0" fmla="*/ 0 h 820092"/>
                    <a:gd name="connsiteX1" fmla="*/ 1793240 w 2300338"/>
                    <a:gd name="connsiteY1" fmla="*/ 70029 h 820092"/>
                    <a:gd name="connsiteX2" fmla="*/ 1860300 w 2300338"/>
                    <a:gd name="connsiteY2" fmla="*/ 89755 h 820092"/>
                    <a:gd name="connsiteX3" fmla="*/ 2201796 w 2300338"/>
                    <a:gd name="connsiteY3" fmla="*/ 89755 h 820092"/>
                    <a:gd name="connsiteX4" fmla="*/ 2300338 w 2300338"/>
                    <a:gd name="connsiteY4" fmla="*/ 188297 h 820092"/>
                    <a:gd name="connsiteX5" fmla="*/ 2300338 w 2300338"/>
                    <a:gd name="connsiteY5" fmla="*/ 410046 h 820092"/>
                    <a:gd name="connsiteX6" fmla="*/ 2300338 w 2300338"/>
                    <a:gd name="connsiteY6" fmla="*/ 426316 h 820092"/>
                    <a:gd name="connsiteX7" fmla="*/ 2292594 w 2300338"/>
                    <a:gd name="connsiteY7" fmla="*/ 464673 h 820092"/>
                    <a:gd name="connsiteX8" fmla="*/ 2279327 w 2300338"/>
                    <a:gd name="connsiteY8" fmla="*/ 484350 h 820092"/>
                    <a:gd name="connsiteX9" fmla="*/ 2276971 w 2300338"/>
                    <a:gd name="connsiteY9" fmla="*/ 492685 h 820092"/>
                    <a:gd name="connsiteX10" fmla="*/ 1150169 w 2300338"/>
                    <a:gd name="connsiteY10" fmla="*/ 820092 h 820092"/>
                    <a:gd name="connsiteX11" fmla="*/ 23368 w 2300338"/>
                    <a:gd name="connsiteY11" fmla="*/ 492685 h 820092"/>
                    <a:gd name="connsiteX12" fmla="*/ 20219 w 2300338"/>
                    <a:gd name="connsiteY12" fmla="*/ 481550 h 820092"/>
                    <a:gd name="connsiteX13" fmla="*/ 8840 w 2300338"/>
                    <a:gd name="connsiteY13" fmla="*/ 464673 h 820092"/>
                    <a:gd name="connsiteX14" fmla="*/ 1096 w 2300338"/>
                    <a:gd name="connsiteY14" fmla="*/ 426316 h 820092"/>
                    <a:gd name="connsiteX15" fmla="*/ 1096 w 2300338"/>
                    <a:gd name="connsiteY15" fmla="*/ 413922 h 820092"/>
                    <a:gd name="connsiteX16" fmla="*/ 0 w 2300338"/>
                    <a:gd name="connsiteY16" fmla="*/ 410046 h 820092"/>
                    <a:gd name="connsiteX17" fmla="*/ 1096 w 2300338"/>
                    <a:gd name="connsiteY17" fmla="*/ 406170 h 820092"/>
                    <a:gd name="connsiteX18" fmla="*/ 1096 w 2300338"/>
                    <a:gd name="connsiteY18" fmla="*/ 188297 h 820092"/>
                    <a:gd name="connsiteX19" fmla="*/ 99638 w 2300338"/>
                    <a:gd name="connsiteY19" fmla="*/ 89755 h 820092"/>
                    <a:gd name="connsiteX20" fmla="*/ 440039 w 2300338"/>
                    <a:gd name="connsiteY20" fmla="*/ 89755 h 820092"/>
                    <a:gd name="connsiteX21" fmla="*/ 507099 w 2300338"/>
                    <a:gd name="connsiteY21" fmla="*/ 70029 h 820092"/>
                    <a:gd name="connsiteX22" fmla="*/ 1150169 w 2300338"/>
                    <a:gd name="connsiteY22" fmla="*/ 0 h 8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00338" h="820092">
                      <a:moveTo>
                        <a:pt x="1150169" y="0"/>
                      </a:moveTo>
                      <a:cubicBezTo>
                        <a:pt x="1388377" y="0"/>
                        <a:pt x="1609672" y="25816"/>
                        <a:pt x="1793240" y="70029"/>
                      </a:cubicBezTo>
                      <a:lnTo>
                        <a:pt x="1860300" y="89755"/>
                      </a:lnTo>
                      <a:lnTo>
                        <a:pt x="2201796" y="89755"/>
                      </a:lnTo>
                      <a:cubicBezTo>
                        <a:pt x="2256219" y="89755"/>
                        <a:pt x="2300338" y="133874"/>
                        <a:pt x="2300338" y="188297"/>
                      </a:cubicBezTo>
                      <a:lnTo>
                        <a:pt x="2300338" y="410046"/>
                      </a:lnTo>
                      <a:lnTo>
                        <a:pt x="2300338" y="426316"/>
                      </a:lnTo>
                      <a:cubicBezTo>
                        <a:pt x="2300338" y="439922"/>
                        <a:pt x="2297581" y="452884"/>
                        <a:pt x="2292594" y="464673"/>
                      </a:cubicBezTo>
                      <a:lnTo>
                        <a:pt x="2279327" y="484350"/>
                      </a:lnTo>
                      <a:lnTo>
                        <a:pt x="2276971" y="492685"/>
                      </a:lnTo>
                      <a:cubicBezTo>
                        <a:pt x="2169722" y="679536"/>
                        <a:pt x="1705987" y="820092"/>
                        <a:pt x="1150169" y="820092"/>
                      </a:cubicBezTo>
                      <a:cubicBezTo>
                        <a:pt x="594351" y="820092"/>
                        <a:pt x="130617" y="679536"/>
                        <a:pt x="23368" y="492685"/>
                      </a:cubicBezTo>
                      <a:lnTo>
                        <a:pt x="20219" y="481550"/>
                      </a:lnTo>
                      <a:lnTo>
                        <a:pt x="8840" y="464673"/>
                      </a:lnTo>
                      <a:cubicBezTo>
                        <a:pt x="3854" y="452884"/>
                        <a:pt x="1096" y="439922"/>
                        <a:pt x="1096" y="426316"/>
                      </a:cubicBezTo>
                      <a:lnTo>
                        <a:pt x="1096" y="413922"/>
                      </a:lnTo>
                      <a:lnTo>
                        <a:pt x="0" y="410046"/>
                      </a:lnTo>
                      <a:lnTo>
                        <a:pt x="1096" y="406170"/>
                      </a:lnTo>
                      <a:lnTo>
                        <a:pt x="1096" y="188297"/>
                      </a:lnTo>
                      <a:cubicBezTo>
                        <a:pt x="1096" y="133874"/>
                        <a:pt x="45215" y="89755"/>
                        <a:pt x="99638" y="89755"/>
                      </a:cubicBezTo>
                      <a:lnTo>
                        <a:pt x="440039" y="89755"/>
                      </a:lnTo>
                      <a:lnTo>
                        <a:pt x="507099" y="70029"/>
                      </a:lnTo>
                      <a:cubicBezTo>
                        <a:pt x="690667" y="25816"/>
                        <a:pt x="911962" y="0"/>
                        <a:pt x="1150169"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Freeform: Shape 122">
                  <a:extLst>
                    <a:ext uri="{FF2B5EF4-FFF2-40B4-BE49-F238E27FC236}">
                      <a16:creationId xmlns:a16="http://schemas.microsoft.com/office/drawing/2014/main" id="{A57A4692-D0E5-4C8B-B645-AA931A8579AF}"/>
                    </a:ext>
                  </a:extLst>
                </p:cNvPr>
                <p:cNvSpPr/>
                <p:nvPr/>
              </p:nvSpPr>
              <p:spPr bwMode="auto">
                <a:xfrm>
                  <a:off x="6714942" y="2244673"/>
                  <a:ext cx="2300338" cy="820092"/>
                </a:xfrm>
                <a:custGeom>
                  <a:avLst/>
                  <a:gdLst>
                    <a:gd name="connsiteX0" fmla="*/ 1104228 w 2237970"/>
                    <a:gd name="connsiteY0" fmla="*/ 260527 h 820092"/>
                    <a:gd name="connsiteX1" fmla="*/ 746035 w 2237970"/>
                    <a:gd name="connsiteY1" fmla="*/ 364603 h 820092"/>
                    <a:gd name="connsiteX2" fmla="*/ 1104228 w 2237970"/>
                    <a:gd name="connsiteY2" fmla="*/ 468679 h 820092"/>
                    <a:gd name="connsiteX3" fmla="*/ 1462421 w 2237970"/>
                    <a:gd name="connsiteY3" fmla="*/ 364603 h 820092"/>
                    <a:gd name="connsiteX4" fmla="*/ 1104228 w 2237970"/>
                    <a:gd name="connsiteY4" fmla="*/ 260527 h 820092"/>
                    <a:gd name="connsiteX5" fmla="*/ 1118985 w 2237970"/>
                    <a:gd name="connsiteY5" fmla="*/ 0 h 820092"/>
                    <a:gd name="connsiteX6" fmla="*/ 2237970 w 2237970"/>
                    <a:gd name="connsiteY6" fmla="*/ 410046 h 820092"/>
                    <a:gd name="connsiteX7" fmla="*/ 1118985 w 2237970"/>
                    <a:gd name="connsiteY7" fmla="*/ 820092 h 820092"/>
                    <a:gd name="connsiteX8" fmla="*/ 0 w 2237970"/>
                    <a:gd name="connsiteY8" fmla="*/ 410046 h 820092"/>
                    <a:gd name="connsiteX9" fmla="*/ 1118985 w 2237970"/>
                    <a:gd name="connsiteY9" fmla="*/ 0 h 8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7970" h="820092">
                      <a:moveTo>
                        <a:pt x="1104228" y="260527"/>
                      </a:moveTo>
                      <a:cubicBezTo>
                        <a:pt x="906403" y="260527"/>
                        <a:pt x="746035" y="307123"/>
                        <a:pt x="746035" y="364603"/>
                      </a:cubicBezTo>
                      <a:cubicBezTo>
                        <a:pt x="746035" y="422083"/>
                        <a:pt x="906403" y="468679"/>
                        <a:pt x="1104228" y="468679"/>
                      </a:cubicBezTo>
                      <a:cubicBezTo>
                        <a:pt x="1302053" y="468679"/>
                        <a:pt x="1462421" y="422083"/>
                        <a:pt x="1462421" y="364603"/>
                      </a:cubicBezTo>
                      <a:cubicBezTo>
                        <a:pt x="1462421" y="307123"/>
                        <a:pt x="1302053" y="260527"/>
                        <a:pt x="1104228" y="260527"/>
                      </a:cubicBezTo>
                      <a:close/>
                      <a:moveTo>
                        <a:pt x="1118985" y="0"/>
                      </a:moveTo>
                      <a:cubicBezTo>
                        <a:pt x="1736983" y="0"/>
                        <a:pt x="2237970" y="183584"/>
                        <a:pt x="2237970" y="410046"/>
                      </a:cubicBezTo>
                      <a:cubicBezTo>
                        <a:pt x="2237970" y="636508"/>
                        <a:pt x="1736983" y="820092"/>
                        <a:pt x="1118985" y="820092"/>
                      </a:cubicBezTo>
                      <a:cubicBezTo>
                        <a:pt x="500987" y="820092"/>
                        <a:pt x="0" y="636508"/>
                        <a:pt x="0" y="410046"/>
                      </a:cubicBezTo>
                      <a:cubicBezTo>
                        <a:pt x="0" y="183584"/>
                        <a:pt x="500987" y="0"/>
                        <a:pt x="11189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2" name="Group 111">
                <a:extLst>
                  <a:ext uri="{FF2B5EF4-FFF2-40B4-BE49-F238E27FC236}">
                    <a16:creationId xmlns:a16="http://schemas.microsoft.com/office/drawing/2014/main" id="{6EFEA751-FF3C-491B-9124-09B12E1A6436}"/>
                  </a:ext>
                </a:extLst>
              </p:cNvPr>
              <p:cNvGrpSpPr/>
              <p:nvPr/>
            </p:nvGrpSpPr>
            <p:grpSpPr>
              <a:xfrm>
                <a:off x="7702408" y="3915508"/>
                <a:ext cx="2983196" cy="1380200"/>
                <a:chOff x="6714942" y="2244673"/>
                <a:chExt cx="2300338" cy="1064270"/>
              </a:xfrm>
            </p:grpSpPr>
            <p:sp>
              <p:nvSpPr>
                <p:cNvPr id="120" name="Freeform: Shape 119">
                  <a:extLst>
                    <a:ext uri="{FF2B5EF4-FFF2-40B4-BE49-F238E27FC236}">
                      <a16:creationId xmlns:a16="http://schemas.microsoft.com/office/drawing/2014/main" id="{F8514B88-AAB4-455D-9B83-C76649A2BAA1}"/>
                    </a:ext>
                  </a:extLst>
                </p:cNvPr>
                <p:cNvSpPr/>
                <p:nvPr/>
              </p:nvSpPr>
              <p:spPr bwMode="auto">
                <a:xfrm>
                  <a:off x="6714942" y="2488851"/>
                  <a:ext cx="2300338" cy="820092"/>
                </a:xfrm>
                <a:custGeom>
                  <a:avLst/>
                  <a:gdLst>
                    <a:gd name="connsiteX0" fmla="*/ 1150169 w 2300338"/>
                    <a:gd name="connsiteY0" fmla="*/ 0 h 820092"/>
                    <a:gd name="connsiteX1" fmla="*/ 1793240 w 2300338"/>
                    <a:gd name="connsiteY1" fmla="*/ 70029 h 820092"/>
                    <a:gd name="connsiteX2" fmla="*/ 1860300 w 2300338"/>
                    <a:gd name="connsiteY2" fmla="*/ 89755 h 820092"/>
                    <a:gd name="connsiteX3" fmla="*/ 2201796 w 2300338"/>
                    <a:gd name="connsiteY3" fmla="*/ 89755 h 820092"/>
                    <a:gd name="connsiteX4" fmla="*/ 2300338 w 2300338"/>
                    <a:gd name="connsiteY4" fmla="*/ 188297 h 820092"/>
                    <a:gd name="connsiteX5" fmla="*/ 2300338 w 2300338"/>
                    <a:gd name="connsiteY5" fmla="*/ 410046 h 820092"/>
                    <a:gd name="connsiteX6" fmla="*/ 2300338 w 2300338"/>
                    <a:gd name="connsiteY6" fmla="*/ 426316 h 820092"/>
                    <a:gd name="connsiteX7" fmla="*/ 2292594 w 2300338"/>
                    <a:gd name="connsiteY7" fmla="*/ 464673 h 820092"/>
                    <a:gd name="connsiteX8" fmla="*/ 2279327 w 2300338"/>
                    <a:gd name="connsiteY8" fmla="*/ 484350 h 820092"/>
                    <a:gd name="connsiteX9" fmla="*/ 2276971 w 2300338"/>
                    <a:gd name="connsiteY9" fmla="*/ 492685 h 820092"/>
                    <a:gd name="connsiteX10" fmla="*/ 1150169 w 2300338"/>
                    <a:gd name="connsiteY10" fmla="*/ 820092 h 820092"/>
                    <a:gd name="connsiteX11" fmla="*/ 23368 w 2300338"/>
                    <a:gd name="connsiteY11" fmla="*/ 492685 h 820092"/>
                    <a:gd name="connsiteX12" fmla="*/ 20219 w 2300338"/>
                    <a:gd name="connsiteY12" fmla="*/ 481550 h 820092"/>
                    <a:gd name="connsiteX13" fmla="*/ 8840 w 2300338"/>
                    <a:gd name="connsiteY13" fmla="*/ 464673 h 820092"/>
                    <a:gd name="connsiteX14" fmla="*/ 1096 w 2300338"/>
                    <a:gd name="connsiteY14" fmla="*/ 426316 h 820092"/>
                    <a:gd name="connsiteX15" fmla="*/ 1096 w 2300338"/>
                    <a:gd name="connsiteY15" fmla="*/ 413922 h 820092"/>
                    <a:gd name="connsiteX16" fmla="*/ 0 w 2300338"/>
                    <a:gd name="connsiteY16" fmla="*/ 410046 h 820092"/>
                    <a:gd name="connsiteX17" fmla="*/ 1096 w 2300338"/>
                    <a:gd name="connsiteY17" fmla="*/ 406170 h 820092"/>
                    <a:gd name="connsiteX18" fmla="*/ 1096 w 2300338"/>
                    <a:gd name="connsiteY18" fmla="*/ 188297 h 820092"/>
                    <a:gd name="connsiteX19" fmla="*/ 99638 w 2300338"/>
                    <a:gd name="connsiteY19" fmla="*/ 89755 h 820092"/>
                    <a:gd name="connsiteX20" fmla="*/ 440039 w 2300338"/>
                    <a:gd name="connsiteY20" fmla="*/ 89755 h 820092"/>
                    <a:gd name="connsiteX21" fmla="*/ 507099 w 2300338"/>
                    <a:gd name="connsiteY21" fmla="*/ 70029 h 820092"/>
                    <a:gd name="connsiteX22" fmla="*/ 1150169 w 2300338"/>
                    <a:gd name="connsiteY22" fmla="*/ 0 h 8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00338" h="820092">
                      <a:moveTo>
                        <a:pt x="1150169" y="0"/>
                      </a:moveTo>
                      <a:cubicBezTo>
                        <a:pt x="1388377" y="0"/>
                        <a:pt x="1609672" y="25816"/>
                        <a:pt x="1793240" y="70029"/>
                      </a:cubicBezTo>
                      <a:lnTo>
                        <a:pt x="1860300" y="89755"/>
                      </a:lnTo>
                      <a:lnTo>
                        <a:pt x="2201796" y="89755"/>
                      </a:lnTo>
                      <a:cubicBezTo>
                        <a:pt x="2256219" y="89755"/>
                        <a:pt x="2300338" y="133874"/>
                        <a:pt x="2300338" y="188297"/>
                      </a:cubicBezTo>
                      <a:lnTo>
                        <a:pt x="2300338" y="410046"/>
                      </a:lnTo>
                      <a:lnTo>
                        <a:pt x="2300338" y="426316"/>
                      </a:lnTo>
                      <a:cubicBezTo>
                        <a:pt x="2300338" y="439922"/>
                        <a:pt x="2297581" y="452884"/>
                        <a:pt x="2292594" y="464673"/>
                      </a:cubicBezTo>
                      <a:lnTo>
                        <a:pt x="2279327" y="484350"/>
                      </a:lnTo>
                      <a:lnTo>
                        <a:pt x="2276971" y="492685"/>
                      </a:lnTo>
                      <a:cubicBezTo>
                        <a:pt x="2169722" y="679536"/>
                        <a:pt x="1705987" y="820092"/>
                        <a:pt x="1150169" y="820092"/>
                      </a:cubicBezTo>
                      <a:cubicBezTo>
                        <a:pt x="594351" y="820092"/>
                        <a:pt x="130617" y="679536"/>
                        <a:pt x="23368" y="492685"/>
                      </a:cubicBezTo>
                      <a:lnTo>
                        <a:pt x="20219" y="481550"/>
                      </a:lnTo>
                      <a:lnTo>
                        <a:pt x="8840" y="464673"/>
                      </a:lnTo>
                      <a:cubicBezTo>
                        <a:pt x="3854" y="452884"/>
                        <a:pt x="1096" y="439922"/>
                        <a:pt x="1096" y="426316"/>
                      </a:cubicBezTo>
                      <a:lnTo>
                        <a:pt x="1096" y="413922"/>
                      </a:lnTo>
                      <a:lnTo>
                        <a:pt x="0" y="410046"/>
                      </a:lnTo>
                      <a:lnTo>
                        <a:pt x="1096" y="406170"/>
                      </a:lnTo>
                      <a:lnTo>
                        <a:pt x="1096" y="188297"/>
                      </a:lnTo>
                      <a:cubicBezTo>
                        <a:pt x="1096" y="133874"/>
                        <a:pt x="45215" y="89755"/>
                        <a:pt x="99638" y="89755"/>
                      </a:cubicBezTo>
                      <a:lnTo>
                        <a:pt x="440039" y="89755"/>
                      </a:lnTo>
                      <a:lnTo>
                        <a:pt x="507099" y="70029"/>
                      </a:lnTo>
                      <a:cubicBezTo>
                        <a:pt x="690667" y="25816"/>
                        <a:pt x="911962" y="0"/>
                        <a:pt x="1150169"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Freeform: Shape 120">
                  <a:extLst>
                    <a:ext uri="{FF2B5EF4-FFF2-40B4-BE49-F238E27FC236}">
                      <a16:creationId xmlns:a16="http://schemas.microsoft.com/office/drawing/2014/main" id="{F41E882E-8EDD-48FB-B18E-7C45C3B1E98D}"/>
                    </a:ext>
                  </a:extLst>
                </p:cNvPr>
                <p:cNvSpPr/>
                <p:nvPr/>
              </p:nvSpPr>
              <p:spPr bwMode="auto">
                <a:xfrm>
                  <a:off x="6714942" y="2244673"/>
                  <a:ext cx="2300338" cy="820092"/>
                </a:xfrm>
                <a:custGeom>
                  <a:avLst/>
                  <a:gdLst>
                    <a:gd name="connsiteX0" fmla="*/ 1104228 w 2237970"/>
                    <a:gd name="connsiteY0" fmla="*/ 260527 h 820092"/>
                    <a:gd name="connsiteX1" fmla="*/ 746035 w 2237970"/>
                    <a:gd name="connsiteY1" fmla="*/ 364603 h 820092"/>
                    <a:gd name="connsiteX2" fmla="*/ 1104228 w 2237970"/>
                    <a:gd name="connsiteY2" fmla="*/ 468679 h 820092"/>
                    <a:gd name="connsiteX3" fmla="*/ 1462421 w 2237970"/>
                    <a:gd name="connsiteY3" fmla="*/ 364603 h 820092"/>
                    <a:gd name="connsiteX4" fmla="*/ 1104228 w 2237970"/>
                    <a:gd name="connsiteY4" fmla="*/ 260527 h 820092"/>
                    <a:gd name="connsiteX5" fmla="*/ 1118985 w 2237970"/>
                    <a:gd name="connsiteY5" fmla="*/ 0 h 820092"/>
                    <a:gd name="connsiteX6" fmla="*/ 2237970 w 2237970"/>
                    <a:gd name="connsiteY6" fmla="*/ 410046 h 820092"/>
                    <a:gd name="connsiteX7" fmla="*/ 1118985 w 2237970"/>
                    <a:gd name="connsiteY7" fmla="*/ 820092 h 820092"/>
                    <a:gd name="connsiteX8" fmla="*/ 0 w 2237970"/>
                    <a:gd name="connsiteY8" fmla="*/ 410046 h 820092"/>
                    <a:gd name="connsiteX9" fmla="*/ 1118985 w 2237970"/>
                    <a:gd name="connsiteY9" fmla="*/ 0 h 8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7970" h="820092">
                      <a:moveTo>
                        <a:pt x="1104228" y="260527"/>
                      </a:moveTo>
                      <a:cubicBezTo>
                        <a:pt x="906403" y="260527"/>
                        <a:pt x="746035" y="307123"/>
                        <a:pt x="746035" y="364603"/>
                      </a:cubicBezTo>
                      <a:cubicBezTo>
                        <a:pt x="746035" y="422083"/>
                        <a:pt x="906403" y="468679"/>
                        <a:pt x="1104228" y="468679"/>
                      </a:cubicBezTo>
                      <a:cubicBezTo>
                        <a:pt x="1302053" y="468679"/>
                        <a:pt x="1462421" y="422083"/>
                        <a:pt x="1462421" y="364603"/>
                      </a:cubicBezTo>
                      <a:cubicBezTo>
                        <a:pt x="1462421" y="307123"/>
                        <a:pt x="1302053" y="260527"/>
                        <a:pt x="1104228" y="260527"/>
                      </a:cubicBezTo>
                      <a:close/>
                      <a:moveTo>
                        <a:pt x="1118985" y="0"/>
                      </a:moveTo>
                      <a:cubicBezTo>
                        <a:pt x="1736983" y="0"/>
                        <a:pt x="2237970" y="183584"/>
                        <a:pt x="2237970" y="410046"/>
                      </a:cubicBezTo>
                      <a:cubicBezTo>
                        <a:pt x="2237970" y="636508"/>
                        <a:pt x="1736983" y="820092"/>
                        <a:pt x="1118985" y="820092"/>
                      </a:cubicBezTo>
                      <a:cubicBezTo>
                        <a:pt x="500987" y="820092"/>
                        <a:pt x="0" y="636508"/>
                        <a:pt x="0" y="410046"/>
                      </a:cubicBezTo>
                      <a:cubicBezTo>
                        <a:pt x="0" y="183584"/>
                        <a:pt x="500987" y="0"/>
                        <a:pt x="11189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3" name="Group 112">
                <a:extLst>
                  <a:ext uri="{FF2B5EF4-FFF2-40B4-BE49-F238E27FC236}">
                    <a16:creationId xmlns:a16="http://schemas.microsoft.com/office/drawing/2014/main" id="{53914DE6-89FC-407D-9671-D547D16581E5}"/>
                  </a:ext>
                </a:extLst>
              </p:cNvPr>
              <p:cNvGrpSpPr/>
              <p:nvPr/>
            </p:nvGrpSpPr>
            <p:grpSpPr>
              <a:xfrm>
                <a:off x="7702408" y="3001108"/>
                <a:ext cx="2983196" cy="1380200"/>
                <a:chOff x="6714942" y="2244673"/>
                <a:chExt cx="2300338" cy="1064270"/>
              </a:xfrm>
            </p:grpSpPr>
            <p:sp>
              <p:nvSpPr>
                <p:cNvPr id="118" name="Freeform: Shape 117">
                  <a:extLst>
                    <a:ext uri="{FF2B5EF4-FFF2-40B4-BE49-F238E27FC236}">
                      <a16:creationId xmlns:a16="http://schemas.microsoft.com/office/drawing/2014/main" id="{9E4DE876-0289-40D2-AD05-2841C09273EB}"/>
                    </a:ext>
                  </a:extLst>
                </p:cNvPr>
                <p:cNvSpPr/>
                <p:nvPr/>
              </p:nvSpPr>
              <p:spPr bwMode="auto">
                <a:xfrm>
                  <a:off x="6714942" y="2488851"/>
                  <a:ext cx="2300338" cy="820092"/>
                </a:xfrm>
                <a:custGeom>
                  <a:avLst/>
                  <a:gdLst>
                    <a:gd name="connsiteX0" fmla="*/ 1150169 w 2300338"/>
                    <a:gd name="connsiteY0" fmla="*/ 0 h 820092"/>
                    <a:gd name="connsiteX1" fmla="*/ 1793240 w 2300338"/>
                    <a:gd name="connsiteY1" fmla="*/ 70029 h 820092"/>
                    <a:gd name="connsiteX2" fmla="*/ 1860300 w 2300338"/>
                    <a:gd name="connsiteY2" fmla="*/ 89755 h 820092"/>
                    <a:gd name="connsiteX3" fmla="*/ 2201796 w 2300338"/>
                    <a:gd name="connsiteY3" fmla="*/ 89755 h 820092"/>
                    <a:gd name="connsiteX4" fmla="*/ 2300338 w 2300338"/>
                    <a:gd name="connsiteY4" fmla="*/ 188297 h 820092"/>
                    <a:gd name="connsiteX5" fmla="*/ 2300338 w 2300338"/>
                    <a:gd name="connsiteY5" fmla="*/ 410046 h 820092"/>
                    <a:gd name="connsiteX6" fmla="*/ 2300338 w 2300338"/>
                    <a:gd name="connsiteY6" fmla="*/ 426316 h 820092"/>
                    <a:gd name="connsiteX7" fmla="*/ 2292594 w 2300338"/>
                    <a:gd name="connsiteY7" fmla="*/ 464673 h 820092"/>
                    <a:gd name="connsiteX8" fmla="*/ 2279327 w 2300338"/>
                    <a:gd name="connsiteY8" fmla="*/ 484350 h 820092"/>
                    <a:gd name="connsiteX9" fmla="*/ 2276971 w 2300338"/>
                    <a:gd name="connsiteY9" fmla="*/ 492685 h 820092"/>
                    <a:gd name="connsiteX10" fmla="*/ 1150169 w 2300338"/>
                    <a:gd name="connsiteY10" fmla="*/ 820092 h 820092"/>
                    <a:gd name="connsiteX11" fmla="*/ 23368 w 2300338"/>
                    <a:gd name="connsiteY11" fmla="*/ 492685 h 820092"/>
                    <a:gd name="connsiteX12" fmla="*/ 20219 w 2300338"/>
                    <a:gd name="connsiteY12" fmla="*/ 481550 h 820092"/>
                    <a:gd name="connsiteX13" fmla="*/ 8840 w 2300338"/>
                    <a:gd name="connsiteY13" fmla="*/ 464673 h 820092"/>
                    <a:gd name="connsiteX14" fmla="*/ 1096 w 2300338"/>
                    <a:gd name="connsiteY14" fmla="*/ 426316 h 820092"/>
                    <a:gd name="connsiteX15" fmla="*/ 1096 w 2300338"/>
                    <a:gd name="connsiteY15" fmla="*/ 413922 h 820092"/>
                    <a:gd name="connsiteX16" fmla="*/ 0 w 2300338"/>
                    <a:gd name="connsiteY16" fmla="*/ 410046 h 820092"/>
                    <a:gd name="connsiteX17" fmla="*/ 1096 w 2300338"/>
                    <a:gd name="connsiteY17" fmla="*/ 406170 h 820092"/>
                    <a:gd name="connsiteX18" fmla="*/ 1096 w 2300338"/>
                    <a:gd name="connsiteY18" fmla="*/ 188297 h 820092"/>
                    <a:gd name="connsiteX19" fmla="*/ 99638 w 2300338"/>
                    <a:gd name="connsiteY19" fmla="*/ 89755 h 820092"/>
                    <a:gd name="connsiteX20" fmla="*/ 440039 w 2300338"/>
                    <a:gd name="connsiteY20" fmla="*/ 89755 h 820092"/>
                    <a:gd name="connsiteX21" fmla="*/ 507099 w 2300338"/>
                    <a:gd name="connsiteY21" fmla="*/ 70029 h 820092"/>
                    <a:gd name="connsiteX22" fmla="*/ 1150169 w 2300338"/>
                    <a:gd name="connsiteY22" fmla="*/ 0 h 8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00338" h="820092">
                      <a:moveTo>
                        <a:pt x="1150169" y="0"/>
                      </a:moveTo>
                      <a:cubicBezTo>
                        <a:pt x="1388377" y="0"/>
                        <a:pt x="1609672" y="25816"/>
                        <a:pt x="1793240" y="70029"/>
                      </a:cubicBezTo>
                      <a:lnTo>
                        <a:pt x="1860300" y="89755"/>
                      </a:lnTo>
                      <a:lnTo>
                        <a:pt x="2201796" y="89755"/>
                      </a:lnTo>
                      <a:cubicBezTo>
                        <a:pt x="2256219" y="89755"/>
                        <a:pt x="2300338" y="133874"/>
                        <a:pt x="2300338" y="188297"/>
                      </a:cubicBezTo>
                      <a:lnTo>
                        <a:pt x="2300338" y="410046"/>
                      </a:lnTo>
                      <a:lnTo>
                        <a:pt x="2300338" y="426316"/>
                      </a:lnTo>
                      <a:cubicBezTo>
                        <a:pt x="2300338" y="439922"/>
                        <a:pt x="2297581" y="452884"/>
                        <a:pt x="2292594" y="464673"/>
                      </a:cubicBezTo>
                      <a:lnTo>
                        <a:pt x="2279327" y="484350"/>
                      </a:lnTo>
                      <a:lnTo>
                        <a:pt x="2276971" y="492685"/>
                      </a:lnTo>
                      <a:cubicBezTo>
                        <a:pt x="2169722" y="679536"/>
                        <a:pt x="1705987" y="820092"/>
                        <a:pt x="1150169" y="820092"/>
                      </a:cubicBezTo>
                      <a:cubicBezTo>
                        <a:pt x="594351" y="820092"/>
                        <a:pt x="130617" y="679536"/>
                        <a:pt x="23368" y="492685"/>
                      </a:cubicBezTo>
                      <a:lnTo>
                        <a:pt x="20219" y="481550"/>
                      </a:lnTo>
                      <a:lnTo>
                        <a:pt x="8840" y="464673"/>
                      </a:lnTo>
                      <a:cubicBezTo>
                        <a:pt x="3854" y="452884"/>
                        <a:pt x="1096" y="439922"/>
                        <a:pt x="1096" y="426316"/>
                      </a:cubicBezTo>
                      <a:lnTo>
                        <a:pt x="1096" y="413922"/>
                      </a:lnTo>
                      <a:lnTo>
                        <a:pt x="0" y="410046"/>
                      </a:lnTo>
                      <a:lnTo>
                        <a:pt x="1096" y="406170"/>
                      </a:lnTo>
                      <a:lnTo>
                        <a:pt x="1096" y="188297"/>
                      </a:lnTo>
                      <a:cubicBezTo>
                        <a:pt x="1096" y="133874"/>
                        <a:pt x="45215" y="89755"/>
                        <a:pt x="99638" y="89755"/>
                      </a:cubicBezTo>
                      <a:lnTo>
                        <a:pt x="440039" y="89755"/>
                      </a:lnTo>
                      <a:lnTo>
                        <a:pt x="507099" y="70029"/>
                      </a:lnTo>
                      <a:cubicBezTo>
                        <a:pt x="690667" y="25816"/>
                        <a:pt x="911962" y="0"/>
                        <a:pt x="1150169"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Freeform: Shape 118">
                  <a:extLst>
                    <a:ext uri="{FF2B5EF4-FFF2-40B4-BE49-F238E27FC236}">
                      <a16:creationId xmlns:a16="http://schemas.microsoft.com/office/drawing/2014/main" id="{8AD726D0-4278-4CB0-8598-5D85F1D8873E}"/>
                    </a:ext>
                  </a:extLst>
                </p:cNvPr>
                <p:cNvSpPr/>
                <p:nvPr/>
              </p:nvSpPr>
              <p:spPr bwMode="auto">
                <a:xfrm>
                  <a:off x="6714942" y="2244673"/>
                  <a:ext cx="2300338" cy="820092"/>
                </a:xfrm>
                <a:custGeom>
                  <a:avLst/>
                  <a:gdLst>
                    <a:gd name="connsiteX0" fmla="*/ 1104228 w 2237970"/>
                    <a:gd name="connsiteY0" fmla="*/ 260527 h 820092"/>
                    <a:gd name="connsiteX1" fmla="*/ 746035 w 2237970"/>
                    <a:gd name="connsiteY1" fmla="*/ 364603 h 820092"/>
                    <a:gd name="connsiteX2" fmla="*/ 1104228 w 2237970"/>
                    <a:gd name="connsiteY2" fmla="*/ 468679 h 820092"/>
                    <a:gd name="connsiteX3" fmla="*/ 1462421 w 2237970"/>
                    <a:gd name="connsiteY3" fmla="*/ 364603 h 820092"/>
                    <a:gd name="connsiteX4" fmla="*/ 1104228 w 2237970"/>
                    <a:gd name="connsiteY4" fmla="*/ 260527 h 820092"/>
                    <a:gd name="connsiteX5" fmla="*/ 1118985 w 2237970"/>
                    <a:gd name="connsiteY5" fmla="*/ 0 h 820092"/>
                    <a:gd name="connsiteX6" fmla="*/ 2237970 w 2237970"/>
                    <a:gd name="connsiteY6" fmla="*/ 410046 h 820092"/>
                    <a:gd name="connsiteX7" fmla="*/ 1118985 w 2237970"/>
                    <a:gd name="connsiteY7" fmla="*/ 820092 h 820092"/>
                    <a:gd name="connsiteX8" fmla="*/ 0 w 2237970"/>
                    <a:gd name="connsiteY8" fmla="*/ 410046 h 820092"/>
                    <a:gd name="connsiteX9" fmla="*/ 1118985 w 2237970"/>
                    <a:gd name="connsiteY9" fmla="*/ 0 h 8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7970" h="820092">
                      <a:moveTo>
                        <a:pt x="1104228" y="260527"/>
                      </a:moveTo>
                      <a:cubicBezTo>
                        <a:pt x="906403" y="260527"/>
                        <a:pt x="746035" y="307123"/>
                        <a:pt x="746035" y="364603"/>
                      </a:cubicBezTo>
                      <a:cubicBezTo>
                        <a:pt x="746035" y="422083"/>
                        <a:pt x="906403" y="468679"/>
                        <a:pt x="1104228" y="468679"/>
                      </a:cubicBezTo>
                      <a:cubicBezTo>
                        <a:pt x="1302053" y="468679"/>
                        <a:pt x="1462421" y="422083"/>
                        <a:pt x="1462421" y="364603"/>
                      </a:cubicBezTo>
                      <a:cubicBezTo>
                        <a:pt x="1462421" y="307123"/>
                        <a:pt x="1302053" y="260527"/>
                        <a:pt x="1104228" y="260527"/>
                      </a:cubicBezTo>
                      <a:close/>
                      <a:moveTo>
                        <a:pt x="1118985" y="0"/>
                      </a:moveTo>
                      <a:cubicBezTo>
                        <a:pt x="1736983" y="0"/>
                        <a:pt x="2237970" y="183584"/>
                        <a:pt x="2237970" y="410046"/>
                      </a:cubicBezTo>
                      <a:cubicBezTo>
                        <a:pt x="2237970" y="636508"/>
                        <a:pt x="1736983" y="820092"/>
                        <a:pt x="1118985" y="820092"/>
                      </a:cubicBezTo>
                      <a:cubicBezTo>
                        <a:pt x="500987" y="820092"/>
                        <a:pt x="0" y="636508"/>
                        <a:pt x="0" y="410046"/>
                      </a:cubicBezTo>
                      <a:cubicBezTo>
                        <a:pt x="0" y="183584"/>
                        <a:pt x="500987" y="0"/>
                        <a:pt x="11189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4" name="Freeform 9">
                <a:extLst>
                  <a:ext uri="{FF2B5EF4-FFF2-40B4-BE49-F238E27FC236}">
                    <a16:creationId xmlns:a16="http://schemas.microsoft.com/office/drawing/2014/main" id="{201B615E-05B6-450C-9BC2-D18E6F843841}"/>
                  </a:ext>
                </a:extLst>
              </p:cNvPr>
              <p:cNvSpPr>
                <a:spLocks noEditPoints="1"/>
              </p:cNvSpPr>
              <p:nvPr/>
            </p:nvSpPr>
            <p:spPr bwMode="auto">
              <a:xfrm>
                <a:off x="5553075" y="700088"/>
                <a:ext cx="7281862" cy="6999288"/>
              </a:xfrm>
              <a:custGeom>
                <a:avLst/>
                <a:gdLst>
                  <a:gd name="T0" fmla="*/ 2286 w 4904"/>
                  <a:gd name="T1" fmla="*/ 4664 h 4701"/>
                  <a:gd name="T2" fmla="*/ 1448 w 4904"/>
                  <a:gd name="T3" fmla="*/ 4150 h 4701"/>
                  <a:gd name="T4" fmla="*/ 591 w 4904"/>
                  <a:gd name="T5" fmla="*/ 3155 h 4701"/>
                  <a:gd name="T6" fmla="*/ 6 w 4904"/>
                  <a:gd name="T7" fmla="*/ 1124 h 4701"/>
                  <a:gd name="T8" fmla="*/ 0 w 4904"/>
                  <a:gd name="T9" fmla="*/ 836 h 4701"/>
                  <a:gd name="T10" fmla="*/ 499 w 4904"/>
                  <a:gd name="T11" fmla="*/ 529 h 4701"/>
                  <a:gd name="T12" fmla="*/ 777 w 4904"/>
                  <a:gd name="T13" fmla="*/ 654 h 4701"/>
                  <a:gd name="T14" fmla="*/ 1735 w 4904"/>
                  <a:gd name="T15" fmla="*/ 458 h 4701"/>
                  <a:gd name="T16" fmla="*/ 1859 w 4904"/>
                  <a:gd name="T17" fmla="*/ 344 h 4701"/>
                  <a:gd name="T18" fmla="*/ 2067 w 4904"/>
                  <a:gd name="T19" fmla="*/ 160 h 4701"/>
                  <a:gd name="T20" fmla="*/ 2769 w 4904"/>
                  <a:gd name="T21" fmla="*/ 126 h 4701"/>
                  <a:gd name="T22" fmla="*/ 3007 w 4904"/>
                  <a:gd name="T23" fmla="*/ 375 h 4701"/>
                  <a:gd name="T24" fmla="*/ 3542 w 4904"/>
                  <a:gd name="T25" fmla="*/ 682 h 4701"/>
                  <a:gd name="T26" fmla="*/ 4386 w 4904"/>
                  <a:gd name="T27" fmla="*/ 537 h 4701"/>
                  <a:gd name="T28" fmla="*/ 4444 w 4904"/>
                  <a:gd name="T29" fmla="*/ 510 h 4701"/>
                  <a:gd name="T30" fmla="*/ 4893 w 4904"/>
                  <a:gd name="T31" fmla="*/ 735 h 4701"/>
                  <a:gd name="T32" fmla="*/ 4902 w 4904"/>
                  <a:gd name="T33" fmla="*/ 944 h 4701"/>
                  <a:gd name="T34" fmla="*/ 4902 w 4904"/>
                  <a:gd name="T35" fmla="*/ 957 h 4701"/>
                  <a:gd name="T36" fmla="*/ 4509 w 4904"/>
                  <a:gd name="T37" fmla="*/ 2755 h 4701"/>
                  <a:gd name="T38" fmla="*/ 2737 w 4904"/>
                  <a:gd name="T39" fmla="*/ 4603 h 4701"/>
                  <a:gd name="T40" fmla="*/ 2638 w 4904"/>
                  <a:gd name="T41" fmla="*/ 4649 h 4701"/>
                  <a:gd name="T42" fmla="*/ 2454 w 4904"/>
                  <a:gd name="T43" fmla="*/ 4701 h 4701"/>
                  <a:gd name="T44" fmla="*/ 2452 w 4904"/>
                  <a:gd name="T45" fmla="*/ 4345 h 4701"/>
                  <a:gd name="T46" fmla="*/ 2543 w 4904"/>
                  <a:gd name="T47" fmla="*/ 4300 h 4701"/>
                  <a:gd name="T48" fmla="*/ 2579 w 4904"/>
                  <a:gd name="T49" fmla="*/ 4284 h 4701"/>
                  <a:gd name="T50" fmla="*/ 3525 w 4904"/>
                  <a:gd name="T51" fmla="*/ 3581 h 4701"/>
                  <a:gd name="T52" fmla="*/ 4185 w 4904"/>
                  <a:gd name="T53" fmla="*/ 2607 h 4701"/>
                  <a:gd name="T54" fmla="*/ 4546 w 4904"/>
                  <a:gd name="T55" fmla="*/ 877 h 4701"/>
                  <a:gd name="T56" fmla="*/ 4534 w 4904"/>
                  <a:gd name="T57" fmla="*/ 860 h 4701"/>
                  <a:gd name="T58" fmla="*/ 4449 w 4904"/>
                  <a:gd name="T59" fmla="*/ 901 h 4701"/>
                  <a:gd name="T60" fmla="*/ 3490 w 4904"/>
                  <a:gd name="T61" fmla="*/ 1034 h 4701"/>
                  <a:gd name="T62" fmla="*/ 2746 w 4904"/>
                  <a:gd name="T63" fmla="*/ 617 h 4701"/>
                  <a:gd name="T64" fmla="*/ 2542 w 4904"/>
                  <a:gd name="T65" fmla="*/ 400 h 4701"/>
                  <a:gd name="T66" fmla="*/ 2449 w 4904"/>
                  <a:gd name="T67" fmla="*/ 360 h 4701"/>
                  <a:gd name="T68" fmla="*/ 2102 w 4904"/>
                  <a:gd name="T69" fmla="*/ 605 h 4701"/>
                  <a:gd name="T70" fmla="*/ 1362 w 4904"/>
                  <a:gd name="T71" fmla="*/ 1034 h 4701"/>
                  <a:gd name="T72" fmla="*/ 444 w 4904"/>
                  <a:gd name="T73" fmla="*/ 897 h 4701"/>
                  <a:gd name="T74" fmla="*/ 362 w 4904"/>
                  <a:gd name="T75" fmla="*/ 1100 h 4701"/>
                  <a:gd name="T76" fmla="*/ 499 w 4904"/>
                  <a:gd name="T77" fmla="*/ 2011 h 4701"/>
                  <a:gd name="T78" fmla="*/ 897 w 4904"/>
                  <a:gd name="T79" fmla="*/ 2973 h 4701"/>
                  <a:gd name="T80" fmla="*/ 1674 w 4904"/>
                  <a:gd name="T81" fmla="*/ 3875 h 4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04" h="4701">
                    <a:moveTo>
                      <a:pt x="2454" y="4701"/>
                    </a:moveTo>
                    <a:cubicBezTo>
                      <a:pt x="2400" y="4701"/>
                      <a:pt x="2344" y="4688"/>
                      <a:pt x="2286" y="4664"/>
                    </a:cubicBezTo>
                    <a:cubicBezTo>
                      <a:pt x="2284" y="4663"/>
                      <a:pt x="2284" y="4663"/>
                      <a:pt x="2284" y="4663"/>
                    </a:cubicBezTo>
                    <a:cubicBezTo>
                      <a:pt x="1987" y="4534"/>
                      <a:pt x="1706" y="4362"/>
                      <a:pt x="1448" y="4150"/>
                    </a:cubicBezTo>
                    <a:cubicBezTo>
                      <a:pt x="1448" y="4150"/>
                      <a:pt x="1448" y="4150"/>
                      <a:pt x="1448" y="4150"/>
                    </a:cubicBezTo>
                    <a:cubicBezTo>
                      <a:pt x="1105" y="3869"/>
                      <a:pt x="817" y="3534"/>
                      <a:pt x="591" y="3155"/>
                    </a:cubicBezTo>
                    <a:cubicBezTo>
                      <a:pt x="398" y="2831"/>
                      <a:pt x="251" y="2476"/>
                      <a:pt x="155" y="2101"/>
                    </a:cubicBezTo>
                    <a:cubicBezTo>
                      <a:pt x="74" y="1796"/>
                      <a:pt x="26" y="1476"/>
                      <a:pt x="6" y="1124"/>
                    </a:cubicBezTo>
                    <a:cubicBezTo>
                      <a:pt x="6" y="1111"/>
                      <a:pt x="6" y="1111"/>
                      <a:pt x="6" y="1111"/>
                    </a:cubicBezTo>
                    <a:cubicBezTo>
                      <a:pt x="3" y="1017"/>
                      <a:pt x="0" y="928"/>
                      <a:pt x="0" y="836"/>
                    </a:cubicBezTo>
                    <a:cubicBezTo>
                      <a:pt x="0" y="659"/>
                      <a:pt x="78" y="572"/>
                      <a:pt x="144" y="530"/>
                    </a:cubicBezTo>
                    <a:cubicBezTo>
                      <a:pt x="211" y="486"/>
                      <a:pt x="327" y="451"/>
                      <a:pt x="499" y="529"/>
                    </a:cubicBezTo>
                    <a:cubicBezTo>
                      <a:pt x="536" y="545"/>
                      <a:pt x="571" y="563"/>
                      <a:pt x="604" y="580"/>
                    </a:cubicBezTo>
                    <a:cubicBezTo>
                      <a:pt x="664" y="610"/>
                      <a:pt x="721" y="639"/>
                      <a:pt x="777" y="654"/>
                    </a:cubicBezTo>
                    <a:cubicBezTo>
                      <a:pt x="778" y="654"/>
                      <a:pt x="778" y="654"/>
                      <a:pt x="778" y="654"/>
                    </a:cubicBezTo>
                    <a:cubicBezTo>
                      <a:pt x="1152" y="760"/>
                      <a:pt x="1465" y="695"/>
                      <a:pt x="1735" y="458"/>
                    </a:cubicBezTo>
                    <a:cubicBezTo>
                      <a:pt x="1736" y="457"/>
                      <a:pt x="1736" y="457"/>
                      <a:pt x="1736" y="457"/>
                    </a:cubicBezTo>
                    <a:cubicBezTo>
                      <a:pt x="1777" y="421"/>
                      <a:pt x="1817" y="384"/>
                      <a:pt x="1859" y="344"/>
                    </a:cubicBezTo>
                    <a:cubicBezTo>
                      <a:pt x="1924" y="284"/>
                      <a:pt x="1992" y="221"/>
                      <a:pt x="2065" y="162"/>
                    </a:cubicBezTo>
                    <a:cubicBezTo>
                      <a:pt x="2067" y="160"/>
                      <a:pt x="2067" y="160"/>
                      <a:pt x="2067" y="160"/>
                    </a:cubicBezTo>
                    <a:cubicBezTo>
                      <a:pt x="2160" y="87"/>
                      <a:pt x="2274" y="8"/>
                      <a:pt x="2440" y="4"/>
                    </a:cubicBezTo>
                    <a:cubicBezTo>
                      <a:pt x="2558" y="0"/>
                      <a:pt x="2666" y="40"/>
                      <a:pt x="2769" y="126"/>
                    </a:cubicBezTo>
                    <a:cubicBezTo>
                      <a:pt x="2838" y="183"/>
                      <a:pt x="2892" y="245"/>
                      <a:pt x="2944" y="305"/>
                    </a:cubicBezTo>
                    <a:cubicBezTo>
                      <a:pt x="2966" y="330"/>
                      <a:pt x="2986" y="353"/>
                      <a:pt x="3007" y="375"/>
                    </a:cubicBezTo>
                    <a:cubicBezTo>
                      <a:pt x="3009" y="378"/>
                      <a:pt x="3009" y="378"/>
                      <a:pt x="3009" y="378"/>
                    </a:cubicBezTo>
                    <a:cubicBezTo>
                      <a:pt x="3167" y="554"/>
                      <a:pt x="3336" y="650"/>
                      <a:pt x="3542" y="682"/>
                    </a:cubicBezTo>
                    <a:cubicBezTo>
                      <a:pt x="3844" y="726"/>
                      <a:pt x="4079" y="696"/>
                      <a:pt x="4280" y="588"/>
                    </a:cubicBezTo>
                    <a:cubicBezTo>
                      <a:pt x="4316" y="568"/>
                      <a:pt x="4352" y="552"/>
                      <a:pt x="4386" y="537"/>
                    </a:cubicBezTo>
                    <a:cubicBezTo>
                      <a:pt x="4404" y="528"/>
                      <a:pt x="4422" y="520"/>
                      <a:pt x="4438" y="512"/>
                    </a:cubicBezTo>
                    <a:cubicBezTo>
                      <a:pt x="4444" y="510"/>
                      <a:pt x="4444" y="510"/>
                      <a:pt x="4444" y="510"/>
                    </a:cubicBezTo>
                    <a:cubicBezTo>
                      <a:pt x="4578" y="449"/>
                      <a:pt x="4676" y="474"/>
                      <a:pt x="4736" y="505"/>
                    </a:cubicBezTo>
                    <a:cubicBezTo>
                      <a:pt x="4793" y="535"/>
                      <a:pt x="4867" y="599"/>
                      <a:pt x="4893" y="735"/>
                    </a:cubicBezTo>
                    <a:cubicBezTo>
                      <a:pt x="4904" y="790"/>
                      <a:pt x="4903" y="840"/>
                      <a:pt x="4902" y="885"/>
                    </a:cubicBezTo>
                    <a:cubicBezTo>
                      <a:pt x="4901" y="906"/>
                      <a:pt x="4901" y="925"/>
                      <a:pt x="4902" y="944"/>
                    </a:cubicBezTo>
                    <a:cubicBezTo>
                      <a:pt x="4902" y="950"/>
                      <a:pt x="4902" y="950"/>
                      <a:pt x="4902" y="950"/>
                    </a:cubicBezTo>
                    <a:cubicBezTo>
                      <a:pt x="4902" y="957"/>
                      <a:pt x="4902" y="957"/>
                      <a:pt x="4902" y="957"/>
                    </a:cubicBezTo>
                    <a:cubicBezTo>
                      <a:pt x="4894" y="1274"/>
                      <a:pt x="4859" y="1580"/>
                      <a:pt x="4799" y="1866"/>
                    </a:cubicBezTo>
                    <a:cubicBezTo>
                      <a:pt x="4734" y="2178"/>
                      <a:pt x="4637" y="2477"/>
                      <a:pt x="4509" y="2755"/>
                    </a:cubicBezTo>
                    <a:cubicBezTo>
                      <a:pt x="4331" y="3152"/>
                      <a:pt x="4086" y="3514"/>
                      <a:pt x="3781" y="3829"/>
                    </a:cubicBezTo>
                    <a:cubicBezTo>
                      <a:pt x="3466" y="4159"/>
                      <a:pt x="3124" y="4412"/>
                      <a:pt x="2737" y="4603"/>
                    </a:cubicBezTo>
                    <a:cubicBezTo>
                      <a:pt x="2718" y="4612"/>
                      <a:pt x="2700" y="4620"/>
                      <a:pt x="2684" y="4627"/>
                    </a:cubicBezTo>
                    <a:cubicBezTo>
                      <a:pt x="2665" y="4635"/>
                      <a:pt x="2648" y="4642"/>
                      <a:pt x="2638" y="4649"/>
                    </a:cubicBezTo>
                    <a:cubicBezTo>
                      <a:pt x="2634" y="4651"/>
                      <a:pt x="2634" y="4651"/>
                      <a:pt x="2634" y="4651"/>
                    </a:cubicBezTo>
                    <a:cubicBezTo>
                      <a:pt x="2578" y="4684"/>
                      <a:pt x="2517" y="4701"/>
                      <a:pt x="2454" y="4701"/>
                    </a:cubicBezTo>
                    <a:close/>
                    <a:moveTo>
                      <a:pt x="2424" y="4336"/>
                    </a:moveTo>
                    <a:cubicBezTo>
                      <a:pt x="2441" y="4343"/>
                      <a:pt x="2449" y="4344"/>
                      <a:pt x="2452" y="4345"/>
                    </a:cubicBezTo>
                    <a:cubicBezTo>
                      <a:pt x="2452" y="4344"/>
                      <a:pt x="2453" y="4344"/>
                      <a:pt x="2453" y="4344"/>
                    </a:cubicBezTo>
                    <a:cubicBezTo>
                      <a:pt x="2485" y="4325"/>
                      <a:pt x="2516" y="4312"/>
                      <a:pt x="2543" y="4300"/>
                    </a:cubicBezTo>
                    <a:cubicBezTo>
                      <a:pt x="2556" y="4294"/>
                      <a:pt x="2569" y="4289"/>
                      <a:pt x="2579" y="4284"/>
                    </a:cubicBezTo>
                    <a:cubicBezTo>
                      <a:pt x="2579" y="4284"/>
                      <a:pt x="2579" y="4284"/>
                      <a:pt x="2579" y="4284"/>
                    </a:cubicBezTo>
                    <a:cubicBezTo>
                      <a:pt x="2929" y="4111"/>
                      <a:pt x="3238" y="3882"/>
                      <a:pt x="3524" y="3582"/>
                    </a:cubicBezTo>
                    <a:cubicBezTo>
                      <a:pt x="3525" y="3581"/>
                      <a:pt x="3525" y="3581"/>
                      <a:pt x="3525" y="3581"/>
                    </a:cubicBezTo>
                    <a:cubicBezTo>
                      <a:pt x="3801" y="3296"/>
                      <a:pt x="4023" y="2969"/>
                      <a:pt x="4185" y="2609"/>
                    </a:cubicBezTo>
                    <a:cubicBezTo>
                      <a:pt x="4185" y="2607"/>
                      <a:pt x="4185" y="2607"/>
                      <a:pt x="4185" y="2607"/>
                    </a:cubicBezTo>
                    <a:cubicBezTo>
                      <a:pt x="4412" y="2112"/>
                      <a:pt x="4530" y="1571"/>
                      <a:pt x="4546" y="953"/>
                    </a:cubicBezTo>
                    <a:cubicBezTo>
                      <a:pt x="4545" y="925"/>
                      <a:pt x="4545" y="900"/>
                      <a:pt x="4546" y="877"/>
                    </a:cubicBezTo>
                    <a:cubicBezTo>
                      <a:pt x="4546" y="869"/>
                      <a:pt x="4546" y="862"/>
                      <a:pt x="4546" y="855"/>
                    </a:cubicBezTo>
                    <a:cubicBezTo>
                      <a:pt x="4542" y="857"/>
                      <a:pt x="4538" y="858"/>
                      <a:pt x="4534" y="860"/>
                    </a:cubicBezTo>
                    <a:cubicBezTo>
                      <a:pt x="4504" y="874"/>
                      <a:pt x="4475" y="887"/>
                      <a:pt x="4450" y="901"/>
                    </a:cubicBezTo>
                    <a:cubicBezTo>
                      <a:pt x="4449" y="901"/>
                      <a:pt x="4449" y="901"/>
                      <a:pt x="4449" y="901"/>
                    </a:cubicBezTo>
                    <a:cubicBezTo>
                      <a:pt x="4304" y="979"/>
                      <a:pt x="4143" y="1029"/>
                      <a:pt x="3971" y="1048"/>
                    </a:cubicBezTo>
                    <a:cubicBezTo>
                      <a:pt x="3823" y="1064"/>
                      <a:pt x="3666" y="1060"/>
                      <a:pt x="3490" y="1034"/>
                    </a:cubicBezTo>
                    <a:cubicBezTo>
                      <a:pt x="3489" y="1034"/>
                      <a:pt x="3489" y="1034"/>
                      <a:pt x="3489" y="1034"/>
                    </a:cubicBezTo>
                    <a:cubicBezTo>
                      <a:pt x="3202" y="990"/>
                      <a:pt x="2958" y="854"/>
                      <a:pt x="2746" y="617"/>
                    </a:cubicBezTo>
                    <a:cubicBezTo>
                      <a:pt x="2721" y="591"/>
                      <a:pt x="2698" y="564"/>
                      <a:pt x="2676" y="538"/>
                    </a:cubicBezTo>
                    <a:cubicBezTo>
                      <a:pt x="2631" y="487"/>
                      <a:pt x="2588" y="438"/>
                      <a:pt x="2542" y="400"/>
                    </a:cubicBezTo>
                    <a:cubicBezTo>
                      <a:pt x="2498" y="363"/>
                      <a:pt x="2472" y="359"/>
                      <a:pt x="2451" y="360"/>
                    </a:cubicBezTo>
                    <a:cubicBezTo>
                      <a:pt x="2449" y="360"/>
                      <a:pt x="2449" y="360"/>
                      <a:pt x="2449" y="360"/>
                    </a:cubicBezTo>
                    <a:cubicBezTo>
                      <a:pt x="2397" y="361"/>
                      <a:pt x="2355" y="386"/>
                      <a:pt x="2287" y="440"/>
                    </a:cubicBezTo>
                    <a:cubicBezTo>
                      <a:pt x="2224" y="490"/>
                      <a:pt x="2165" y="546"/>
                      <a:pt x="2102" y="605"/>
                    </a:cubicBezTo>
                    <a:cubicBezTo>
                      <a:pt x="2059" y="644"/>
                      <a:pt x="2015" y="685"/>
                      <a:pt x="1970" y="725"/>
                    </a:cubicBezTo>
                    <a:cubicBezTo>
                      <a:pt x="1787" y="886"/>
                      <a:pt x="1583" y="990"/>
                      <a:pt x="1362" y="1034"/>
                    </a:cubicBezTo>
                    <a:cubicBezTo>
                      <a:pt x="1150" y="1077"/>
                      <a:pt x="921" y="1064"/>
                      <a:pt x="682" y="997"/>
                    </a:cubicBezTo>
                    <a:cubicBezTo>
                      <a:pt x="592" y="972"/>
                      <a:pt x="517" y="934"/>
                      <a:pt x="444" y="897"/>
                    </a:cubicBezTo>
                    <a:cubicBezTo>
                      <a:pt x="413" y="882"/>
                      <a:pt x="385" y="867"/>
                      <a:pt x="356" y="855"/>
                    </a:cubicBezTo>
                    <a:cubicBezTo>
                      <a:pt x="356" y="935"/>
                      <a:pt x="359" y="1015"/>
                      <a:pt x="362" y="1100"/>
                    </a:cubicBezTo>
                    <a:cubicBezTo>
                      <a:pt x="362" y="1106"/>
                      <a:pt x="362" y="1106"/>
                      <a:pt x="362" y="1106"/>
                    </a:cubicBezTo>
                    <a:cubicBezTo>
                      <a:pt x="380" y="1434"/>
                      <a:pt x="425" y="1730"/>
                      <a:pt x="499" y="2011"/>
                    </a:cubicBezTo>
                    <a:cubicBezTo>
                      <a:pt x="499" y="2012"/>
                      <a:pt x="499" y="2012"/>
                      <a:pt x="499" y="2012"/>
                    </a:cubicBezTo>
                    <a:cubicBezTo>
                      <a:pt x="587" y="2354"/>
                      <a:pt x="721" y="2677"/>
                      <a:pt x="897" y="2973"/>
                    </a:cubicBezTo>
                    <a:cubicBezTo>
                      <a:pt x="1101" y="3317"/>
                      <a:pt x="1363" y="3620"/>
                      <a:pt x="1674" y="3874"/>
                    </a:cubicBezTo>
                    <a:cubicBezTo>
                      <a:pt x="1674" y="3875"/>
                      <a:pt x="1674" y="3875"/>
                      <a:pt x="1674" y="3875"/>
                    </a:cubicBezTo>
                    <a:cubicBezTo>
                      <a:pt x="1906" y="4065"/>
                      <a:pt x="2158" y="4220"/>
                      <a:pt x="2424" y="433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nvGrpSpPr>
              <p:cNvPr id="115" name="Group 114">
                <a:extLst>
                  <a:ext uri="{FF2B5EF4-FFF2-40B4-BE49-F238E27FC236}">
                    <a16:creationId xmlns:a16="http://schemas.microsoft.com/office/drawing/2014/main" id="{2E266721-4DAC-438C-8FE4-257BB3D637F7}"/>
                  </a:ext>
                </a:extLst>
              </p:cNvPr>
              <p:cNvGrpSpPr/>
              <p:nvPr/>
            </p:nvGrpSpPr>
            <p:grpSpPr>
              <a:xfrm>
                <a:off x="7702408" y="2086708"/>
                <a:ext cx="2983196" cy="1380200"/>
                <a:chOff x="6714942" y="2244673"/>
                <a:chExt cx="2300338" cy="1064270"/>
              </a:xfrm>
            </p:grpSpPr>
            <p:sp>
              <p:nvSpPr>
                <p:cNvPr id="116" name="Freeform: Shape 115">
                  <a:extLst>
                    <a:ext uri="{FF2B5EF4-FFF2-40B4-BE49-F238E27FC236}">
                      <a16:creationId xmlns:a16="http://schemas.microsoft.com/office/drawing/2014/main" id="{061AD966-1110-49E8-85D0-136C00099791}"/>
                    </a:ext>
                  </a:extLst>
                </p:cNvPr>
                <p:cNvSpPr/>
                <p:nvPr/>
              </p:nvSpPr>
              <p:spPr bwMode="auto">
                <a:xfrm>
                  <a:off x="6714942" y="2488851"/>
                  <a:ext cx="2300338" cy="820092"/>
                </a:xfrm>
                <a:custGeom>
                  <a:avLst/>
                  <a:gdLst>
                    <a:gd name="connsiteX0" fmla="*/ 1150169 w 2300338"/>
                    <a:gd name="connsiteY0" fmla="*/ 0 h 820092"/>
                    <a:gd name="connsiteX1" fmla="*/ 1793240 w 2300338"/>
                    <a:gd name="connsiteY1" fmla="*/ 70029 h 820092"/>
                    <a:gd name="connsiteX2" fmla="*/ 1860300 w 2300338"/>
                    <a:gd name="connsiteY2" fmla="*/ 89755 h 820092"/>
                    <a:gd name="connsiteX3" fmla="*/ 2201796 w 2300338"/>
                    <a:gd name="connsiteY3" fmla="*/ 89755 h 820092"/>
                    <a:gd name="connsiteX4" fmla="*/ 2300338 w 2300338"/>
                    <a:gd name="connsiteY4" fmla="*/ 188297 h 820092"/>
                    <a:gd name="connsiteX5" fmla="*/ 2300338 w 2300338"/>
                    <a:gd name="connsiteY5" fmla="*/ 410046 h 820092"/>
                    <a:gd name="connsiteX6" fmla="*/ 2300338 w 2300338"/>
                    <a:gd name="connsiteY6" fmla="*/ 426316 h 820092"/>
                    <a:gd name="connsiteX7" fmla="*/ 2292594 w 2300338"/>
                    <a:gd name="connsiteY7" fmla="*/ 464673 h 820092"/>
                    <a:gd name="connsiteX8" fmla="*/ 2279327 w 2300338"/>
                    <a:gd name="connsiteY8" fmla="*/ 484350 h 820092"/>
                    <a:gd name="connsiteX9" fmla="*/ 2276971 w 2300338"/>
                    <a:gd name="connsiteY9" fmla="*/ 492685 h 820092"/>
                    <a:gd name="connsiteX10" fmla="*/ 1150169 w 2300338"/>
                    <a:gd name="connsiteY10" fmla="*/ 820092 h 820092"/>
                    <a:gd name="connsiteX11" fmla="*/ 23368 w 2300338"/>
                    <a:gd name="connsiteY11" fmla="*/ 492685 h 820092"/>
                    <a:gd name="connsiteX12" fmla="*/ 20219 w 2300338"/>
                    <a:gd name="connsiteY12" fmla="*/ 481550 h 820092"/>
                    <a:gd name="connsiteX13" fmla="*/ 8840 w 2300338"/>
                    <a:gd name="connsiteY13" fmla="*/ 464673 h 820092"/>
                    <a:gd name="connsiteX14" fmla="*/ 1096 w 2300338"/>
                    <a:gd name="connsiteY14" fmla="*/ 426316 h 820092"/>
                    <a:gd name="connsiteX15" fmla="*/ 1096 w 2300338"/>
                    <a:gd name="connsiteY15" fmla="*/ 413922 h 820092"/>
                    <a:gd name="connsiteX16" fmla="*/ 0 w 2300338"/>
                    <a:gd name="connsiteY16" fmla="*/ 410046 h 820092"/>
                    <a:gd name="connsiteX17" fmla="*/ 1096 w 2300338"/>
                    <a:gd name="connsiteY17" fmla="*/ 406170 h 820092"/>
                    <a:gd name="connsiteX18" fmla="*/ 1096 w 2300338"/>
                    <a:gd name="connsiteY18" fmla="*/ 188297 h 820092"/>
                    <a:gd name="connsiteX19" fmla="*/ 99638 w 2300338"/>
                    <a:gd name="connsiteY19" fmla="*/ 89755 h 820092"/>
                    <a:gd name="connsiteX20" fmla="*/ 440039 w 2300338"/>
                    <a:gd name="connsiteY20" fmla="*/ 89755 h 820092"/>
                    <a:gd name="connsiteX21" fmla="*/ 507099 w 2300338"/>
                    <a:gd name="connsiteY21" fmla="*/ 70029 h 820092"/>
                    <a:gd name="connsiteX22" fmla="*/ 1150169 w 2300338"/>
                    <a:gd name="connsiteY22" fmla="*/ 0 h 8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00338" h="820092">
                      <a:moveTo>
                        <a:pt x="1150169" y="0"/>
                      </a:moveTo>
                      <a:cubicBezTo>
                        <a:pt x="1388377" y="0"/>
                        <a:pt x="1609672" y="25816"/>
                        <a:pt x="1793240" y="70029"/>
                      </a:cubicBezTo>
                      <a:lnTo>
                        <a:pt x="1860300" y="89755"/>
                      </a:lnTo>
                      <a:lnTo>
                        <a:pt x="2201796" y="89755"/>
                      </a:lnTo>
                      <a:cubicBezTo>
                        <a:pt x="2256219" y="89755"/>
                        <a:pt x="2300338" y="133874"/>
                        <a:pt x="2300338" y="188297"/>
                      </a:cubicBezTo>
                      <a:lnTo>
                        <a:pt x="2300338" y="410046"/>
                      </a:lnTo>
                      <a:lnTo>
                        <a:pt x="2300338" y="426316"/>
                      </a:lnTo>
                      <a:cubicBezTo>
                        <a:pt x="2300338" y="439922"/>
                        <a:pt x="2297581" y="452884"/>
                        <a:pt x="2292594" y="464673"/>
                      </a:cubicBezTo>
                      <a:lnTo>
                        <a:pt x="2279327" y="484350"/>
                      </a:lnTo>
                      <a:lnTo>
                        <a:pt x="2276971" y="492685"/>
                      </a:lnTo>
                      <a:cubicBezTo>
                        <a:pt x="2169722" y="679536"/>
                        <a:pt x="1705987" y="820092"/>
                        <a:pt x="1150169" y="820092"/>
                      </a:cubicBezTo>
                      <a:cubicBezTo>
                        <a:pt x="594351" y="820092"/>
                        <a:pt x="130617" y="679536"/>
                        <a:pt x="23368" y="492685"/>
                      </a:cubicBezTo>
                      <a:lnTo>
                        <a:pt x="20219" y="481550"/>
                      </a:lnTo>
                      <a:lnTo>
                        <a:pt x="8840" y="464673"/>
                      </a:lnTo>
                      <a:cubicBezTo>
                        <a:pt x="3854" y="452884"/>
                        <a:pt x="1096" y="439922"/>
                        <a:pt x="1096" y="426316"/>
                      </a:cubicBezTo>
                      <a:lnTo>
                        <a:pt x="1096" y="413922"/>
                      </a:lnTo>
                      <a:lnTo>
                        <a:pt x="0" y="410046"/>
                      </a:lnTo>
                      <a:lnTo>
                        <a:pt x="1096" y="406170"/>
                      </a:lnTo>
                      <a:lnTo>
                        <a:pt x="1096" y="188297"/>
                      </a:lnTo>
                      <a:cubicBezTo>
                        <a:pt x="1096" y="133874"/>
                        <a:pt x="45215" y="89755"/>
                        <a:pt x="99638" y="89755"/>
                      </a:cubicBezTo>
                      <a:lnTo>
                        <a:pt x="440039" y="89755"/>
                      </a:lnTo>
                      <a:lnTo>
                        <a:pt x="507099" y="70029"/>
                      </a:lnTo>
                      <a:cubicBezTo>
                        <a:pt x="690667" y="25816"/>
                        <a:pt x="911962" y="0"/>
                        <a:pt x="1150169"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Freeform: Shape 116">
                  <a:extLst>
                    <a:ext uri="{FF2B5EF4-FFF2-40B4-BE49-F238E27FC236}">
                      <a16:creationId xmlns:a16="http://schemas.microsoft.com/office/drawing/2014/main" id="{E2043433-9447-49E5-A620-368992215E2F}"/>
                    </a:ext>
                  </a:extLst>
                </p:cNvPr>
                <p:cNvSpPr/>
                <p:nvPr/>
              </p:nvSpPr>
              <p:spPr bwMode="auto">
                <a:xfrm>
                  <a:off x="6714942" y="2244673"/>
                  <a:ext cx="2300338" cy="820092"/>
                </a:xfrm>
                <a:custGeom>
                  <a:avLst/>
                  <a:gdLst>
                    <a:gd name="connsiteX0" fmla="*/ 1104228 w 2237970"/>
                    <a:gd name="connsiteY0" fmla="*/ 260527 h 820092"/>
                    <a:gd name="connsiteX1" fmla="*/ 746035 w 2237970"/>
                    <a:gd name="connsiteY1" fmla="*/ 364603 h 820092"/>
                    <a:gd name="connsiteX2" fmla="*/ 1104228 w 2237970"/>
                    <a:gd name="connsiteY2" fmla="*/ 468679 h 820092"/>
                    <a:gd name="connsiteX3" fmla="*/ 1462421 w 2237970"/>
                    <a:gd name="connsiteY3" fmla="*/ 364603 h 820092"/>
                    <a:gd name="connsiteX4" fmla="*/ 1104228 w 2237970"/>
                    <a:gd name="connsiteY4" fmla="*/ 260527 h 820092"/>
                    <a:gd name="connsiteX5" fmla="*/ 1118985 w 2237970"/>
                    <a:gd name="connsiteY5" fmla="*/ 0 h 820092"/>
                    <a:gd name="connsiteX6" fmla="*/ 2237970 w 2237970"/>
                    <a:gd name="connsiteY6" fmla="*/ 410046 h 820092"/>
                    <a:gd name="connsiteX7" fmla="*/ 1118985 w 2237970"/>
                    <a:gd name="connsiteY7" fmla="*/ 820092 h 820092"/>
                    <a:gd name="connsiteX8" fmla="*/ 0 w 2237970"/>
                    <a:gd name="connsiteY8" fmla="*/ 410046 h 820092"/>
                    <a:gd name="connsiteX9" fmla="*/ 1118985 w 2237970"/>
                    <a:gd name="connsiteY9" fmla="*/ 0 h 8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7970" h="820092">
                      <a:moveTo>
                        <a:pt x="1104228" y="260527"/>
                      </a:moveTo>
                      <a:cubicBezTo>
                        <a:pt x="906403" y="260527"/>
                        <a:pt x="746035" y="307123"/>
                        <a:pt x="746035" y="364603"/>
                      </a:cubicBezTo>
                      <a:cubicBezTo>
                        <a:pt x="746035" y="422083"/>
                        <a:pt x="906403" y="468679"/>
                        <a:pt x="1104228" y="468679"/>
                      </a:cubicBezTo>
                      <a:cubicBezTo>
                        <a:pt x="1302053" y="468679"/>
                        <a:pt x="1462421" y="422083"/>
                        <a:pt x="1462421" y="364603"/>
                      </a:cubicBezTo>
                      <a:cubicBezTo>
                        <a:pt x="1462421" y="307123"/>
                        <a:pt x="1302053" y="260527"/>
                        <a:pt x="1104228" y="260527"/>
                      </a:cubicBezTo>
                      <a:close/>
                      <a:moveTo>
                        <a:pt x="1118985" y="0"/>
                      </a:moveTo>
                      <a:cubicBezTo>
                        <a:pt x="1736983" y="0"/>
                        <a:pt x="2237970" y="183584"/>
                        <a:pt x="2237970" y="410046"/>
                      </a:cubicBezTo>
                      <a:cubicBezTo>
                        <a:pt x="2237970" y="636508"/>
                        <a:pt x="1736983" y="820092"/>
                        <a:pt x="1118985" y="820092"/>
                      </a:cubicBezTo>
                      <a:cubicBezTo>
                        <a:pt x="500987" y="820092"/>
                        <a:pt x="0" y="636508"/>
                        <a:pt x="0" y="410046"/>
                      </a:cubicBezTo>
                      <a:cubicBezTo>
                        <a:pt x="0" y="183584"/>
                        <a:pt x="500987" y="0"/>
                        <a:pt x="11189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142" name="Group 141">
            <a:extLst>
              <a:ext uri="{FF2B5EF4-FFF2-40B4-BE49-F238E27FC236}">
                <a16:creationId xmlns:a16="http://schemas.microsoft.com/office/drawing/2014/main" id="{AA8F52BF-9FF9-409C-BC9E-DDA5206EE91A}"/>
              </a:ext>
            </a:extLst>
          </p:cNvPr>
          <p:cNvGrpSpPr/>
          <p:nvPr/>
        </p:nvGrpSpPr>
        <p:grpSpPr>
          <a:xfrm>
            <a:off x="388938" y="5709765"/>
            <a:ext cx="935510" cy="935510"/>
            <a:chOff x="388938" y="5709765"/>
            <a:chExt cx="935510" cy="935510"/>
          </a:xfrm>
        </p:grpSpPr>
        <p:grpSp>
          <p:nvGrpSpPr>
            <p:cNvPr id="35" name="Group 34">
              <a:extLst>
                <a:ext uri="{FF2B5EF4-FFF2-40B4-BE49-F238E27FC236}">
                  <a16:creationId xmlns:a16="http://schemas.microsoft.com/office/drawing/2014/main" id="{6472D194-A6C4-40AC-A11D-BDC2279C2639}"/>
                </a:ext>
              </a:extLst>
            </p:cNvPr>
            <p:cNvGrpSpPr/>
            <p:nvPr/>
          </p:nvGrpSpPr>
          <p:grpSpPr>
            <a:xfrm>
              <a:off x="388938" y="5709765"/>
              <a:ext cx="935510" cy="935510"/>
              <a:chOff x="343218" y="5709765"/>
              <a:chExt cx="935510" cy="935510"/>
            </a:xfrm>
          </p:grpSpPr>
          <p:sp>
            <p:nvSpPr>
              <p:cNvPr id="68" name="Oval 67">
                <a:extLst>
                  <a:ext uri="{FF2B5EF4-FFF2-40B4-BE49-F238E27FC236}">
                    <a16:creationId xmlns:a16="http://schemas.microsoft.com/office/drawing/2014/main" id="{B11A607B-AFB6-463C-960E-7D6782133872}"/>
                  </a:ext>
                </a:extLst>
              </p:cNvPr>
              <p:cNvSpPr/>
              <p:nvPr/>
            </p:nvSpPr>
            <p:spPr bwMode="auto">
              <a:xfrm>
                <a:off x="420790" y="5787339"/>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69" name="Arc 68">
                <a:extLst>
                  <a:ext uri="{FF2B5EF4-FFF2-40B4-BE49-F238E27FC236}">
                    <a16:creationId xmlns:a16="http://schemas.microsoft.com/office/drawing/2014/main" id="{E16DD844-7D9C-41A8-A0D3-0B33A5E14760}"/>
                  </a:ext>
                </a:extLst>
              </p:cNvPr>
              <p:cNvSpPr/>
              <p:nvPr/>
            </p:nvSpPr>
            <p:spPr>
              <a:xfrm>
                <a:off x="343218" y="5709765"/>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sp>
          <p:nvSpPr>
            <p:cNvPr id="124" name="Freeform: Shape 123">
              <a:extLst>
                <a:ext uri="{FF2B5EF4-FFF2-40B4-BE49-F238E27FC236}">
                  <a16:creationId xmlns:a16="http://schemas.microsoft.com/office/drawing/2014/main" id="{9B794270-EDE4-486C-96F1-CAEA53AC723C}"/>
                </a:ext>
              </a:extLst>
            </p:cNvPr>
            <p:cNvSpPr>
              <a:spLocks/>
            </p:cNvSpPr>
            <p:nvPr/>
          </p:nvSpPr>
          <p:spPr bwMode="auto">
            <a:xfrm>
              <a:off x="666336" y="5964879"/>
              <a:ext cx="380714" cy="425282"/>
            </a:xfrm>
            <a:custGeom>
              <a:avLst/>
              <a:gdLst>
                <a:gd name="connsiteX0" fmla="*/ 190127 w 380714"/>
                <a:gd name="connsiteY0" fmla="*/ 3 h 425282"/>
                <a:gd name="connsiteX1" fmla="*/ 277978 w 380714"/>
                <a:gd name="connsiteY1" fmla="*/ 24916 h 425282"/>
                <a:gd name="connsiteX2" fmla="*/ 322970 w 380714"/>
                <a:gd name="connsiteY2" fmla="*/ 78662 h 425282"/>
                <a:gd name="connsiteX3" fmla="*/ 335866 w 380714"/>
                <a:gd name="connsiteY3" fmla="*/ 147928 h 425282"/>
                <a:gd name="connsiteX4" fmla="*/ 343890 w 380714"/>
                <a:gd name="connsiteY4" fmla="*/ 157700 h 425282"/>
                <a:gd name="connsiteX5" fmla="*/ 380285 w 380714"/>
                <a:gd name="connsiteY5" fmla="*/ 200237 h 425282"/>
                <a:gd name="connsiteX6" fmla="*/ 380285 w 380714"/>
                <a:gd name="connsiteY6" fmla="*/ 381880 h 425282"/>
                <a:gd name="connsiteX7" fmla="*/ 361657 w 380714"/>
                <a:gd name="connsiteY7" fmla="*/ 419818 h 425282"/>
                <a:gd name="connsiteX8" fmla="*/ 339018 w 380714"/>
                <a:gd name="connsiteY8" fmla="*/ 425279 h 425282"/>
                <a:gd name="connsiteX9" fmla="*/ 190572 w 380714"/>
                <a:gd name="connsiteY9" fmla="*/ 425279 h 425282"/>
                <a:gd name="connsiteX10" fmla="*/ 43846 w 380714"/>
                <a:gd name="connsiteY10" fmla="*/ 425279 h 425282"/>
                <a:gd name="connsiteX11" fmla="*/ 860 w 380714"/>
                <a:gd name="connsiteY11" fmla="*/ 386479 h 425282"/>
                <a:gd name="connsiteX12" fmla="*/ 0 w 380714"/>
                <a:gd name="connsiteY12" fmla="*/ 368659 h 425282"/>
                <a:gd name="connsiteX13" fmla="*/ 0 w 380714"/>
                <a:gd name="connsiteY13" fmla="*/ 207422 h 425282"/>
                <a:gd name="connsiteX14" fmla="*/ 3152 w 380714"/>
                <a:gd name="connsiteY14" fmla="*/ 183567 h 425282"/>
                <a:gd name="connsiteX15" fmla="*/ 38114 w 380714"/>
                <a:gd name="connsiteY15" fmla="*/ 157412 h 425282"/>
                <a:gd name="connsiteX16" fmla="*/ 44992 w 380714"/>
                <a:gd name="connsiteY16" fmla="*/ 149652 h 425282"/>
                <a:gd name="connsiteX17" fmla="*/ 57315 w 380714"/>
                <a:gd name="connsiteY17" fmla="*/ 80674 h 425282"/>
                <a:gd name="connsiteX18" fmla="*/ 134690 w 380714"/>
                <a:gd name="connsiteY18" fmla="*/ 9683 h 425282"/>
                <a:gd name="connsiteX19" fmla="*/ 190127 w 380714"/>
                <a:gd name="connsiteY19" fmla="*/ 3 h 425282"/>
                <a:gd name="connsiteX20" fmla="*/ 191890 w 380714"/>
                <a:gd name="connsiteY20" fmla="*/ 61682 h 425282"/>
                <a:gd name="connsiteX21" fmla="*/ 148171 w 380714"/>
                <a:gd name="connsiteY21" fmla="*/ 72423 h 425282"/>
                <a:gd name="connsiteX22" fmla="*/ 130984 w 380714"/>
                <a:gd name="connsiteY22" fmla="*/ 86217 h 425282"/>
                <a:gd name="connsiteX23" fmla="*/ 112365 w 380714"/>
                <a:gd name="connsiteY23" fmla="*/ 149153 h 425282"/>
                <a:gd name="connsiteX24" fmla="*/ 119813 w 380714"/>
                <a:gd name="connsiteY24" fmla="*/ 156050 h 425282"/>
                <a:gd name="connsiteX25" fmla="*/ 190565 w 380714"/>
                <a:gd name="connsiteY25" fmla="*/ 156050 h 425282"/>
                <a:gd name="connsiteX26" fmla="*/ 261031 w 380714"/>
                <a:gd name="connsiteY26" fmla="*/ 156050 h 425282"/>
                <a:gd name="connsiteX27" fmla="*/ 268192 w 380714"/>
                <a:gd name="connsiteY27" fmla="*/ 148865 h 425282"/>
                <a:gd name="connsiteX28" fmla="*/ 266760 w 380714"/>
                <a:gd name="connsiteY28" fmla="*/ 123576 h 425282"/>
                <a:gd name="connsiteX29" fmla="*/ 234964 w 380714"/>
                <a:gd name="connsiteY29" fmla="*/ 73573 h 425282"/>
                <a:gd name="connsiteX30" fmla="*/ 191890 w 380714"/>
                <a:gd name="connsiteY30" fmla="*/ 61682 h 425282"/>
                <a:gd name="connsiteX31" fmla="*/ 188106 w 380714"/>
                <a:gd name="connsiteY31" fmla="*/ 182798 h 425282"/>
                <a:gd name="connsiteX32" fmla="*/ 185132 w 380714"/>
                <a:gd name="connsiteY32" fmla="*/ 185023 h 425282"/>
                <a:gd name="connsiteX33" fmla="*/ 145007 w 380714"/>
                <a:gd name="connsiteY33" fmla="*/ 225217 h 425282"/>
                <a:gd name="connsiteX34" fmla="*/ 142714 w 380714"/>
                <a:gd name="connsiteY34" fmla="*/ 229811 h 425282"/>
                <a:gd name="connsiteX35" fmla="*/ 167076 w 380714"/>
                <a:gd name="connsiteY35" fmla="*/ 229811 h 425282"/>
                <a:gd name="connsiteX36" fmla="*/ 173381 w 380714"/>
                <a:gd name="connsiteY36" fmla="*/ 235840 h 425282"/>
                <a:gd name="connsiteX37" fmla="*/ 173381 w 380714"/>
                <a:gd name="connsiteY37" fmla="*/ 259382 h 425282"/>
                <a:gd name="connsiteX38" fmla="*/ 178827 w 380714"/>
                <a:gd name="connsiteY38" fmla="*/ 265411 h 425282"/>
                <a:gd name="connsiteX39" fmla="*/ 197170 w 380714"/>
                <a:gd name="connsiteY39" fmla="*/ 265411 h 425282"/>
                <a:gd name="connsiteX40" fmla="*/ 202902 w 380714"/>
                <a:gd name="connsiteY40" fmla="*/ 259382 h 425282"/>
                <a:gd name="connsiteX41" fmla="*/ 202902 w 380714"/>
                <a:gd name="connsiteY41" fmla="*/ 238711 h 425282"/>
                <a:gd name="connsiteX42" fmla="*/ 212074 w 380714"/>
                <a:gd name="connsiteY42" fmla="*/ 229811 h 425282"/>
                <a:gd name="connsiteX43" fmla="*/ 235576 w 380714"/>
                <a:gd name="connsiteY43" fmla="*/ 229811 h 425282"/>
                <a:gd name="connsiteX44" fmla="*/ 233570 w 380714"/>
                <a:gd name="connsiteY44" fmla="*/ 226652 h 425282"/>
                <a:gd name="connsiteX45" fmla="*/ 191724 w 380714"/>
                <a:gd name="connsiteY45" fmla="*/ 184448 h 425282"/>
                <a:gd name="connsiteX46" fmla="*/ 188106 w 380714"/>
                <a:gd name="connsiteY46" fmla="*/ 182798 h 425282"/>
                <a:gd name="connsiteX47" fmla="*/ 276289 w 380714"/>
                <a:gd name="connsiteY47" fmla="*/ 244528 h 425282"/>
                <a:gd name="connsiteX48" fmla="*/ 273139 w 380714"/>
                <a:gd name="connsiteY48" fmla="*/ 247401 h 425282"/>
                <a:gd name="connsiteX49" fmla="*/ 234191 w 380714"/>
                <a:gd name="connsiteY49" fmla="*/ 286197 h 425282"/>
                <a:gd name="connsiteX50" fmla="*/ 234191 w 380714"/>
                <a:gd name="connsiteY50" fmla="*/ 295106 h 425282"/>
                <a:gd name="connsiteX51" fmla="*/ 272852 w 380714"/>
                <a:gd name="connsiteY51" fmla="*/ 333614 h 425282"/>
                <a:gd name="connsiteX52" fmla="*/ 277434 w 380714"/>
                <a:gd name="connsiteY52" fmla="*/ 335913 h 425282"/>
                <a:gd name="connsiteX53" fmla="*/ 277148 w 380714"/>
                <a:gd name="connsiteY53" fmla="*/ 311486 h 425282"/>
                <a:gd name="connsiteX54" fmla="*/ 284307 w 380714"/>
                <a:gd name="connsiteY54" fmla="*/ 304302 h 425282"/>
                <a:gd name="connsiteX55" fmla="*/ 322110 w 380714"/>
                <a:gd name="connsiteY55" fmla="*/ 304589 h 425282"/>
                <a:gd name="connsiteX56" fmla="*/ 327837 w 380714"/>
                <a:gd name="connsiteY56" fmla="*/ 298842 h 425282"/>
                <a:gd name="connsiteX57" fmla="*/ 327837 w 380714"/>
                <a:gd name="connsiteY57" fmla="*/ 282174 h 425282"/>
                <a:gd name="connsiteX58" fmla="*/ 321537 w 380714"/>
                <a:gd name="connsiteY58" fmla="*/ 275852 h 425282"/>
                <a:gd name="connsiteX59" fmla="*/ 300345 w 380714"/>
                <a:gd name="connsiteY59" fmla="*/ 275852 h 425282"/>
                <a:gd name="connsiteX60" fmla="*/ 278866 w 380714"/>
                <a:gd name="connsiteY60" fmla="*/ 274127 h 425282"/>
                <a:gd name="connsiteX61" fmla="*/ 277434 w 380714"/>
                <a:gd name="connsiteY61" fmla="*/ 253149 h 425282"/>
                <a:gd name="connsiteX62" fmla="*/ 276289 w 380714"/>
                <a:gd name="connsiteY62" fmla="*/ 244528 h 425282"/>
                <a:gd name="connsiteX63" fmla="*/ 101746 w 380714"/>
                <a:gd name="connsiteY63" fmla="*/ 244528 h 425282"/>
                <a:gd name="connsiteX64" fmla="*/ 100025 w 380714"/>
                <a:gd name="connsiteY64" fmla="*/ 245102 h 425282"/>
                <a:gd name="connsiteX65" fmla="*/ 100025 w 380714"/>
                <a:gd name="connsiteY65" fmla="*/ 269228 h 425282"/>
                <a:gd name="connsiteX66" fmla="*/ 93143 w 380714"/>
                <a:gd name="connsiteY66" fmla="*/ 276121 h 425282"/>
                <a:gd name="connsiteX67" fmla="*/ 55287 w 380714"/>
                <a:gd name="connsiteY67" fmla="*/ 275834 h 425282"/>
                <a:gd name="connsiteX68" fmla="*/ 49265 w 380714"/>
                <a:gd name="connsiteY68" fmla="*/ 281865 h 425282"/>
                <a:gd name="connsiteX69" fmla="*/ 49265 w 380714"/>
                <a:gd name="connsiteY69" fmla="*/ 297374 h 425282"/>
                <a:gd name="connsiteX70" fmla="*/ 56148 w 380714"/>
                <a:gd name="connsiteY70" fmla="*/ 304267 h 425282"/>
                <a:gd name="connsiteX71" fmla="*/ 93429 w 380714"/>
                <a:gd name="connsiteY71" fmla="*/ 303980 h 425282"/>
                <a:gd name="connsiteX72" fmla="*/ 100025 w 380714"/>
                <a:gd name="connsiteY72" fmla="*/ 310873 h 425282"/>
                <a:gd name="connsiteX73" fmla="*/ 100025 w 380714"/>
                <a:gd name="connsiteY73" fmla="*/ 317192 h 425282"/>
                <a:gd name="connsiteX74" fmla="*/ 100025 w 380714"/>
                <a:gd name="connsiteY74" fmla="*/ 334999 h 425282"/>
                <a:gd name="connsiteX75" fmla="*/ 101459 w 380714"/>
                <a:gd name="connsiteY75" fmla="*/ 335573 h 425282"/>
                <a:gd name="connsiteX76" fmla="*/ 144190 w 380714"/>
                <a:gd name="connsiteY76" fmla="*/ 292492 h 425282"/>
                <a:gd name="connsiteX77" fmla="*/ 143616 w 380714"/>
                <a:gd name="connsiteY77" fmla="*/ 286748 h 425282"/>
                <a:gd name="connsiteX78" fmla="*/ 124975 w 380714"/>
                <a:gd name="connsiteY78" fmla="*/ 268079 h 425282"/>
                <a:gd name="connsiteX79" fmla="*/ 101746 w 380714"/>
                <a:gd name="connsiteY79" fmla="*/ 244528 h 425282"/>
                <a:gd name="connsiteX80" fmla="*/ 178586 w 380714"/>
                <a:gd name="connsiteY80" fmla="*/ 316042 h 425282"/>
                <a:gd name="connsiteX81" fmla="*/ 173430 w 380714"/>
                <a:gd name="connsiteY81" fmla="*/ 321501 h 425282"/>
                <a:gd name="connsiteX82" fmla="*/ 173430 w 380714"/>
                <a:gd name="connsiteY82" fmla="*/ 328397 h 425282"/>
                <a:gd name="connsiteX83" fmla="*/ 171711 w 380714"/>
                <a:gd name="connsiteY83" fmla="*/ 349946 h 425282"/>
                <a:gd name="connsiteX84" fmla="*/ 150514 w 380714"/>
                <a:gd name="connsiteY84" fmla="*/ 351383 h 425282"/>
                <a:gd name="connsiteX85" fmla="*/ 140775 w 380714"/>
                <a:gd name="connsiteY85" fmla="*/ 352532 h 425282"/>
                <a:gd name="connsiteX86" fmla="*/ 186607 w 380714"/>
                <a:gd name="connsiteY86" fmla="*/ 398505 h 425282"/>
                <a:gd name="connsiteX87" fmla="*/ 192336 w 380714"/>
                <a:gd name="connsiteY87" fmla="*/ 397068 h 425282"/>
                <a:gd name="connsiteX88" fmla="*/ 233298 w 380714"/>
                <a:gd name="connsiteY88" fmla="*/ 355980 h 425282"/>
                <a:gd name="connsiteX89" fmla="*/ 235590 w 380714"/>
                <a:gd name="connsiteY89" fmla="*/ 351383 h 425282"/>
                <a:gd name="connsiteX90" fmla="*/ 211242 w 380714"/>
                <a:gd name="connsiteY90" fmla="*/ 351383 h 425282"/>
                <a:gd name="connsiteX91" fmla="*/ 202935 w 380714"/>
                <a:gd name="connsiteY91" fmla="*/ 343338 h 425282"/>
                <a:gd name="connsiteX92" fmla="*/ 202935 w 380714"/>
                <a:gd name="connsiteY92" fmla="*/ 321501 h 425282"/>
                <a:gd name="connsiteX93" fmla="*/ 197492 w 380714"/>
                <a:gd name="connsiteY93" fmla="*/ 316042 h 425282"/>
                <a:gd name="connsiteX94" fmla="*/ 178586 w 380714"/>
                <a:gd name="connsiteY94" fmla="*/ 316042 h 42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80714" h="425282">
                  <a:moveTo>
                    <a:pt x="190127" y="3"/>
                  </a:moveTo>
                  <a:cubicBezTo>
                    <a:pt x="220371" y="-188"/>
                    <a:pt x="249678" y="8210"/>
                    <a:pt x="277978" y="24916"/>
                  </a:cubicBezTo>
                  <a:cubicBezTo>
                    <a:pt x="298898" y="37275"/>
                    <a:pt x="312653" y="56531"/>
                    <a:pt x="322970" y="78662"/>
                  </a:cubicBezTo>
                  <a:cubicBezTo>
                    <a:pt x="333286" y="100505"/>
                    <a:pt x="335579" y="124073"/>
                    <a:pt x="335866" y="147928"/>
                  </a:cubicBezTo>
                  <a:cubicBezTo>
                    <a:pt x="335866" y="155113"/>
                    <a:pt x="334719" y="156550"/>
                    <a:pt x="343890" y="157700"/>
                  </a:cubicBezTo>
                  <a:cubicBezTo>
                    <a:pt x="367389" y="159999"/>
                    <a:pt x="380285" y="174657"/>
                    <a:pt x="380285" y="200237"/>
                  </a:cubicBezTo>
                  <a:cubicBezTo>
                    <a:pt x="380858" y="260880"/>
                    <a:pt x="380858" y="321237"/>
                    <a:pt x="380285" y="381880"/>
                  </a:cubicBezTo>
                  <a:cubicBezTo>
                    <a:pt x="380285" y="397113"/>
                    <a:pt x="375413" y="411196"/>
                    <a:pt x="361657" y="419818"/>
                  </a:cubicBezTo>
                  <a:cubicBezTo>
                    <a:pt x="354779" y="424130"/>
                    <a:pt x="347042" y="425279"/>
                    <a:pt x="339018" y="425279"/>
                  </a:cubicBezTo>
                  <a:cubicBezTo>
                    <a:pt x="289440" y="425279"/>
                    <a:pt x="240150" y="425279"/>
                    <a:pt x="190572" y="425279"/>
                  </a:cubicBezTo>
                  <a:cubicBezTo>
                    <a:pt x="141568" y="425279"/>
                    <a:pt x="92850" y="424705"/>
                    <a:pt x="43846" y="425279"/>
                  </a:cubicBezTo>
                  <a:cubicBezTo>
                    <a:pt x="17768" y="425567"/>
                    <a:pt x="3726" y="407747"/>
                    <a:pt x="860" y="386479"/>
                  </a:cubicBezTo>
                  <a:cubicBezTo>
                    <a:pt x="287" y="380731"/>
                    <a:pt x="0" y="374695"/>
                    <a:pt x="0" y="368659"/>
                  </a:cubicBezTo>
                  <a:cubicBezTo>
                    <a:pt x="0" y="314913"/>
                    <a:pt x="0" y="261168"/>
                    <a:pt x="0" y="207422"/>
                  </a:cubicBezTo>
                  <a:cubicBezTo>
                    <a:pt x="0" y="199374"/>
                    <a:pt x="573" y="191039"/>
                    <a:pt x="3152" y="183567"/>
                  </a:cubicBezTo>
                  <a:cubicBezTo>
                    <a:pt x="8597" y="166897"/>
                    <a:pt x="21207" y="158849"/>
                    <a:pt x="38114" y="157412"/>
                  </a:cubicBezTo>
                  <a:cubicBezTo>
                    <a:pt x="43846" y="156838"/>
                    <a:pt x="44992" y="154826"/>
                    <a:pt x="44992" y="149652"/>
                  </a:cubicBezTo>
                  <a:cubicBezTo>
                    <a:pt x="44992" y="126085"/>
                    <a:pt x="47571" y="102804"/>
                    <a:pt x="57315" y="80674"/>
                  </a:cubicBezTo>
                  <a:cubicBezTo>
                    <a:pt x="72790" y="45322"/>
                    <a:pt x="98295" y="22042"/>
                    <a:pt x="134690" y="9683"/>
                  </a:cubicBezTo>
                  <a:cubicBezTo>
                    <a:pt x="153497" y="3324"/>
                    <a:pt x="171981" y="118"/>
                    <a:pt x="190127" y="3"/>
                  </a:cubicBezTo>
                  <a:close/>
                  <a:moveTo>
                    <a:pt x="191890" y="61682"/>
                  </a:moveTo>
                  <a:cubicBezTo>
                    <a:pt x="177389" y="61646"/>
                    <a:pt x="162780" y="65382"/>
                    <a:pt x="148171" y="72423"/>
                  </a:cubicBezTo>
                  <a:cubicBezTo>
                    <a:pt x="141583" y="75584"/>
                    <a:pt x="135567" y="79895"/>
                    <a:pt x="130984" y="86217"/>
                  </a:cubicBezTo>
                  <a:cubicBezTo>
                    <a:pt x="117521" y="104897"/>
                    <a:pt x="113798" y="126450"/>
                    <a:pt x="112365" y="149153"/>
                  </a:cubicBezTo>
                  <a:cubicBezTo>
                    <a:pt x="112079" y="154613"/>
                    <a:pt x="114370" y="156337"/>
                    <a:pt x="119813" y="156050"/>
                  </a:cubicBezTo>
                  <a:cubicBezTo>
                    <a:pt x="143301" y="156050"/>
                    <a:pt x="167077" y="156050"/>
                    <a:pt x="190565" y="156050"/>
                  </a:cubicBezTo>
                  <a:cubicBezTo>
                    <a:pt x="214054" y="156050"/>
                    <a:pt x="237542" y="155762"/>
                    <a:pt x="261031" y="156050"/>
                  </a:cubicBezTo>
                  <a:cubicBezTo>
                    <a:pt x="266760" y="156337"/>
                    <a:pt x="268478" y="154326"/>
                    <a:pt x="268192" y="148865"/>
                  </a:cubicBezTo>
                  <a:cubicBezTo>
                    <a:pt x="267619" y="140531"/>
                    <a:pt x="268478" y="131910"/>
                    <a:pt x="266760" y="123576"/>
                  </a:cubicBezTo>
                  <a:cubicBezTo>
                    <a:pt x="262463" y="102885"/>
                    <a:pt x="254156" y="84493"/>
                    <a:pt x="234964" y="73573"/>
                  </a:cubicBezTo>
                  <a:cubicBezTo>
                    <a:pt x="220785" y="65526"/>
                    <a:pt x="206391" y="61718"/>
                    <a:pt x="191890" y="61682"/>
                  </a:cubicBezTo>
                  <a:close/>
                  <a:moveTo>
                    <a:pt x="188106" y="182798"/>
                  </a:moveTo>
                  <a:cubicBezTo>
                    <a:pt x="187067" y="183013"/>
                    <a:pt x="186136" y="183874"/>
                    <a:pt x="185132" y="185023"/>
                  </a:cubicBezTo>
                  <a:cubicBezTo>
                    <a:pt x="171662" y="198229"/>
                    <a:pt x="158478" y="211723"/>
                    <a:pt x="145007" y="225217"/>
                  </a:cubicBezTo>
                  <a:cubicBezTo>
                    <a:pt x="143860" y="226078"/>
                    <a:pt x="142427" y="226939"/>
                    <a:pt x="142714" y="229811"/>
                  </a:cubicBezTo>
                  <a:cubicBezTo>
                    <a:pt x="150739" y="229811"/>
                    <a:pt x="158764" y="229811"/>
                    <a:pt x="167076" y="229811"/>
                  </a:cubicBezTo>
                  <a:cubicBezTo>
                    <a:pt x="171662" y="229523"/>
                    <a:pt x="173668" y="231246"/>
                    <a:pt x="173381" y="235840"/>
                  </a:cubicBezTo>
                  <a:cubicBezTo>
                    <a:pt x="173095" y="243879"/>
                    <a:pt x="173381" y="251630"/>
                    <a:pt x="173381" y="259382"/>
                  </a:cubicBezTo>
                  <a:cubicBezTo>
                    <a:pt x="173095" y="263689"/>
                    <a:pt x="174528" y="265411"/>
                    <a:pt x="178827" y="265411"/>
                  </a:cubicBezTo>
                  <a:cubicBezTo>
                    <a:pt x="185132" y="265124"/>
                    <a:pt x="191151" y="265124"/>
                    <a:pt x="197170" y="265411"/>
                  </a:cubicBezTo>
                  <a:cubicBezTo>
                    <a:pt x="201469" y="265411"/>
                    <a:pt x="202902" y="263401"/>
                    <a:pt x="202902" y="259382"/>
                  </a:cubicBezTo>
                  <a:cubicBezTo>
                    <a:pt x="202616" y="252492"/>
                    <a:pt x="202902" y="245601"/>
                    <a:pt x="202902" y="238711"/>
                  </a:cubicBezTo>
                  <a:cubicBezTo>
                    <a:pt x="202902" y="229811"/>
                    <a:pt x="202902" y="229811"/>
                    <a:pt x="212074" y="229811"/>
                  </a:cubicBezTo>
                  <a:cubicBezTo>
                    <a:pt x="219526" y="229811"/>
                    <a:pt x="226978" y="229811"/>
                    <a:pt x="235576" y="229811"/>
                  </a:cubicBezTo>
                  <a:cubicBezTo>
                    <a:pt x="234429" y="227801"/>
                    <a:pt x="234143" y="227227"/>
                    <a:pt x="233570" y="226652"/>
                  </a:cubicBezTo>
                  <a:cubicBezTo>
                    <a:pt x="219812" y="212584"/>
                    <a:pt x="205482" y="198516"/>
                    <a:pt x="191724" y="184448"/>
                  </a:cubicBezTo>
                  <a:cubicBezTo>
                    <a:pt x="190291" y="183013"/>
                    <a:pt x="189145" y="182582"/>
                    <a:pt x="188106" y="182798"/>
                  </a:cubicBezTo>
                  <a:close/>
                  <a:moveTo>
                    <a:pt x="276289" y="244528"/>
                  </a:moveTo>
                  <a:cubicBezTo>
                    <a:pt x="274857" y="245677"/>
                    <a:pt x="273998" y="246539"/>
                    <a:pt x="273139" y="247401"/>
                  </a:cubicBezTo>
                  <a:cubicBezTo>
                    <a:pt x="259965" y="260333"/>
                    <a:pt x="247078" y="273553"/>
                    <a:pt x="234191" y="286197"/>
                  </a:cubicBezTo>
                  <a:cubicBezTo>
                    <a:pt x="230468" y="289646"/>
                    <a:pt x="231041" y="291945"/>
                    <a:pt x="234191" y="295106"/>
                  </a:cubicBezTo>
                  <a:cubicBezTo>
                    <a:pt x="247078" y="307750"/>
                    <a:pt x="259965" y="320682"/>
                    <a:pt x="272852" y="333614"/>
                  </a:cubicBezTo>
                  <a:cubicBezTo>
                    <a:pt x="273998" y="334763"/>
                    <a:pt x="274570" y="336775"/>
                    <a:pt x="277434" y="335913"/>
                  </a:cubicBezTo>
                  <a:cubicBezTo>
                    <a:pt x="277434" y="327866"/>
                    <a:pt x="277721" y="319533"/>
                    <a:pt x="277148" y="311486"/>
                  </a:cubicBezTo>
                  <a:cubicBezTo>
                    <a:pt x="277148" y="306026"/>
                    <a:pt x="279153" y="304302"/>
                    <a:pt x="284307" y="304302"/>
                  </a:cubicBezTo>
                  <a:cubicBezTo>
                    <a:pt x="296908" y="304589"/>
                    <a:pt x="309509" y="304302"/>
                    <a:pt x="322110" y="304589"/>
                  </a:cubicBezTo>
                  <a:cubicBezTo>
                    <a:pt x="326119" y="304589"/>
                    <a:pt x="328124" y="303152"/>
                    <a:pt x="327837" y="298842"/>
                  </a:cubicBezTo>
                  <a:cubicBezTo>
                    <a:pt x="327837" y="293381"/>
                    <a:pt x="327551" y="287634"/>
                    <a:pt x="327837" y="282174"/>
                  </a:cubicBezTo>
                  <a:cubicBezTo>
                    <a:pt x="328124" y="277288"/>
                    <a:pt x="326119" y="275852"/>
                    <a:pt x="321537" y="275852"/>
                  </a:cubicBezTo>
                  <a:cubicBezTo>
                    <a:pt x="314377" y="276139"/>
                    <a:pt x="307504" y="276139"/>
                    <a:pt x="300345" y="275852"/>
                  </a:cubicBezTo>
                  <a:cubicBezTo>
                    <a:pt x="293185" y="275564"/>
                    <a:pt x="283735" y="279300"/>
                    <a:pt x="278866" y="274127"/>
                  </a:cubicBezTo>
                  <a:cubicBezTo>
                    <a:pt x="274284" y="269529"/>
                    <a:pt x="278007" y="260333"/>
                    <a:pt x="277434" y="253149"/>
                  </a:cubicBezTo>
                  <a:cubicBezTo>
                    <a:pt x="277148" y="250563"/>
                    <a:pt x="278007" y="247689"/>
                    <a:pt x="276289" y="244528"/>
                  </a:cubicBezTo>
                  <a:close/>
                  <a:moveTo>
                    <a:pt x="101746" y="244528"/>
                  </a:moveTo>
                  <a:cubicBezTo>
                    <a:pt x="101172" y="244815"/>
                    <a:pt x="100599" y="245102"/>
                    <a:pt x="100025" y="245102"/>
                  </a:cubicBezTo>
                  <a:cubicBezTo>
                    <a:pt x="100025" y="253144"/>
                    <a:pt x="99738" y="261186"/>
                    <a:pt x="100025" y="269228"/>
                  </a:cubicBezTo>
                  <a:cubicBezTo>
                    <a:pt x="100312" y="274397"/>
                    <a:pt x="98305" y="276121"/>
                    <a:pt x="93143" y="276121"/>
                  </a:cubicBezTo>
                  <a:cubicBezTo>
                    <a:pt x="80524" y="275834"/>
                    <a:pt x="67906" y="276121"/>
                    <a:pt x="55287" y="275834"/>
                  </a:cubicBezTo>
                  <a:cubicBezTo>
                    <a:pt x="50699" y="275834"/>
                    <a:pt x="48978" y="277557"/>
                    <a:pt x="49265" y="281865"/>
                  </a:cubicBezTo>
                  <a:cubicBezTo>
                    <a:pt x="49552" y="287035"/>
                    <a:pt x="49552" y="292204"/>
                    <a:pt x="49265" y="297374"/>
                  </a:cubicBezTo>
                  <a:cubicBezTo>
                    <a:pt x="48978" y="302831"/>
                    <a:pt x="50986" y="304267"/>
                    <a:pt x="56148" y="304267"/>
                  </a:cubicBezTo>
                  <a:cubicBezTo>
                    <a:pt x="68479" y="303980"/>
                    <a:pt x="81098" y="304267"/>
                    <a:pt x="93429" y="303980"/>
                  </a:cubicBezTo>
                  <a:cubicBezTo>
                    <a:pt x="98305" y="303980"/>
                    <a:pt x="100312" y="305991"/>
                    <a:pt x="100025" y="310873"/>
                  </a:cubicBezTo>
                  <a:cubicBezTo>
                    <a:pt x="99738" y="312884"/>
                    <a:pt x="100025" y="314894"/>
                    <a:pt x="100025" y="317192"/>
                  </a:cubicBezTo>
                  <a:cubicBezTo>
                    <a:pt x="100025" y="323223"/>
                    <a:pt x="100025" y="328967"/>
                    <a:pt x="100025" y="334999"/>
                  </a:cubicBezTo>
                  <a:cubicBezTo>
                    <a:pt x="100312" y="335286"/>
                    <a:pt x="100886" y="335286"/>
                    <a:pt x="101459" y="335573"/>
                  </a:cubicBezTo>
                  <a:cubicBezTo>
                    <a:pt x="115798" y="321213"/>
                    <a:pt x="129851" y="306852"/>
                    <a:pt x="144190" y="292492"/>
                  </a:cubicBezTo>
                  <a:cubicBezTo>
                    <a:pt x="146484" y="289907"/>
                    <a:pt x="145337" y="288471"/>
                    <a:pt x="143616" y="286748"/>
                  </a:cubicBezTo>
                  <a:cubicBezTo>
                    <a:pt x="137307" y="280429"/>
                    <a:pt x="130998" y="274397"/>
                    <a:pt x="124975" y="268079"/>
                  </a:cubicBezTo>
                  <a:cubicBezTo>
                    <a:pt x="117232" y="260324"/>
                    <a:pt x="109489" y="252282"/>
                    <a:pt x="101746" y="244528"/>
                  </a:cubicBezTo>
                  <a:close/>
                  <a:moveTo>
                    <a:pt x="178586" y="316042"/>
                  </a:moveTo>
                  <a:cubicBezTo>
                    <a:pt x="174576" y="316042"/>
                    <a:pt x="173144" y="317766"/>
                    <a:pt x="173430" y="321501"/>
                  </a:cubicBezTo>
                  <a:cubicBezTo>
                    <a:pt x="173430" y="323800"/>
                    <a:pt x="173430" y="326098"/>
                    <a:pt x="173430" y="328397"/>
                  </a:cubicBezTo>
                  <a:cubicBezTo>
                    <a:pt x="172857" y="335867"/>
                    <a:pt x="176581" y="345062"/>
                    <a:pt x="171711" y="349946"/>
                  </a:cubicBezTo>
                  <a:cubicBezTo>
                    <a:pt x="166842" y="354544"/>
                    <a:pt x="157675" y="350808"/>
                    <a:pt x="150514" y="351383"/>
                  </a:cubicBezTo>
                  <a:cubicBezTo>
                    <a:pt x="147650" y="351670"/>
                    <a:pt x="144499" y="350808"/>
                    <a:pt x="140775" y="352532"/>
                  </a:cubicBezTo>
                  <a:cubicBezTo>
                    <a:pt x="156243" y="368335"/>
                    <a:pt x="171425" y="383276"/>
                    <a:pt x="186607" y="398505"/>
                  </a:cubicBezTo>
                  <a:cubicBezTo>
                    <a:pt x="189471" y="401378"/>
                    <a:pt x="190904" y="398505"/>
                    <a:pt x="192336" y="397068"/>
                  </a:cubicBezTo>
                  <a:cubicBezTo>
                    <a:pt x="206086" y="383276"/>
                    <a:pt x="219835" y="369772"/>
                    <a:pt x="233298" y="355980"/>
                  </a:cubicBezTo>
                  <a:cubicBezTo>
                    <a:pt x="234158" y="354831"/>
                    <a:pt x="235877" y="354256"/>
                    <a:pt x="235590" y="351383"/>
                  </a:cubicBezTo>
                  <a:cubicBezTo>
                    <a:pt x="227569" y="351383"/>
                    <a:pt x="219262" y="351383"/>
                    <a:pt x="211242" y="351383"/>
                  </a:cubicBezTo>
                  <a:cubicBezTo>
                    <a:pt x="202935" y="351383"/>
                    <a:pt x="202935" y="351383"/>
                    <a:pt x="202935" y="343338"/>
                  </a:cubicBezTo>
                  <a:cubicBezTo>
                    <a:pt x="202935" y="336155"/>
                    <a:pt x="202648" y="328684"/>
                    <a:pt x="202935" y="321501"/>
                  </a:cubicBezTo>
                  <a:cubicBezTo>
                    <a:pt x="202935" y="317766"/>
                    <a:pt x="201502" y="316042"/>
                    <a:pt x="197492" y="316042"/>
                  </a:cubicBezTo>
                  <a:cubicBezTo>
                    <a:pt x="191190" y="316329"/>
                    <a:pt x="184888" y="316329"/>
                    <a:pt x="178586" y="316042"/>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48" name="Group 147">
            <a:extLst>
              <a:ext uri="{FF2B5EF4-FFF2-40B4-BE49-F238E27FC236}">
                <a16:creationId xmlns:a16="http://schemas.microsoft.com/office/drawing/2014/main" id="{44A13359-A423-4F66-8487-39C163BC6FBC}"/>
              </a:ext>
            </a:extLst>
          </p:cNvPr>
          <p:cNvGrpSpPr/>
          <p:nvPr/>
        </p:nvGrpSpPr>
        <p:grpSpPr>
          <a:xfrm>
            <a:off x="6285080" y="1193019"/>
            <a:ext cx="935510" cy="935510"/>
            <a:chOff x="6361280" y="1193019"/>
            <a:chExt cx="935510" cy="935510"/>
          </a:xfrm>
        </p:grpSpPr>
        <p:grpSp>
          <p:nvGrpSpPr>
            <p:cNvPr id="77" name="Group 76">
              <a:extLst>
                <a:ext uri="{FF2B5EF4-FFF2-40B4-BE49-F238E27FC236}">
                  <a16:creationId xmlns:a16="http://schemas.microsoft.com/office/drawing/2014/main" id="{0CA4B1C0-E551-416C-8E74-EAAAFAA856E8}"/>
                </a:ext>
              </a:extLst>
            </p:cNvPr>
            <p:cNvGrpSpPr/>
            <p:nvPr/>
          </p:nvGrpSpPr>
          <p:grpSpPr>
            <a:xfrm>
              <a:off x="6361280" y="1193019"/>
              <a:ext cx="935510" cy="935510"/>
              <a:chOff x="343218" y="1193019"/>
              <a:chExt cx="935510" cy="935510"/>
            </a:xfrm>
          </p:grpSpPr>
          <p:sp>
            <p:nvSpPr>
              <p:cNvPr id="95" name="Oval 94">
                <a:extLst>
                  <a:ext uri="{FF2B5EF4-FFF2-40B4-BE49-F238E27FC236}">
                    <a16:creationId xmlns:a16="http://schemas.microsoft.com/office/drawing/2014/main" id="{5DA4443B-CF1B-40B1-9881-A7E5359E5F88}"/>
                  </a:ext>
                </a:extLst>
              </p:cNvPr>
              <p:cNvSpPr/>
              <p:nvPr/>
            </p:nvSpPr>
            <p:spPr bwMode="auto">
              <a:xfrm>
                <a:off x="420790" y="1270593"/>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96" name="Arc 95">
                <a:extLst>
                  <a:ext uri="{FF2B5EF4-FFF2-40B4-BE49-F238E27FC236}">
                    <a16:creationId xmlns:a16="http://schemas.microsoft.com/office/drawing/2014/main" id="{B6F918A9-7070-4878-9893-835D390D64D4}"/>
                  </a:ext>
                </a:extLst>
              </p:cNvPr>
              <p:cNvSpPr/>
              <p:nvPr/>
            </p:nvSpPr>
            <p:spPr>
              <a:xfrm>
                <a:off x="343218" y="1193019"/>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sp>
          <p:nvSpPr>
            <p:cNvPr id="126" name="Freeform 128">
              <a:extLst>
                <a:ext uri="{FF2B5EF4-FFF2-40B4-BE49-F238E27FC236}">
                  <a16:creationId xmlns:a16="http://schemas.microsoft.com/office/drawing/2014/main" id="{4A6B1992-C268-49C5-95E2-E2B45D95439D}"/>
                </a:ext>
              </a:extLst>
            </p:cNvPr>
            <p:cNvSpPr>
              <a:spLocks/>
            </p:cNvSpPr>
            <p:nvPr/>
          </p:nvSpPr>
          <p:spPr bwMode="auto">
            <a:xfrm>
              <a:off x="6600211" y="1432307"/>
              <a:ext cx="457648" cy="456934"/>
            </a:xfrm>
            <a:custGeom>
              <a:avLst/>
              <a:gdLst>
                <a:gd name="connsiteX0" fmla="*/ 742906 w 2566399"/>
                <a:gd name="connsiteY0" fmla="*/ 2053044 h 2562408"/>
                <a:gd name="connsiteX1" fmla="*/ 725889 w 2566399"/>
                <a:gd name="connsiteY1" fmla="*/ 2053673 h 2562408"/>
                <a:gd name="connsiteX2" fmla="*/ 524207 w 2566399"/>
                <a:gd name="connsiteY2" fmla="*/ 2121613 h 2562408"/>
                <a:gd name="connsiteX3" fmla="*/ 903620 w 2566399"/>
                <a:gd name="connsiteY3" fmla="*/ 2353111 h 2562408"/>
                <a:gd name="connsiteX4" fmla="*/ 756141 w 2566399"/>
                <a:gd name="connsiteY4" fmla="*/ 2067512 h 2562408"/>
                <a:gd name="connsiteX5" fmla="*/ 742906 w 2566399"/>
                <a:gd name="connsiteY5" fmla="*/ 2053044 h 2562408"/>
                <a:gd name="connsiteX6" fmla="*/ 1816858 w 2566399"/>
                <a:gd name="connsiteY6" fmla="*/ 2044467 h 2562408"/>
                <a:gd name="connsiteX7" fmla="*/ 1804098 w 2566399"/>
                <a:gd name="connsiteY7" fmla="*/ 2060529 h 2562408"/>
                <a:gd name="connsiteX8" fmla="*/ 1675555 w 2566399"/>
                <a:gd name="connsiteY8" fmla="*/ 2311212 h 2562408"/>
                <a:gd name="connsiteX9" fmla="*/ 1646569 w 2566399"/>
                <a:gd name="connsiteY9" fmla="*/ 2351523 h 2562408"/>
                <a:gd name="connsiteX10" fmla="*/ 2056144 w 2566399"/>
                <a:gd name="connsiteY10" fmla="*/ 2120995 h 2562408"/>
                <a:gd name="connsiteX11" fmla="*/ 2005735 w 2566399"/>
                <a:gd name="connsiteY11" fmla="*/ 2095801 h 2562408"/>
                <a:gd name="connsiteX12" fmla="*/ 1838124 w 2566399"/>
                <a:gd name="connsiteY12" fmla="*/ 2045412 h 2562408"/>
                <a:gd name="connsiteX13" fmla="*/ 1816858 w 2566399"/>
                <a:gd name="connsiteY13" fmla="*/ 2044467 h 2562408"/>
                <a:gd name="connsiteX14" fmla="*/ 1305791 w 2566399"/>
                <a:gd name="connsiteY14" fmla="*/ 1986398 h 2562408"/>
                <a:gd name="connsiteX15" fmla="*/ 919895 w 2566399"/>
                <a:gd name="connsiteY15" fmla="*/ 2012912 h 2562408"/>
                <a:gd name="connsiteX16" fmla="*/ 904811 w 2566399"/>
                <a:gd name="connsiteY16" fmla="*/ 2031851 h 2562408"/>
                <a:gd name="connsiteX17" fmla="*/ 1092102 w 2566399"/>
                <a:gd name="connsiteY17" fmla="*/ 2327293 h 2562408"/>
                <a:gd name="connsiteX18" fmla="*/ 1280651 w 2566399"/>
                <a:gd name="connsiteY18" fmla="*/ 2416936 h 2562408"/>
                <a:gd name="connsiteX19" fmla="*/ 1436517 w 2566399"/>
                <a:gd name="connsiteY19" fmla="*/ 2356332 h 2562408"/>
                <a:gd name="connsiteX20" fmla="*/ 1656490 w 2566399"/>
                <a:gd name="connsiteY20" fmla="*/ 2030588 h 2562408"/>
                <a:gd name="connsiteX21" fmla="*/ 1642663 w 2566399"/>
                <a:gd name="connsiteY21" fmla="*/ 2012912 h 2562408"/>
                <a:gd name="connsiteX22" fmla="*/ 1305791 w 2566399"/>
                <a:gd name="connsiteY22" fmla="*/ 1986398 h 2562408"/>
                <a:gd name="connsiteX23" fmla="*/ 570977 w 2566399"/>
                <a:gd name="connsiteY23" fmla="*/ 1057387 h 2562408"/>
                <a:gd name="connsiteX24" fmla="*/ 550864 w 2566399"/>
                <a:gd name="connsiteY24" fmla="*/ 1078858 h 2562408"/>
                <a:gd name="connsiteX25" fmla="*/ 550864 w 2566399"/>
                <a:gd name="connsiteY25" fmla="*/ 1280935 h 2562408"/>
                <a:gd name="connsiteX26" fmla="*/ 550864 w 2566399"/>
                <a:gd name="connsiteY26" fmla="*/ 1488065 h 2562408"/>
                <a:gd name="connsiteX27" fmla="*/ 573492 w 2566399"/>
                <a:gd name="connsiteY27" fmla="*/ 1510798 h 2562408"/>
                <a:gd name="connsiteX28" fmla="*/ 660230 w 2566399"/>
                <a:gd name="connsiteY28" fmla="*/ 1508272 h 2562408"/>
                <a:gd name="connsiteX29" fmla="*/ 816107 w 2566399"/>
                <a:gd name="connsiteY29" fmla="*/ 1366818 h 2562408"/>
                <a:gd name="connsiteX30" fmla="*/ 811078 w 2566399"/>
                <a:gd name="connsiteY30" fmla="*/ 1190000 h 2562408"/>
                <a:gd name="connsiteX31" fmla="*/ 669029 w 2566399"/>
                <a:gd name="connsiteY31" fmla="*/ 1061176 h 2562408"/>
                <a:gd name="connsiteX32" fmla="*/ 570977 w 2566399"/>
                <a:gd name="connsiteY32" fmla="*/ 1057387 h 2562408"/>
                <a:gd name="connsiteX33" fmla="*/ 1992398 w 2566399"/>
                <a:gd name="connsiteY33" fmla="*/ 960504 h 2562408"/>
                <a:gd name="connsiteX34" fmla="*/ 2070924 w 2566399"/>
                <a:gd name="connsiteY34" fmla="*/ 985731 h 2562408"/>
                <a:gd name="connsiteX35" fmla="*/ 2119925 w 2566399"/>
                <a:gd name="connsiteY35" fmla="*/ 1066457 h 2562408"/>
                <a:gd name="connsiteX36" fmla="*/ 2062129 w 2566399"/>
                <a:gd name="connsiteY36" fmla="*/ 1100513 h 2562408"/>
                <a:gd name="connsiteX37" fmla="*/ 1960360 w 2566399"/>
                <a:gd name="connsiteY37" fmla="*/ 1074025 h 2562408"/>
                <a:gd name="connsiteX38" fmla="*/ 1906334 w 2566399"/>
                <a:gd name="connsiteY38" fmla="*/ 1097990 h 2562408"/>
                <a:gd name="connsiteX39" fmla="*/ 1939001 w 2566399"/>
                <a:gd name="connsiteY39" fmla="*/ 1216557 h 2562408"/>
                <a:gd name="connsiteX40" fmla="*/ 2053335 w 2566399"/>
                <a:gd name="connsiteY40" fmla="*/ 1269533 h 2562408"/>
                <a:gd name="connsiteX41" fmla="*/ 2140027 w 2566399"/>
                <a:gd name="connsiteY41" fmla="*/ 1492791 h 2562408"/>
                <a:gd name="connsiteX42" fmla="*/ 2014386 w 2566399"/>
                <a:gd name="connsiteY42" fmla="*/ 1611357 h 2562408"/>
                <a:gd name="connsiteX43" fmla="*/ 1751795 w 2566399"/>
                <a:gd name="connsiteY43" fmla="*/ 1588652 h 2562408"/>
                <a:gd name="connsiteX44" fmla="*/ 1719128 w 2566399"/>
                <a:gd name="connsiteY44" fmla="*/ 1478916 h 2562408"/>
                <a:gd name="connsiteX45" fmla="*/ 1755564 w 2566399"/>
                <a:gd name="connsiteY45" fmla="*/ 1466302 h 2562408"/>
                <a:gd name="connsiteX46" fmla="*/ 1884975 w 2566399"/>
                <a:gd name="connsiteY46" fmla="*/ 1525585 h 2562408"/>
                <a:gd name="connsiteX47" fmla="*/ 1993027 w 2566399"/>
                <a:gd name="connsiteY47" fmla="*/ 1501620 h 2562408"/>
                <a:gd name="connsiteX48" fmla="*/ 2001821 w 2566399"/>
                <a:gd name="connsiteY48" fmla="*/ 1403235 h 2562408"/>
                <a:gd name="connsiteX49" fmla="*/ 1936488 w 2566399"/>
                <a:gd name="connsiteY49" fmla="*/ 1355304 h 2562408"/>
                <a:gd name="connsiteX50" fmla="*/ 1799539 w 2566399"/>
                <a:gd name="connsiteY50" fmla="*/ 1288453 h 2562408"/>
                <a:gd name="connsiteX51" fmla="*/ 1743000 w 2566399"/>
                <a:gd name="connsiteY51" fmla="*/ 1198898 h 2562408"/>
                <a:gd name="connsiteX52" fmla="*/ 1910103 w 2566399"/>
                <a:gd name="connsiteY52" fmla="*/ 961766 h 2562408"/>
                <a:gd name="connsiteX53" fmla="*/ 1992398 w 2566399"/>
                <a:gd name="connsiteY53" fmla="*/ 960504 h 2562408"/>
                <a:gd name="connsiteX54" fmla="*/ 591117 w 2566399"/>
                <a:gd name="connsiteY54" fmla="*/ 951159 h 2562408"/>
                <a:gd name="connsiteX55" fmla="*/ 706810 w 2566399"/>
                <a:gd name="connsiteY55" fmla="*/ 957938 h 2562408"/>
                <a:gd name="connsiteX56" fmla="*/ 945742 w 2566399"/>
                <a:gd name="connsiteY56" fmla="*/ 1137026 h 2562408"/>
                <a:gd name="connsiteX57" fmla="*/ 958317 w 2566399"/>
                <a:gd name="connsiteY57" fmla="*/ 1323680 h 2562408"/>
                <a:gd name="connsiteX58" fmla="*/ 914304 w 2566399"/>
                <a:gd name="connsiteY58" fmla="*/ 1472500 h 2562408"/>
                <a:gd name="connsiteX59" fmla="*/ 725673 w 2566399"/>
                <a:gd name="connsiteY59" fmla="*/ 1607446 h 2562408"/>
                <a:gd name="connsiteX60" fmla="*/ 455303 w 2566399"/>
                <a:gd name="connsiteY60" fmla="*/ 1618797 h 2562408"/>
                <a:gd name="connsiteX61" fmla="*/ 422607 w 2566399"/>
                <a:gd name="connsiteY61" fmla="*/ 1578439 h 2562408"/>
                <a:gd name="connsiteX62" fmla="*/ 422607 w 2566399"/>
                <a:gd name="connsiteY62" fmla="*/ 1288367 h 2562408"/>
                <a:gd name="connsiteX63" fmla="*/ 422607 w 2566399"/>
                <a:gd name="connsiteY63" fmla="*/ 1005863 h 2562408"/>
                <a:gd name="connsiteX64" fmla="*/ 475424 w 2566399"/>
                <a:gd name="connsiteY64" fmla="*/ 952893 h 2562408"/>
                <a:gd name="connsiteX65" fmla="*/ 591117 w 2566399"/>
                <a:gd name="connsiteY65" fmla="*/ 951159 h 2562408"/>
                <a:gd name="connsiteX66" fmla="*/ 1546773 w 2566399"/>
                <a:gd name="connsiteY66" fmla="*/ 947848 h 2562408"/>
                <a:gd name="connsiteX67" fmla="*/ 1602140 w 2566399"/>
                <a:gd name="connsiteY67" fmla="*/ 947848 h 2562408"/>
                <a:gd name="connsiteX68" fmla="*/ 1636115 w 2566399"/>
                <a:gd name="connsiteY68" fmla="*/ 980669 h 2562408"/>
                <a:gd name="connsiteX69" fmla="*/ 1634857 w 2566399"/>
                <a:gd name="connsiteY69" fmla="*/ 1541136 h 2562408"/>
                <a:gd name="connsiteX70" fmla="*/ 1631082 w 2566399"/>
                <a:gd name="connsiteY70" fmla="*/ 1561333 h 2562408"/>
                <a:gd name="connsiteX71" fmla="*/ 1558098 w 2566399"/>
                <a:gd name="connsiteY71" fmla="*/ 1620662 h 2562408"/>
                <a:gd name="connsiteX72" fmla="*/ 1492664 w 2566399"/>
                <a:gd name="connsiteY72" fmla="*/ 1620662 h 2562408"/>
                <a:gd name="connsiteX73" fmla="*/ 1420938 w 2566399"/>
                <a:gd name="connsiteY73" fmla="*/ 1563858 h 2562408"/>
                <a:gd name="connsiteX74" fmla="*/ 1320271 w 2566399"/>
                <a:gd name="connsiteY74" fmla="*/ 1375773 h 2562408"/>
                <a:gd name="connsiteX75" fmla="*/ 1227153 w 2566399"/>
                <a:gd name="connsiteY75" fmla="*/ 1200311 h 2562408"/>
                <a:gd name="connsiteX76" fmla="*/ 1201987 w 2566399"/>
                <a:gd name="connsiteY76" fmla="*/ 1142245 h 2562408"/>
                <a:gd name="connsiteX77" fmla="*/ 1190662 w 2566399"/>
                <a:gd name="connsiteY77" fmla="*/ 1135933 h 2562408"/>
                <a:gd name="connsiteX78" fmla="*/ 1188145 w 2566399"/>
                <a:gd name="connsiteY78" fmla="*/ 1147294 h 2562408"/>
                <a:gd name="connsiteX79" fmla="*/ 1193178 w 2566399"/>
                <a:gd name="connsiteY79" fmla="*/ 1287411 h 2562408"/>
                <a:gd name="connsiteX80" fmla="*/ 1194437 w 2566399"/>
                <a:gd name="connsiteY80" fmla="*/ 1575219 h 2562408"/>
                <a:gd name="connsiteX81" fmla="*/ 1155428 w 2566399"/>
                <a:gd name="connsiteY81" fmla="*/ 1614351 h 2562408"/>
                <a:gd name="connsiteX82" fmla="*/ 1083702 w 2566399"/>
                <a:gd name="connsiteY82" fmla="*/ 1614351 h 2562408"/>
                <a:gd name="connsiteX83" fmla="*/ 1056019 w 2566399"/>
                <a:gd name="connsiteY83" fmla="*/ 1586580 h 2562408"/>
                <a:gd name="connsiteX84" fmla="*/ 1056019 w 2566399"/>
                <a:gd name="connsiteY84" fmla="*/ 1003390 h 2562408"/>
                <a:gd name="connsiteX85" fmla="*/ 1103836 w 2566399"/>
                <a:gd name="connsiteY85" fmla="*/ 952897 h 2562408"/>
                <a:gd name="connsiteX86" fmla="*/ 1184370 w 2566399"/>
                <a:gd name="connsiteY86" fmla="*/ 952897 h 2562408"/>
                <a:gd name="connsiteX87" fmla="*/ 1252320 w 2566399"/>
                <a:gd name="connsiteY87" fmla="*/ 994554 h 2562408"/>
                <a:gd name="connsiteX88" fmla="*/ 1405838 w 2566399"/>
                <a:gd name="connsiteY88" fmla="*/ 1272263 h 2562408"/>
                <a:gd name="connsiteX89" fmla="*/ 1491406 w 2566399"/>
                <a:gd name="connsiteY89" fmla="*/ 1422479 h 2562408"/>
                <a:gd name="connsiteX90" fmla="*/ 1495181 w 2566399"/>
                <a:gd name="connsiteY90" fmla="*/ 1421217 h 2562408"/>
                <a:gd name="connsiteX91" fmla="*/ 1495181 w 2566399"/>
                <a:gd name="connsiteY91" fmla="*/ 999603 h 2562408"/>
                <a:gd name="connsiteX92" fmla="*/ 1546773 w 2566399"/>
                <a:gd name="connsiteY92" fmla="*/ 947848 h 2562408"/>
                <a:gd name="connsiteX93" fmla="*/ 2166601 w 2566399"/>
                <a:gd name="connsiteY93" fmla="*/ 561277 h 2562408"/>
                <a:gd name="connsiteX94" fmla="*/ 2153396 w 2566399"/>
                <a:gd name="connsiteY94" fmla="*/ 562697 h 2562408"/>
                <a:gd name="connsiteX95" fmla="*/ 1880493 w 2566399"/>
                <a:gd name="connsiteY95" fmla="*/ 661153 h 2562408"/>
                <a:gd name="connsiteX96" fmla="*/ 1864144 w 2566399"/>
                <a:gd name="connsiteY96" fmla="*/ 688922 h 2562408"/>
                <a:gd name="connsiteX97" fmla="*/ 1890554 w 2566399"/>
                <a:gd name="connsiteY97" fmla="*/ 815147 h 2562408"/>
                <a:gd name="connsiteX98" fmla="*/ 1872948 w 2566399"/>
                <a:gd name="connsiteY98" fmla="*/ 836605 h 2562408"/>
                <a:gd name="connsiteX99" fmla="*/ 1762277 w 2566399"/>
                <a:gd name="connsiteY99" fmla="*/ 836605 h 2562408"/>
                <a:gd name="connsiteX100" fmla="*/ 1740898 w 2566399"/>
                <a:gd name="connsiteY100" fmla="*/ 816409 h 2562408"/>
                <a:gd name="connsiteX101" fmla="*/ 1720776 w 2566399"/>
                <a:gd name="connsiteY101" fmla="*/ 715429 h 2562408"/>
                <a:gd name="connsiteX102" fmla="*/ 1696881 w 2566399"/>
                <a:gd name="connsiteY102" fmla="*/ 699020 h 2562408"/>
                <a:gd name="connsiteX103" fmla="*/ 1486859 w 2566399"/>
                <a:gd name="connsiteY103" fmla="*/ 723003 h 2562408"/>
                <a:gd name="connsiteX104" fmla="*/ 1103285 w 2566399"/>
                <a:gd name="connsiteY104" fmla="*/ 723003 h 2562408"/>
                <a:gd name="connsiteX105" fmla="*/ 881944 w 2566399"/>
                <a:gd name="connsiteY105" fmla="*/ 693971 h 2562408"/>
                <a:gd name="connsiteX106" fmla="*/ 854277 w 2566399"/>
                <a:gd name="connsiteY106" fmla="*/ 714167 h 2562408"/>
                <a:gd name="connsiteX107" fmla="*/ 834155 w 2566399"/>
                <a:gd name="connsiteY107" fmla="*/ 810098 h 2562408"/>
                <a:gd name="connsiteX108" fmla="*/ 806487 w 2566399"/>
                <a:gd name="connsiteY108" fmla="*/ 831556 h 2562408"/>
                <a:gd name="connsiteX109" fmla="*/ 756182 w 2566399"/>
                <a:gd name="connsiteY109" fmla="*/ 831556 h 2562408"/>
                <a:gd name="connsiteX110" fmla="*/ 693302 w 2566399"/>
                <a:gd name="connsiteY110" fmla="*/ 831556 h 2562408"/>
                <a:gd name="connsiteX111" fmla="*/ 680725 w 2566399"/>
                <a:gd name="connsiteY111" fmla="*/ 816409 h 2562408"/>
                <a:gd name="connsiteX112" fmla="*/ 707135 w 2566399"/>
                <a:gd name="connsiteY112" fmla="*/ 687660 h 2562408"/>
                <a:gd name="connsiteX113" fmla="*/ 687013 w 2566399"/>
                <a:gd name="connsiteY113" fmla="*/ 654841 h 2562408"/>
                <a:gd name="connsiteX114" fmla="*/ 431717 w 2566399"/>
                <a:gd name="connsiteY114" fmla="*/ 563959 h 2562408"/>
                <a:gd name="connsiteX115" fmla="*/ 405307 w 2566399"/>
                <a:gd name="connsiteY115" fmla="*/ 571533 h 2562408"/>
                <a:gd name="connsiteX116" fmla="*/ 165102 w 2566399"/>
                <a:gd name="connsiteY116" fmla="*/ 1183724 h 2562408"/>
                <a:gd name="connsiteX117" fmla="*/ 181451 w 2566399"/>
                <a:gd name="connsiteY117" fmla="*/ 1202658 h 2562408"/>
                <a:gd name="connsiteX118" fmla="*/ 271999 w 2566399"/>
                <a:gd name="connsiteY118" fmla="*/ 1202658 h 2562408"/>
                <a:gd name="connsiteX119" fmla="*/ 290864 w 2566399"/>
                <a:gd name="connsiteY119" fmla="*/ 1221591 h 2562408"/>
                <a:gd name="connsiteX120" fmla="*/ 290864 w 2566399"/>
                <a:gd name="connsiteY120" fmla="*/ 1332669 h 2562408"/>
                <a:gd name="connsiteX121" fmla="*/ 269484 w 2566399"/>
                <a:gd name="connsiteY121" fmla="*/ 1352865 h 2562408"/>
                <a:gd name="connsiteX122" fmla="*/ 181451 w 2566399"/>
                <a:gd name="connsiteY122" fmla="*/ 1352865 h 2562408"/>
                <a:gd name="connsiteX123" fmla="*/ 165102 w 2566399"/>
                <a:gd name="connsiteY123" fmla="*/ 1371799 h 2562408"/>
                <a:gd name="connsiteX124" fmla="*/ 196542 w 2566399"/>
                <a:gd name="connsiteY124" fmla="*/ 1559874 h 2562408"/>
                <a:gd name="connsiteX125" fmla="*/ 406565 w 2566399"/>
                <a:gd name="connsiteY125" fmla="*/ 1989039 h 2562408"/>
                <a:gd name="connsiteX126" fmla="*/ 425429 w 2566399"/>
                <a:gd name="connsiteY126" fmla="*/ 2001661 h 2562408"/>
                <a:gd name="connsiteX127" fmla="*/ 468188 w 2566399"/>
                <a:gd name="connsiteY127" fmla="*/ 1986514 h 2562408"/>
                <a:gd name="connsiteX128" fmla="*/ 687013 w 2566399"/>
                <a:gd name="connsiteY128" fmla="*/ 1906993 h 2562408"/>
                <a:gd name="connsiteX129" fmla="*/ 702105 w 2566399"/>
                <a:gd name="connsiteY129" fmla="*/ 1877961 h 2562408"/>
                <a:gd name="connsiteX130" fmla="*/ 670664 w 2566399"/>
                <a:gd name="connsiteY130" fmla="*/ 1727753 h 2562408"/>
                <a:gd name="connsiteX131" fmla="*/ 685756 w 2566399"/>
                <a:gd name="connsiteY131" fmla="*/ 1708820 h 2562408"/>
                <a:gd name="connsiteX132" fmla="*/ 801457 w 2566399"/>
                <a:gd name="connsiteY132" fmla="*/ 1708820 h 2562408"/>
                <a:gd name="connsiteX133" fmla="*/ 821579 w 2566399"/>
                <a:gd name="connsiteY133" fmla="*/ 1727753 h 2562408"/>
                <a:gd name="connsiteX134" fmla="*/ 846731 w 2566399"/>
                <a:gd name="connsiteY134" fmla="*/ 1847667 h 2562408"/>
                <a:gd name="connsiteX135" fmla="*/ 866853 w 2566399"/>
                <a:gd name="connsiteY135" fmla="*/ 1864076 h 2562408"/>
                <a:gd name="connsiteX136" fmla="*/ 1110831 w 2566399"/>
                <a:gd name="connsiteY136" fmla="*/ 1832520 h 2562408"/>
                <a:gd name="connsiteX137" fmla="*/ 1413917 w 2566399"/>
                <a:gd name="connsiteY137" fmla="*/ 1828733 h 2562408"/>
                <a:gd name="connsiteX138" fmla="*/ 1690593 w 2566399"/>
                <a:gd name="connsiteY138" fmla="*/ 1856503 h 2562408"/>
                <a:gd name="connsiteX139" fmla="*/ 1714488 w 2566399"/>
                <a:gd name="connsiteY139" fmla="*/ 1840094 h 2562408"/>
                <a:gd name="connsiteX140" fmla="*/ 1739640 w 2566399"/>
                <a:gd name="connsiteY140" fmla="*/ 1727753 h 2562408"/>
                <a:gd name="connsiteX141" fmla="*/ 1762277 w 2566399"/>
                <a:gd name="connsiteY141" fmla="*/ 1708820 h 2562408"/>
                <a:gd name="connsiteX142" fmla="*/ 1872948 w 2566399"/>
                <a:gd name="connsiteY142" fmla="*/ 1708820 h 2562408"/>
                <a:gd name="connsiteX143" fmla="*/ 1890554 w 2566399"/>
                <a:gd name="connsiteY143" fmla="*/ 1730278 h 2562408"/>
                <a:gd name="connsiteX144" fmla="*/ 1857856 w 2566399"/>
                <a:gd name="connsiteY144" fmla="*/ 1875437 h 2562408"/>
                <a:gd name="connsiteX145" fmla="*/ 1872948 w 2566399"/>
                <a:gd name="connsiteY145" fmla="*/ 1900681 h 2562408"/>
                <a:gd name="connsiteX146" fmla="*/ 2137047 w 2566399"/>
                <a:gd name="connsiteY146" fmla="*/ 1994088 h 2562408"/>
                <a:gd name="connsiteX147" fmla="*/ 2173518 w 2566399"/>
                <a:gd name="connsiteY147" fmla="*/ 1983990 h 2562408"/>
                <a:gd name="connsiteX148" fmla="*/ 2420011 w 2566399"/>
                <a:gd name="connsiteY148" fmla="*/ 1371799 h 2562408"/>
                <a:gd name="connsiteX149" fmla="*/ 2402405 w 2566399"/>
                <a:gd name="connsiteY149" fmla="*/ 1352865 h 2562408"/>
                <a:gd name="connsiteX150" fmla="*/ 2289219 w 2566399"/>
                <a:gd name="connsiteY150" fmla="*/ 1352865 h 2562408"/>
                <a:gd name="connsiteX151" fmla="*/ 2270355 w 2566399"/>
                <a:gd name="connsiteY151" fmla="*/ 1335194 h 2562408"/>
                <a:gd name="connsiteX152" fmla="*/ 2270355 w 2566399"/>
                <a:gd name="connsiteY152" fmla="*/ 1221591 h 2562408"/>
                <a:gd name="connsiteX153" fmla="*/ 2289219 w 2566399"/>
                <a:gd name="connsiteY153" fmla="*/ 1202658 h 2562408"/>
                <a:gd name="connsiteX154" fmla="*/ 2372222 w 2566399"/>
                <a:gd name="connsiteY154" fmla="*/ 1202658 h 2562408"/>
                <a:gd name="connsiteX155" fmla="*/ 2414981 w 2566399"/>
                <a:gd name="connsiteY155" fmla="*/ 1153430 h 2562408"/>
                <a:gd name="connsiteX156" fmla="*/ 2176033 w 2566399"/>
                <a:gd name="connsiteY156" fmla="*/ 570271 h 2562408"/>
                <a:gd name="connsiteX157" fmla="*/ 2166601 w 2566399"/>
                <a:gd name="connsiteY157" fmla="*/ 561277 h 2562408"/>
                <a:gd name="connsiteX158" fmla="*/ 1648157 w 2566399"/>
                <a:gd name="connsiteY158" fmla="*/ 216336 h 2562408"/>
                <a:gd name="connsiteX159" fmla="*/ 1714666 w 2566399"/>
                <a:gd name="connsiteY159" fmla="*/ 323623 h 2562408"/>
                <a:gd name="connsiteX160" fmla="*/ 1799998 w 2566399"/>
                <a:gd name="connsiteY160" fmla="*/ 505378 h 2562408"/>
                <a:gd name="connsiteX161" fmla="*/ 1817566 w 2566399"/>
                <a:gd name="connsiteY161" fmla="*/ 521787 h 2562408"/>
                <a:gd name="connsiteX162" fmla="*/ 2043445 w 2566399"/>
                <a:gd name="connsiteY162" fmla="*/ 446055 h 2562408"/>
                <a:gd name="connsiteX163" fmla="*/ 1648157 w 2566399"/>
                <a:gd name="connsiteY163" fmla="*/ 216336 h 2562408"/>
                <a:gd name="connsiteX164" fmla="*/ 908382 w 2566399"/>
                <a:gd name="connsiteY164" fmla="*/ 216336 h 2562408"/>
                <a:gd name="connsiteX165" fmla="*/ 524207 w 2566399"/>
                <a:gd name="connsiteY165" fmla="*/ 441477 h 2562408"/>
                <a:gd name="connsiteX166" fmla="*/ 735127 w 2566399"/>
                <a:gd name="connsiteY166" fmla="*/ 523692 h 2562408"/>
                <a:gd name="connsiteX167" fmla="*/ 753959 w 2566399"/>
                <a:gd name="connsiteY167" fmla="*/ 509778 h 2562408"/>
                <a:gd name="connsiteX168" fmla="*/ 791623 w 2566399"/>
                <a:gd name="connsiteY168" fmla="*/ 418710 h 2562408"/>
                <a:gd name="connsiteX169" fmla="*/ 908382 w 2566399"/>
                <a:gd name="connsiteY169" fmla="*/ 216336 h 2562408"/>
                <a:gd name="connsiteX170" fmla="*/ 1296865 w 2566399"/>
                <a:gd name="connsiteY170" fmla="*/ 151855 h 2562408"/>
                <a:gd name="connsiteX171" fmla="*/ 1122697 w 2566399"/>
                <a:gd name="connsiteY171" fmla="*/ 213234 h 2562408"/>
                <a:gd name="connsiteX172" fmla="*/ 898857 w 2566399"/>
                <a:gd name="connsiteY172" fmla="*/ 557842 h 2562408"/>
                <a:gd name="connsiteX173" fmla="*/ 983112 w 2566399"/>
                <a:gd name="connsiteY173" fmla="*/ 567940 h 2562408"/>
                <a:gd name="connsiteX174" fmla="*/ 1386778 w 2566399"/>
                <a:gd name="connsiteY174" fmla="*/ 584350 h 2562408"/>
                <a:gd name="connsiteX175" fmla="*/ 1639542 w 2566399"/>
                <a:gd name="connsiteY175" fmla="*/ 561629 h 2562408"/>
                <a:gd name="connsiteX176" fmla="*/ 1657147 w 2566399"/>
                <a:gd name="connsiteY176" fmla="*/ 543956 h 2562408"/>
                <a:gd name="connsiteX177" fmla="*/ 1467260 w 2566399"/>
                <a:gd name="connsiteY177" fmla="*/ 241005 h 2562408"/>
                <a:gd name="connsiteX178" fmla="*/ 1296865 w 2566399"/>
                <a:gd name="connsiteY178" fmla="*/ 151855 h 2562408"/>
                <a:gd name="connsiteX179" fmla="*/ 1281939 w 2566399"/>
                <a:gd name="connsiteY179" fmla="*/ 68 h 2562408"/>
                <a:gd name="connsiteX180" fmla="*/ 2566391 w 2566399"/>
                <a:gd name="connsiteY180" fmla="*/ 1289423 h 2562408"/>
                <a:gd name="connsiteX181" fmla="*/ 1280681 w 2566399"/>
                <a:gd name="connsiteY181" fmla="*/ 2562377 h 2562408"/>
                <a:gd name="connsiteX182" fmla="*/ 2 w 2566399"/>
                <a:gd name="connsiteY182" fmla="*/ 1281853 h 2562408"/>
                <a:gd name="connsiteX183" fmla="*/ 1281939 w 2566399"/>
                <a:gd name="connsiteY183" fmla="*/ 68 h 256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2566399" h="2562408">
                  <a:moveTo>
                    <a:pt x="742906" y="2053044"/>
                  </a:moveTo>
                  <a:cubicBezTo>
                    <a:pt x="737864" y="2051156"/>
                    <a:pt x="732191" y="2051785"/>
                    <a:pt x="725889" y="2053673"/>
                  </a:cubicBezTo>
                  <a:cubicBezTo>
                    <a:pt x="657821" y="2070029"/>
                    <a:pt x="589754" y="2088901"/>
                    <a:pt x="524207" y="2121613"/>
                  </a:cubicBezTo>
                  <a:cubicBezTo>
                    <a:pt x="638914" y="2219748"/>
                    <a:pt x="764964" y="2296495"/>
                    <a:pt x="903620" y="2353111"/>
                  </a:cubicBezTo>
                  <a:cubicBezTo>
                    <a:pt x="844376" y="2262525"/>
                    <a:pt x="796477" y="2166906"/>
                    <a:pt x="756141" y="2067512"/>
                  </a:cubicBezTo>
                  <a:cubicBezTo>
                    <a:pt x="752359" y="2059334"/>
                    <a:pt x="747948" y="2054931"/>
                    <a:pt x="742906" y="2053044"/>
                  </a:cubicBezTo>
                  <a:close/>
                  <a:moveTo>
                    <a:pt x="1816858" y="2044467"/>
                  </a:moveTo>
                  <a:cubicBezTo>
                    <a:pt x="1811659" y="2046672"/>
                    <a:pt x="1807879" y="2051711"/>
                    <a:pt x="1804098" y="2060529"/>
                  </a:cubicBezTo>
                  <a:cubicBezTo>
                    <a:pt x="1770072" y="2148709"/>
                    <a:pt x="1728484" y="2233110"/>
                    <a:pt x="1675555" y="2311212"/>
                  </a:cubicBezTo>
                  <a:cubicBezTo>
                    <a:pt x="1667993" y="2322550"/>
                    <a:pt x="1659172" y="2335147"/>
                    <a:pt x="1646569" y="2351523"/>
                  </a:cubicBezTo>
                  <a:cubicBezTo>
                    <a:pt x="1802838" y="2301135"/>
                    <a:pt x="1933902" y="2220513"/>
                    <a:pt x="2056144" y="2120995"/>
                  </a:cubicBezTo>
                  <a:cubicBezTo>
                    <a:pt x="2039761" y="2109658"/>
                    <a:pt x="2023378" y="2102099"/>
                    <a:pt x="2005735" y="2095801"/>
                  </a:cubicBezTo>
                  <a:cubicBezTo>
                    <a:pt x="1950285" y="2076905"/>
                    <a:pt x="1893574" y="2061788"/>
                    <a:pt x="1838124" y="2045412"/>
                  </a:cubicBezTo>
                  <a:cubicBezTo>
                    <a:pt x="1828672" y="2042893"/>
                    <a:pt x="1822056" y="2042263"/>
                    <a:pt x="1816858" y="2044467"/>
                  </a:cubicBezTo>
                  <a:close/>
                  <a:moveTo>
                    <a:pt x="1305791" y="1986398"/>
                  </a:moveTo>
                  <a:cubicBezTo>
                    <a:pt x="1156209" y="1987661"/>
                    <a:pt x="1036795" y="1992711"/>
                    <a:pt x="919895" y="2012912"/>
                  </a:cubicBezTo>
                  <a:cubicBezTo>
                    <a:pt x="909839" y="2014175"/>
                    <a:pt x="897269" y="2012912"/>
                    <a:pt x="904811" y="2031851"/>
                  </a:cubicBezTo>
                  <a:cubicBezTo>
                    <a:pt x="950063" y="2141695"/>
                    <a:pt x="1005370" y="2245226"/>
                    <a:pt x="1092102" y="2327293"/>
                  </a:cubicBezTo>
                  <a:cubicBezTo>
                    <a:pt x="1144896" y="2377796"/>
                    <a:pt x="1205231" y="2414411"/>
                    <a:pt x="1280651" y="2416936"/>
                  </a:cubicBezTo>
                  <a:cubicBezTo>
                    <a:pt x="1339729" y="2418198"/>
                    <a:pt x="1391266" y="2392947"/>
                    <a:pt x="1436517" y="2356332"/>
                  </a:cubicBezTo>
                  <a:cubicBezTo>
                    <a:pt x="1542104" y="2270477"/>
                    <a:pt x="1604954" y="2154320"/>
                    <a:pt x="1656490" y="2030588"/>
                  </a:cubicBezTo>
                  <a:cubicBezTo>
                    <a:pt x="1664032" y="2012912"/>
                    <a:pt x="1651462" y="2014175"/>
                    <a:pt x="1642663" y="2012912"/>
                  </a:cubicBezTo>
                  <a:cubicBezTo>
                    <a:pt x="1520736" y="1997761"/>
                    <a:pt x="1397551" y="1986398"/>
                    <a:pt x="1305791" y="1986398"/>
                  </a:cubicBezTo>
                  <a:close/>
                  <a:moveTo>
                    <a:pt x="570977" y="1057387"/>
                  </a:moveTo>
                  <a:cubicBezTo>
                    <a:pt x="553378" y="1056124"/>
                    <a:pt x="550864" y="1063702"/>
                    <a:pt x="550864" y="1078858"/>
                  </a:cubicBezTo>
                  <a:cubicBezTo>
                    <a:pt x="550864" y="1145796"/>
                    <a:pt x="550864" y="1213997"/>
                    <a:pt x="550864" y="1280935"/>
                  </a:cubicBezTo>
                  <a:cubicBezTo>
                    <a:pt x="550864" y="1350399"/>
                    <a:pt x="550864" y="1418600"/>
                    <a:pt x="550864" y="1488065"/>
                  </a:cubicBezTo>
                  <a:cubicBezTo>
                    <a:pt x="549607" y="1505746"/>
                    <a:pt x="554636" y="1512061"/>
                    <a:pt x="573492" y="1510798"/>
                  </a:cubicBezTo>
                  <a:cubicBezTo>
                    <a:pt x="602404" y="1509535"/>
                    <a:pt x="631317" y="1513324"/>
                    <a:pt x="660230" y="1508272"/>
                  </a:cubicBezTo>
                  <a:cubicBezTo>
                    <a:pt x="745711" y="1491854"/>
                    <a:pt x="801022" y="1452701"/>
                    <a:pt x="816107" y="1366818"/>
                  </a:cubicBezTo>
                  <a:cubicBezTo>
                    <a:pt x="827420" y="1307458"/>
                    <a:pt x="827420" y="1248098"/>
                    <a:pt x="811078" y="1190000"/>
                  </a:cubicBezTo>
                  <a:cubicBezTo>
                    <a:pt x="790965" y="1116747"/>
                    <a:pt x="743196" y="1073806"/>
                    <a:pt x="669029" y="1061176"/>
                  </a:cubicBezTo>
                  <a:cubicBezTo>
                    <a:pt x="636345" y="1056124"/>
                    <a:pt x="603661" y="1058650"/>
                    <a:pt x="570977" y="1057387"/>
                  </a:cubicBezTo>
                  <a:close/>
                  <a:moveTo>
                    <a:pt x="1992398" y="960504"/>
                  </a:moveTo>
                  <a:cubicBezTo>
                    <a:pt x="2019411" y="964288"/>
                    <a:pt x="2045796" y="972487"/>
                    <a:pt x="2070924" y="985731"/>
                  </a:cubicBezTo>
                  <a:cubicBezTo>
                    <a:pt x="2119925" y="1010958"/>
                    <a:pt x="2119925" y="1010958"/>
                    <a:pt x="2119925" y="1066457"/>
                  </a:cubicBezTo>
                  <a:cubicBezTo>
                    <a:pt x="2119925" y="1129524"/>
                    <a:pt x="2117412" y="1132047"/>
                    <a:pt x="2062129" y="1100513"/>
                  </a:cubicBezTo>
                  <a:cubicBezTo>
                    <a:pt x="2030719" y="1082854"/>
                    <a:pt x="1996796" y="1071502"/>
                    <a:pt x="1960360" y="1074025"/>
                  </a:cubicBezTo>
                  <a:cubicBezTo>
                    <a:pt x="1939001" y="1075286"/>
                    <a:pt x="1920155" y="1081593"/>
                    <a:pt x="1906334" y="1097990"/>
                  </a:cubicBezTo>
                  <a:cubicBezTo>
                    <a:pt x="1867385" y="1143399"/>
                    <a:pt x="1878693" y="1178716"/>
                    <a:pt x="1939001" y="1216557"/>
                  </a:cubicBezTo>
                  <a:cubicBezTo>
                    <a:pt x="1974180" y="1239261"/>
                    <a:pt x="2014386" y="1254397"/>
                    <a:pt x="2053335" y="1269533"/>
                  </a:cubicBezTo>
                  <a:cubicBezTo>
                    <a:pt x="2157617" y="1311157"/>
                    <a:pt x="2175207" y="1396929"/>
                    <a:pt x="2140027" y="1492791"/>
                  </a:cubicBezTo>
                  <a:cubicBezTo>
                    <a:pt x="2118668" y="1552074"/>
                    <a:pt x="2072181" y="1588652"/>
                    <a:pt x="2014386" y="1611357"/>
                  </a:cubicBezTo>
                  <a:cubicBezTo>
                    <a:pt x="1922667" y="1646674"/>
                    <a:pt x="1835975" y="1637845"/>
                    <a:pt x="1751795" y="1588652"/>
                  </a:cubicBezTo>
                  <a:cubicBezTo>
                    <a:pt x="1724154" y="1572255"/>
                    <a:pt x="1705307" y="1507927"/>
                    <a:pt x="1719128" y="1478916"/>
                  </a:cubicBezTo>
                  <a:cubicBezTo>
                    <a:pt x="1726666" y="1462518"/>
                    <a:pt x="1735461" y="1453689"/>
                    <a:pt x="1755564" y="1466302"/>
                  </a:cubicBezTo>
                  <a:cubicBezTo>
                    <a:pt x="1795769" y="1491529"/>
                    <a:pt x="1835975" y="1519279"/>
                    <a:pt x="1884975" y="1525585"/>
                  </a:cubicBezTo>
                  <a:cubicBezTo>
                    <a:pt x="1923924" y="1530631"/>
                    <a:pt x="1961616" y="1530631"/>
                    <a:pt x="1993027" y="1501620"/>
                  </a:cubicBezTo>
                  <a:cubicBezTo>
                    <a:pt x="2021924" y="1475132"/>
                    <a:pt x="2026950" y="1433507"/>
                    <a:pt x="2001821" y="1403235"/>
                  </a:cubicBezTo>
                  <a:cubicBezTo>
                    <a:pt x="1984232" y="1381792"/>
                    <a:pt x="1962873" y="1366656"/>
                    <a:pt x="1936488" y="1355304"/>
                  </a:cubicBezTo>
                  <a:cubicBezTo>
                    <a:pt x="1890001" y="1335123"/>
                    <a:pt x="1842257" y="1316203"/>
                    <a:pt x="1799539" y="1288453"/>
                  </a:cubicBezTo>
                  <a:cubicBezTo>
                    <a:pt x="1766872" y="1265749"/>
                    <a:pt x="1749282" y="1234215"/>
                    <a:pt x="1743000" y="1198898"/>
                  </a:cubicBezTo>
                  <a:cubicBezTo>
                    <a:pt x="1724154" y="1077809"/>
                    <a:pt x="1776923" y="983208"/>
                    <a:pt x="1910103" y="961766"/>
                  </a:cubicBezTo>
                  <a:cubicBezTo>
                    <a:pt x="1937745" y="957351"/>
                    <a:pt x="1965386" y="956720"/>
                    <a:pt x="1992398" y="960504"/>
                  </a:cubicBezTo>
                  <a:close/>
                  <a:moveTo>
                    <a:pt x="591117" y="951159"/>
                  </a:moveTo>
                  <a:cubicBezTo>
                    <a:pt x="629786" y="951001"/>
                    <a:pt x="668456" y="952263"/>
                    <a:pt x="706810" y="957938"/>
                  </a:cubicBezTo>
                  <a:cubicBezTo>
                    <a:pt x="817473" y="974333"/>
                    <a:pt x="908016" y="1023519"/>
                    <a:pt x="945742" y="1137026"/>
                  </a:cubicBezTo>
                  <a:cubicBezTo>
                    <a:pt x="967120" y="1197562"/>
                    <a:pt x="964605" y="1261883"/>
                    <a:pt x="958317" y="1323680"/>
                  </a:cubicBezTo>
                  <a:cubicBezTo>
                    <a:pt x="953287" y="1375389"/>
                    <a:pt x="939454" y="1424575"/>
                    <a:pt x="914304" y="1472500"/>
                  </a:cubicBezTo>
                  <a:cubicBezTo>
                    <a:pt x="874063" y="1550693"/>
                    <a:pt x="807413" y="1588529"/>
                    <a:pt x="725673" y="1607446"/>
                  </a:cubicBezTo>
                  <a:cubicBezTo>
                    <a:pt x="636388" y="1627625"/>
                    <a:pt x="545846" y="1618797"/>
                    <a:pt x="455303" y="1618797"/>
                  </a:cubicBezTo>
                  <a:cubicBezTo>
                    <a:pt x="431410" y="1620058"/>
                    <a:pt x="422607" y="1607446"/>
                    <a:pt x="422607" y="1578439"/>
                  </a:cubicBezTo>
                  <a:cubicBezTo>
                    <a:pt x="422607" y="1481328"/>
                    <a:pt x="422607" y="1385478"/>
                    <a:pt x="422607" y="1288367"/>
                  </a:cubicBezTo>
                  <a:cubicBezTo>
                    <a:pt x="422607" y="1193779"/>
                    <a:pt x="422607" y="1100451"/>
                    <a:pt x="422607" y="1005863"/>
                  </a:cubicBezTo>
                  <a:cubicBezTo>
                    <a:pt x="422607" y="966766"/>
                    <a:pt x="437698" y="951632"/>
                    <a:pt x="475424" y="952893"/>
                  </a:cubicBezTo>
                  <a:cubicBezTo>
                    <a:pt x="513779" y="952893"/>
                    <a:pt x="552448" y="951317"/>
                    <a:pt x="591117" y="951159"/>
                  </a:cubicBezTo>
                  <a:close/>
                  <a:moveTo>
                    <a:pt x="1546773" y="947848"/>
                  </a:moveTo>
                  <a:cubicBezTo>
                    <a:pt x="1565648" y="946586"/>
                    <a:pt x="1584523" y="946586"/>
                    <a:pt x="1602140" y="947848"/>
                  </a:cubicBezTo>
                  <a:cubicBezTo>
                    <a:pt x="1623532" y="947848"/>
                    <a:pt x="1636115" y="955422"/>
                    <a:pt x="1636115" y="980669"/>
                  </a:cubicBezTo>
                  <a:cubicBezTo>
                    <a:pt x="1634857" y="1167491"/>
                    <a:pt x="1634857" y="1354314"/>
                    <a:pt x="1634857" y="1541136"/>
                  </a:cubicBezTo>
                  <a:cubicBezTo>
                    <a:pt x="1634857" y="1547448"/>
                    <a:pt x="1638632" y="1557547"/>
                    <a:pt x="1631082" y="1561333"/>
                  </a:cubicBezTo>
                  <a:cubicBezTo>
                    <a:pt x="1604657" y="1579006"/>
                    <a:pt x="1602140" y="1624449"/>
                    <a:pt x="1558098" y="1620662"/>
                  </a:cubicBezTo>
                  <a:cubicBezTo>
                    <a:pt x="1536706" y="1619400"/>
                    <a:pt x="1514056" y="1620662"/>
                    <a:pt x="1492664" y="1620662"/>
                  </a:cubicBezTo>
                  <a:cubicBezTo>
                    <a:pt x="1454914" y="1619400"/>
                    <a:pt x="1436038" y="1590367"/>
                    <a:pt x="1420938" y="1563858"/>
                  </a:cubicBezTo>
                  <a:cubicBezTo>
                    <a:pt x="1384446" y="1503267"/>
                    <a:pt x="1352988" y="1438889"/>
                    <a:pt x="1320271" y="1375773"/>
                  </a:cubicBezTo>
                  <a:cubicBezTo>
                    <a:pt x="1288812" y="1317707"/>
                    <a:pt x="1257354" y="1259640"/>
                    <a:pt x="1227153" y="1200311"/>
                  </a:cubicBezTo>
                  <a:cubicBezTo>
                    <a:pt x="1217087" y="1181377"/>
                    <a:pt x="1210795" y="1162442"/>
                    <a:pt x="1201987" y="1142245"/>
                  </a:cubicBezTo>
                  <a:cubicBezTo>
                    <a:pt x="1200728" y="1138458"/>
                    <a:pt x="1198212" y="1132147"/>
                    <a:pt x="1190662" y="1135933"/>
                  </a:cubicBezTo>
                  <a:cubicBezTo>
                    <a:pt x="1186886" y="1137196"/>
                    <a:pt x="1186886" y="1143507"/>
                    <a:pt x="1188145" y="1147294"/>
                  </a:cubicBezTo>
                  <a:cubicBezTo>
                    <a:pt x="1199470" y="1192738"/>
                    <a:pt x="1193178" y="1240706"/>
                    <a:pt x="1193178" y="1287411"/>
                  </a:cubicBezTo>
                  <a:cubicBezTo>
                    <a:pt x="1194437" y="1383347"/>
                    <a:pt x="1194437" y="1479283"/>
                    <a:pt x="1194437" y="1575219"/>
                  </a:cubicBezTo>
                  <a:cubicBezTo>
                    <a:pt x="1193178" y="1606777"/>
                    <a:pt x="1188145" y="1613088"/>
                    <a:pt x="1155428" y="1614351"/>
                  </a:cubicBezTo>
                  <a:cubicBezTo>
                    <a:pt x="1131519" y="1615613"/>
                    <a:pt x="1107611" y="1614351"/>
                    <a:pt x="1083702" y="1614351"/>
                  </a:cubicBezTo>
                  <a:cubicBezTo>
                    <a:pt x="1066085" y="1614351"/>
                    <a:pt x="1056019" y="1606777"/>
                    <a:pt x="1056019" y="1586580"/>
                  </a:cubicBezTo>
                  <a:cubicBezTo>
                    <a:pt x="1056019" y="1392183"/>
                    <a:pt x="1056019" y="1197787"/>
                    <a:pt x="1056019" y="1003390"/>
                  </a:cubicBezTo>
                  <a:cubicBezTo>
                    <a:pt x="1056019" y="973095"/>
                    <a:pt x="1073636" y="954160"/>
                    <a:pt x="1103836" y="952897"/>
                  </a:cubicBezTo>
                  <a:cubicBezTo>
                    <a:pt x="1130261" y="951635"/>
                    <a:pt x="1157945" y="951635"/>
                    <a:pt x="1184370" y="952897"/>
                  </a:cubicBezTo>
                  <a:cubicBezTo>
                    <a:pt x="1214570" y="954160"/>
                    <a:pt x="1237220" y="970570"/>
                    <a:pt x="1252320" y="994554"/>
                  </a:cubicBezTo>
                  <a:cubicBezTo>
                    <a:pt x="1308946" y="1084178"/>
                    <a:pt x="1354246" y="1178852"/>
                    <a:pt x="1405838" y="1272263"/>
                  </a:cubicBezTo>
                  <a:cubicBezTo>
                    <a:pt x="1432263" y="1322756"/>
                    <a:pt x="1462464" y="1371986"/>
                    <a:pt x="1491406" y="1422479"/>
                  </a:cubicBezTo>
                  <a:cubicBezTo>
                    <a:pt x="1492664" y="1421217"/>
                    <a:pt x="1493922" y="1421217"/>
                    <a:pt x="1495181" y="1421217"/>
                  </a:cubicBezTo>
                  <a:cubicBezTo>
                    <a:pt x="1495181" y="1281100"/>
                    <a:pt x="1495181" y="1139720"/>
                    <a:pt x="1495181" y="999603"/>
                  </a:cubicBezTo>
                  <a:cubicBezTo>
                    <a:pt x="1495181" y="954160"/>
                    <a:pt x="1501472" y="947848"/>
                    <a:pt x="1546773" y="947848"/>
                  </a:cubicBezTo>
                  <a:close/>
                  <a:moveTo>
                    <a:pt x="2166601" y="561277"/>
                  </a:moveTo>
                  <a:cubicBezTo>
                    <a:pt x="2163143" y="559857"/>
                    <a:pt x="2159056" y="560173"/>
                    <a:pt x="2153396" y="562697"/>
                  </a:cubicBezTo>
                  <a:cubicBezTo>
                    <a:pt x="2065363" y="604351"/>
                    <a:pt x="1974815" y="635908"/>
                    <a:pt x="1880493" y="661153"/>
                  </a:cubicBezTo>
                  <a:cubicBezTo>
                    <a:pt x="1864144" y="666202"/>
                    <a:pt x="1859114" y="671251"/>
                    <a:pt x="1864144" y="688922"/>
                  </a:cubicBezTo>
                  <a:cubicBezTo>
                    <a:pt x="1874205" y="730576"/>
                    <a:pt x="1881751" y="773493"/>
                    <a:pt x="1890554" y="815147"/>
                  </a:cubicBezTo>
                  <a:cubicBezTo>
                    <a:pt x="1894327" y="830294"/>
                    <a:pt x="1890554" y="836605"/>
                    <a:pt x="1872948" y="836605"/>
                  </a:cubicBezTo>
                  <a:cubicBezTo>
                    <a:pt x="1836477" y="835343"/>
                    <a:pt x="1798748" y="835343"/>
                    <a:pt x="1762277" y="836605"/>
                  </a:cubicBezTo>
                  <a:cubicBezTo>
                    <a:pt x="1747186" y="836605"/>
                    <a:pt x="1742155" y="831556"/>
                    <a:pt x="1740898" y="816409"/>
                  </a:cubicBezTo>
                  <a:cubicBezTo>
                    <a:pt x="1738382" y="782329"/>
                    <a:pt x="1728321" y="749510"/>
                    <a:pt x="1720776" y="715429"/>
                  </a:cubicBezTo>
                  <a:cubicBezTo>
                    <a:pt x="1717003" y="701545"/>
                    <a:pt x="1710715" y="697758"/>
                    <a:pt x="1696881" y="699020"/>
                  </a:cubicBezTo>
                  <a:cubicBezTo>
                    <a:pt x="1626454" y="707856"/>
                    <a:pt x="1557285" y="715429"/>
                    <a:pt x="1486859" y="723003"/>
                  </a:cubicBezTo>
                  <a:cubicBezTo>
                    <a:pt x="1358582" y="734363"/>
                    <a:pt x="1231562" y="734363"/>
                    <a:pt x="1103285" y="723003"/>
                  </a:cubicBezTo>
                  <a:cubicBezTo>
                    <a:pt x="1029086" y="715429"/>
                    <a:pt x="954886" y="706594"/>
                    <a:pt x="881944" y="693971"/>
                  </a:cubicBezTo>
                  <a:cubicBezTo>
                    <a:pt x="865595" y="691447"/>
                    <a:pt x="856792" y="692709"/>
                    <a:pt x="854277" y="714167"/>
                  </a:cubicBezTo>
                  <a:cubicBezTo>
                    <a:pt x="850504" y="745723"/>
                    <a:pt x="840443" y="777280"/>
                    <a:pt x="834155" y="810098"/>
                  </a:cubicBezTo>
                  <a:cubicBezTo>
                    <a:pt x="831640" y="827770"/>
                    <a:pt x="822836" y="832818"/>
                    <a:pt x="806487" y="831556"/>
                  </a:cubicBezTo>
                  <a:cubicBezTo>
                    <a:pt x="790138" y="830294"/>
                    <a:pt x="772532" y="831556"/>
                    <a:pt x="756182" y="831556"/>
                  </a:cubicBezTo>
                  <a:cubicBezTo>
                    <a:pt x="734803" y="831556"/>
                    <a:pt x="713423" y="830294"/>
                    <a:pt x="693302" y="831556"/>
                  </a:cubicBezTo>
                  <a:cubicBezTo>
                    <a:pt x="681983" y="831556"/>
                    <a:pt x="678210" y="827770"/>
                    <a:pt x="680725" y="816409"/>
                  </a:cubicBezTo>
                  <a:cubicBezTo>
                    <a:pt x="689529" y="773493"/>
                    <a:pt x="695817" y="730576"/>
                    <a:pt x="707135" y="687660"/>
                  </a:cubicBezTo>
                  <a:cubicBezTo>
                    <a:pt x="712166" y="666202"/>
                    <a:pt x="707135" y="659890"/>
                    <a:pt x="687013" y="654841"/>
                  </a:cubicBezTo>
                  <a:cubicBezTo>
                    <a:pt x="598980" y="630859"/>
                    <a:pt x="512205" y="605614"/>
                    <a:pt x="431717" y="563959"/>
                  </a:cubicBezTo>
                  <a:cubicBezTo>
                    <a:pt x="417883" y="557648"/>
                    <a:pt x="412853" y="561435"/>
                    <a:pt x="405307" y="571533"/>
                  </a:cubicBezTo>
                  <a:cubicBezTo>
                    <a:pt x="265711" y="752035"/>
                    <a:pt x="185224" y="956519"/>
                    <a:pt x="165102" y="1183724"/>
                  </a:cubicBezTo>
                  <a:cubicBezTo>
                    <a:pt x="163844" y="1200133"/>
                    <a:pt x="167617" y="1202658"/>
                    <a:pt x="181451" y="1202658"/>
                  </a:cubicBezTo>
                  <a:cubicBezTo>
                    <a:pt x="211634" y="1202658"/>
                    <a:pt x="241817" y="1202658"/>
                    <a:pt x="271999" y="1202658"/>
                  </a:cubicBezTo>
                  <a:cubicBezTo>
                    <a:pt x="285833" y="1202658"/>
                    <a:pt x="290864" y="1206444"/>
                    <a:pt x="290864" y="1221591"/>
                  </a:cubicBezTo>
                  <a:cubicBezTo>
                    <a:pt x="290864" y="1258197"/>
                    <a:pt x="289606" y="1294802"/>
                    <a:pt x="290864" y="1332669"/>
                  </a:cubicBezTo>
                  <a:cubicBezTo>
                    <a:pt x="292121" y="1349079"/>
                    <a:pt x="284576" y="1354128"/>
                    <a:pt x="269484" y="1352865"/>
                  </a:cubicBezTo>
                  <a:cubicBezTo>
                    <a:pt x="239301" y="1352865"/>
                    <a:pt x="210376" y="1352865"/>
                    <a:pt x="181451" y="1352865"/>
                  </a:cubicBezTo>
                  <a:cubicBezTo>
                    <a:pt x="166359" y="1352865"/>
                    <a:pt x="163844" y="1356652"/>
                    <a:pt x="165102" y="1371799"/>
                  </a:cubicBezTo>
                  <a:cubicBezTo>
                    <a:pt x="170132" y="1436174"/>
                    <a:pt x="181451" y="1498024"/>
                    <a:pt x="196542" y="1559874"/>
                  </a:cubicBezTo>
                  <a:cubicBezTo>
                    <a:pt x="236786" y="1717655"/>
                    <a:pt x="305955" y="1861552"/>
                    <a:pt x="406565" y="1989039"/>
                  </a:cubicBezTo>
                  <a:cubicBezTo>
                    <a:pt x="411595" y="1995350"/>
                    <a:pt x="414110" y="2005448"/>
                    <a:pt x="425429" y="2001661"/>
                  </a:cubicBezTo>
                  <a:cubicBezTo>
                    <a:pt x="439263" y="1996612"/>
                    <a:pt x="454354" y="1992826"/>
                    <a:pt x="468188" y="1986514"/>
                  </a:cubicBezTo>
                  <a:cubicBezTo>
                    <a:pt x="537357" y="1951171"/>
                    <a:pt x="611556" y="1925926"/>
                    <a:pt x="687013" y="1906993"/>
                  </a:cubicBezTo>
                  <a:cubicBezTo>
                    <a:pt x="703363" y="1901944"/>
                    <a:pt x="707135" y="1895632"/>
                    <a:pt x="702105" y="1877961"/>
                  </a:cubicBezTo>
                  <a:cubicBezTo>
                    <a:pt x="690786" y="1828733"/>
                    <a:pt x="680725" y="1778243"/>
                    <a:pt x="670664" y="1727753"/>
                  </a:cubicBezTo>
                  <a:cubicBezTo>
                    <a:pt x="666892" y="1715131"/>
                    <a:pt x="669407" y="1707557"/>
                    <a:pt x="685756" y="1708820"/>
                  </a:cubicBezTo>
                  <a:cubicBezTo>
                    <a:pt x="723484" y="1710082"/>
                    <a:pt x="762471" y="1708820"/>
                    <a:pt x="801457" y="1708820"/>
                  </a:cubicBezTo>
                  <a:cubicBezTo>
                    <a:pt x="815291" y="1708820"/>
                    <a:pt x="819063" y="1713869"/>
                    <a:pt x="821579" y="1727753"/>
                  </a:cubicBezTo>
                  <a:cubicBezTo>
                    <a:pt x="829124" y="1768145"/>
                    <a:pt x="837928" y="1807275"/>
                    <a:pt x="846731" y="1847667"/>
                  </a:cubicBezTo>
                  <a:cubicBezTo>
                    <a:pt x="849246" y="1856503"/>
                    <a:pt x="850504" y="1866601"/>
                    <a:pt x="866853" y="1864076"/>
                  </a:cubicBezTo>
                  <a:cubicBezTo>
                    <a:pt x="947340" y="1850192"/>
                    <a:pt x="1029086" y="1840094"/>
                    <a:pt x="1110831" y="1832520"/>
                  </a:cubicBezTo>
                  <a:cubicBezTo>
                    <a:pt x="1211440" y="1824947"/>
                    <a:pt x="1312050" y="1823684"/>
                    <a:pt x="1413917" y="1828733"/>
                  </a:cubicBezTo>
                  <a:cubicBezTo>
                    <a:pt x="1506981" y="1832520"/>
                    <a:pt x="1598787" y="1842618"/>
                    <a:pt x="1690593" y="1856503"/>
                  </a:cubicBezTo>
                  <a:cubicBezTo>
                    <a:pt x="1706942" y="1859027"/>
                    <a:pt x="1711972" y="1853978"/>
                    <a:pt x="1714488" y="1840094"/>
                  </a:cubicBezTo>
                  <a:cubicBezTo>
                    <a:pt x="1723291" y="1803488"/>
                    <a:pt x="1732094" y="1765621"/>
                    <a:pt x="1739640" y="1727753"/>
                  </a:cubicBezTo>
                  <a:cubicBezTo>
                    <a:pt x="1742155" y="1712606"/>
                    <a:pt x="1748443" y="1708820"/>
                    <a:pt x="1762277" y="1708820"/>
                  </a:cubicBezTo>
                  <a:cubicBezTo>
                    <a:pt x="1800006" y="1708820"/>
                    <a:pt x="1836477" y="1710082"/>
                    <a:pt x="1872948" y="1708820"/>
                  </a:cubicBezTo>
                  <a:cubicBezTo>
                    <a:pt x="1891812" y="1707557"/>
                    <a:pt x="1894327" y="1716393"/>
                    <a:pt x="1890554" y="1730278"/>
                  </a:cubicBezTo>
                  <a:cubicBezTo>
                    <a:pt x="1880493" y="1779506"/>
                    <a:pt x="1870432" y="1827471"/>
                    <a:pt x="1857856" y="1875437"/>
                  </a:cubicBezTo>
                  <a:cubicBezTo>
                    <a:pt x="1855341" y="1890583"/>
                    <a:pt x="1857856" y="1896895"/>
                    <a:pt x="1872948" y="1900681"/>
                  </a:cubicBezTo>
                  <a:cubicBezTo>
                    <a:pt x="1962238" y="1928451"/>
                    <a:pt x="2051529" y="1954958"/>
                    <a:pt x="2137047" y="1994088"/>
                  </a:cubicBezTo>
                  <a:cubicBezTo>
                    <a:pt x="2153396" y="2001661"/>
                    <a:pt x="2162200" y="1996612"/>
                    <a:pt x="2173518" y="1983990"/>
                  </a:cubicBezTo>
                  <a:cubicBezTo>
                    <a:pt x="2314371" y="1803488"/>
                    <a:pt x="2386056" y="1595217"/>
                    <a:pt x="2420011" y="1371799"/>
                  </a:cubicBezTo>
                  <a:cubicBezTo>
                    <a:pt x="2421269" y="1356652"/>
                    <a:pt x="2417496" y="1352865"/>
                    <a:pt x="2402405" y="1352865"/>
                  </a:cubicBezTo>
                  <a:cubicBezTo>
                    <a:pt x="2364676" y="1354128"/>
                    <a:pt x="2326947" y="1352865"/>
                    <a:pt x="2289219" y="1352865"/>
                  </a:cubicBezTo>
                  <a:cubicBezTo>
                    <a:pt x="2275385" y="1352865"/>
                    <a:pt x="2270355" y="1349079"/>
                    <a:pt x="2270355" y="1335194"/>
                  </a:cubicBezTo>
                  <a:cubicBezTo>
                    <a:pt x="2270355" y="1297326"/>
                    <a:pt x="2270355" y="1259459"/>
                    <a:pt x="2270355" y="1221591"/>
                  </a:cubicBezTo>
                  <a:cubicBezTo>
                    <a:pt x="2270355" y="1206444"/>
                    <a:pt x="2275385" y="1202658"/>
                    <a:pt x="2289219" y="1202658"/>
                  </a:cubicBezTo>
                  <a:cubicBezTo>
                    <a:pt x="2316887" y="1202658"/>
                    <a:pt x="2344554" y="1202658"/>
                    <a:pt x="2372222" y="1202658"/>
                  </a:cubicBezTo>
                  <a:cubicBezTo>
                    <a:pt x="2421269" y="1202658"/>
                    <a:pt x="2421269" y="1202658"/>
                    <a:pt x="2414981" y="1153430"/>
                  </a:cubicBezTo>
                  <a:cubicBezTo>
                    <a:pt x="2391086" y="936323"/>
                    <a:pt x="2309341" y="741937"/>
                    <a:pt x="2176033" y="570271"/>
                  </a:cubicBezTo>
                  <a:cubicBezTo>
                    <a:pt x="2172889" y="565853"/>
                    <a:pt x="2170059" y="562697"/>
                    <a:pt x="2166601" y="561277"/>
                  </a:cubicBezTo>
                  <a:close/>
                  <a:moveTo>
                    <a:pt x="1648157" y="216336"/>
                  </a:moveTo>
                  <a:cubicBezTo>
                    <a:pt x="1670745" y="251678"/>
                    <a:pt x="1693333" y="287019"/>
                    <a:pt x="1714666" y="323623"/>
                  </a:cubicBezTo>
                  <a:cubicBezTo>
                    <a:pt x="1748548" y="381683"/>
                    <a:pt x="1774900" y="443531"/>
                    <a:pt x="1799998" y="505378"/>
                  </a:cubicBezTo>
                  <a:cubicBezTo>
                    <a:pt x="1803763" y="512951"/>
                    <a:pt x="1802508" y="524311"/>
                    <a:pt x="1817566" y="521787"/>
                  </a:cubicBezTo>
                  <a:cubicBezTo>
                    <a:pt x="1892859" y="502854"/>
                    <a:pt x="1969407" y="483921"/>
                    <a:pt x="2043445" y="446055"/>
                  </a:cubicBezTo>
                  <a:cubicBezTo>
                    <a:pt x="1925486" y="342555"/>
                    <a:pt x="1794978" y="264299"/>
                    <a:pt x="1648157" y="216336"/>
                  </a:cubicBezTo>
                  <a:close/>
                  <a:moveTo>
                    <a:pt x="908382" y="216336"/>
                  </a:moveTo>
                  <a:cubicBezTo>
                    <a:pt x="762747" y="266930"/>
                    <a:pt x="642222" y="351674"/>
                    <a:pt x="524207" y="441477"/>
                  </a:cubicBezTo>
                  <a:cubicBezTo>
                    <a:pt x="590747" y="483217"/>
                    <a:pt x="662309" y="504719"/>
                    <a:pt x="735127" y="523692"/>
                  </a:cubicBezTo>
                  <a:cubicBezTo>
                    <a:pt x="747682" y="527486"/>
                    <a:pt x="751448" y="518632"/>
                    <a:pt x="753959" y="509778"/>
                  </a:cubicBezTo>
                  <a:cubicBezTo>
                    <a:pt x="766514" y="479422"/>
                    <a:pt x="779068" y="449066"/>
                    <a:pt x="791623" y="418710"/>
                  </a:cubicBezTo>
                  <a:cubicBezTo>
                    <a:pt x="823010" y="349144"/>
                    <a:pt x="859419" y="282108"/>
                    <a:pt x="908382" y="216336"/>
                  </a:cubicBezTo>
                  <a:close/>
                  <a:moveTo>
                    <a:pt x="1296865" y="151855"/>
                  </a:moveTo>
                  <a:cubicBezTo>
                    <a:pt x="1239019" y="146963"/>
                    <a:pt x="1180544" y="167160"/>
                    <a:pt x="1122697" y="213234"/>
                  </a:cubicBezTo>
                  <a:cubicBezTo>
                    <a:pt x="1012035" y="302857"/>
                    <a:pt x="952931" y="426563"/>
                    <a:pt x="898857" y="557842"/>
                  </a:cubicBezTo>
                  <a:cubicBezTo>
                    <a:pt x="929038" y="561629"/>
                    <a:pt x="956704" y="565415"/>
                    <a:pt x="983112" y="567940"/>
                  </a:cubicBezTo>
                  <a:cubicBezTo>
                    <a:pt x="1117667" y="583088"/>
                    <a:pt x="1252223" y="589399"/>
                    <a:pt x="1386778" y="584350"/>
                  </a:cubicBezTo>
                  <a:cubicBezTo>
                    <a:pt x="1472290" y="581825"/>
                    <a:pt x="1555287" y="576776"/>
                    <a:pt x="1639542" y="561629"/>
                  </a:cubicBezTo>
                  <a:cubicBezTo>
                    <a:pt x="1645829" y="560366"/>
                    <a:pt x="1667207" y="566678"/>
                    <a:pt x="1657147" y="543956"/>
                  </a:cubicBezTo>
                  <a:cubicBezTo>
                    <a:pt x="1609361" y="432874"/>
                    <a:pt x="1554030" y="326841"/>
                    <a:pt x="1467260" y="241005"/>
                  </a:cubicBezTo>
                  <a:cubicBezTo>
                    <a:pt x="1411929" y="186726"/>
                    <a:pt x="1354711" y="156746"/>
                    <a:pt x="1296865" y="151855"/>
                  </a:cubicBezTo>
                  <a:close/>
                  <a:moveTo>
                    <a:pt x="1281939" y="68"/>
                  </a:moveTo>
                  <a:cubicBezTo>
                    <a:pt x="2006566" y="-7502"/>
                    <a:pt x="2568907" y="611944"/>
                    <a:pt x="2566391" y="1289423"/>
                  </a:cubicBezTo>
                  <a:cubicBezTo>
                    <a:pt x="2565133" y="1958071"/>
                    <a:pt x="2005308" y="2566162"/>
                    <a:pt x="1280681" y="2562377"/>
                  </a:cubicBezTo>
                  <a:cubicBezTo>
                    <a:pt x="568634" y="2567423"/>
                    <a:pt x="-1256" y="1965640"/>
                    <a:pt x="2" y="1281853"/>
                  </a:cubicBezTo>
                  <a:cubicBezTo>
                    <a:pt x="2518" y="558956"/>
                    <a:pt x="582472" y="6376"/>
                    <a:pt x="1281939" y="68"/>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45" name="Group 144">
            <a:extLst>
              <a:ext uri="{FF2B5EF4-FFF2-40B4-BE49-F238E27FC236}">
                <a16:creationId xmlns:a16="http://schemas.microsoft.com/office/drawing/2014/main" id="{A9EC1D42-5B23-4442-8DC0-487046EFD722}"/>
              </a:ext>
            </a:extLst>
          </p:cNvPr>
          <p:cNvGrpSpPr/>
          <p:nvPr/>
        </p:nvGrpSpPr>
        <p:grpSpPr>
          <a:xfrm>
            <a:off x="6285080" y="4580579"/>
            <a:ext cx="935510" cy="935510"/>
            <a:chOff x="6361280" y="4580579"/>
            <a:chExt cx="935510" cy="935510"/>
          </a:xfrm>
        </p:grpSpPr>
        <p:grpSp>
          <p:nvGrpSpPr>
            <p:cNvPr id="80" name="Group 79">
              <a:extLst>
                <a:ext uri="{FF2B5EF4-FFF2-40B4-BE49-F238E27FC236}">
                  <a16:creationId xmlns:a16="http://schemas.microsoft.com/office/drawing/2014/main" id="{960E3B3D-B191-4C5F-BEF5-57EB435A336A}"/>
                </a:ext>
              </a:extLst>
            </p:cNvPr>
            <p:cNvGrpSpPr/>
            <p:nvPr/>
          </p:nvGrpSpPr>
          <p:grpSpPr>
            <a:xfrm>
              <a:off x="6361280" y="4580579"/>
              <a:ext cx="935510" cy="935510"/>
              <a:chOff x="343218" y="4580579"/>
              <a:chExt cx="935510" cy="935510"/>
            </a:xfrm>
          </p:grpSpPr>
          <p:sp>
            <p:nvSpPr>
              <p:cNvPr id="89" name="Oval 88">
                <a:extLst>
                  <a:ext uri="{FF2B5EF4-FFF2-40B4-BE49-F238E27FC236}">
                    <a16:creationId xmlns:a16="http://schemas.microsoft.com/office/drawing/2014/main" id="{E0AFD27C-6B9F-4AEE-A690-4D11D9534AA4}"/>
                  </a:ext>
                </a:extLst>
              </p:cNvPr>
              <p:cNvSpPr/>
              <p:nvPr/>
            </p:nvSpPr>
            <p:spPr bwMode="auto">
              <a:xfrm>
                <a:off x="420790" y="4658153"/>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90" name="Arc 89">
                <a:extLst>
                  <a:ext uri="{FF2B5EF4-FFF2-40B4-BE49-F238E27FC236}">
                    <a16:creationId xmlns:a16="http://schemas.microsoft.com/office/drawing/2014/main" id="{282962E7-C90B-459F-8EB1-420E8F9C6C0B}"/>
                  </a:ext>
                </a:extLst>
              </p:cNvPr>
              <p:cNvSpPr/>
              <p:nvPr/>
            </p:nvSpPr>
            <p:spPr>
              <a:xfrm flipH="1">
                <a:off x="343218" y="4580579"/>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sp>
          <p:nvSpPr>
            <p:cNvPr id="127" name="Freeform 5">
              <a:extLst>
                <a:ext uri="{FF2B5EF4-FFF2-40B4-BE49-F238E27FC236}">
                  <a16:creationId xmlns:a16="http://schemas.microsoft.com/office/drawing/2014/main" id="{8E547A96-2C7D-4EFC-BA2D-369FF215139A}"/>
                </a:ext>
              </a:extLst>
            </p:cNvPr>
            <p:cNvSpPr>
              <a:spLocks noEditPoints="1"/>
            </p:cNvSpPr>
            <p:nvPr/>
          </p:nvSpPr>
          <p:spPr bwMode="auto">
            <a:xfrm>
              <a:off x="6540835" y="4815840"/>
              <a:ext cx="576400" cy="364636"/>
            </a:xfrm>
            <a:custGeom>
              <a:avLst/>
              <a:gdLst>
                <a:gd name="T0" fmla="*/ 1037 w 2059"/>
                <a:gd name="T1" fmla="*/ 1108 h 1298"/>
                <a:gd name="T2" fmla="*/ 485 w 2059"/>
                <a:gd name="T3" fmla="*/ 1108 h 1298"/>
                <a:gd name="T4" fmla="*/ 447 w 2059"/>
                <a:gd name="T5" fmla="*/ 1132 h 1298"/>
                <a:gd name="T6" fmla="*/ 105 w 2059"/>
                <a:gd name="T7" fmla="*/ 1210 h 1298"/>
                <a:gd name="T8" fmla="*/ 21 w 2059"/>
                <a:gd name="T9" fmla="*/ 979 h 1298"/>
                <a:gd name="T10" fmla="*/ 192 w 2059"/>
                <a:gd name="T11" fmla="*/ 805 h 1298"/>
                <a:gd name="T12" fmla="*/ 324 w 2059"/>
                <a:gd name="T13" fmla="*/ 814 h 1298"/>
                <a:gd name="T14" fmla="*/ 353 w 2059"/>
                <a:gd name="T15" fmla="*/ 807 h 1298"/>
                <a:gd name="T16" fmla="*/ 815 w 2059"/>
                <a:gd name="T17" fmla="*/ 346 h 1298"/>
                <a:gd name="T18" fmla="*/ 821 w 2059"/>
                <a:gd name="T19" fmla="*/ 313 h 1298"/>
                <a:gd name="T20" fmla="*/ 1052 w 2059"/>
                <a:gd name="T21" fmla="*/ 7 h 1298"/>
                <a:gd name="T22" fmla="*/ 1264 w 2059"/>
                <a:gd name="T23" fmla="*/ 207 h 1298"/>
                <a:gd name="T24" fmla="*/ 1251 w 2059"/>
                <a:gd name="T25" fmla="*/ 315 h 1298"/>
                <a:gd name="T26" fmla="*/ 1258 w 2059"/>
                <a:gd name="T27" fmla="*/ 345 h 1298"/>
                <a:gd name="T28" fmla="*/ 1718 w 2059"/>
                <a:gd name="T29" fmla="*/ 805 h 1298"/>
                <a:gd name="T30" fmla="*/ 1748 w 2059"/>
                <a:gd name="T31" fmla="*/ 811 h 1298"/>
                <a:gd name="T32" fmla="*/ 2055 w 2059"/>
                <a:gd name="T33" fmla="*/ 1034 h 1298"/>
                <a:gd name="T34" fmla="*/ 1926 w 2059"/>
                <a:gd name="T35" fmla="*/ 1232 h 1298"/>
                <a:gd name="T36" fmla="*/ 1693 w 2059"/>
                <a:gd name="T37" fmla="*/ 1211 h 1298"/>
                <a:gd name="T38" fmla="*/ 1624 w 2059"/>
                <a:gd name="T39" fmla="*/ 1130 h 1298"/>
                <a:gd name="T40" fmla="*/ 1587 w 2059"/>
                <a:gd name="T41" fmla="*/ 1108 h 1298"/>
                <a:gd name="T42" fmla="*/ 1037 w 2059"/>
                <a:gd name="T43" fmla="*/ 1108 h 1298"/>
                <a:gd name="T44" fmla="*/ 1035 w 2059"/>
                <a:gd name="T45" fmla="*/ 951 h 1298"/>
                <a:gd name="T46" fmla="*/ 1589 w 2059"/>
                <a:gd name="T47" fmla="*/ 951 h 1298"/>
                <a:gd name="T48" fmla="*/ 1614 w 2059"/>
                <a:gd name="T49" fmla="*/ 940 h 1298"/>
                <a:gd name="T50" fmla="*/ 1607 w 2059"/>
                <a:gd name="T51" fmla="*/ 918 h 1298"/>
                <a:gd name="T52" fmla="*/ 1145 w 2059"/>
                <a:gd name="T53" fmla="*/ 456 h 1298"/>
                <a:gd name="T54" fmla="*/ 1117 w 2059"/>
                <a:gd name="T55" fmla="*/ 450 h 1298"/>
                <a:gd name="T56" fmla="*/ 962 w 2059"/>
                <a:gd name="T57" fmla="*/ 452 h 1298"/>
                <a:gd name="T58" fmla="*/ 924 w 2059"/>
                <a:gd name="T59" fmla="*/ 461 h 1298"/>
                <a:gd name="T60" fmla="*/ 468 w 2059"/>
                <a:gd name="T61" fmla="*/ 917 h 1298"/>
                <a:gd name="T62" fmla="*/ 459 w 2059"/>
                <a:gd name="T63" fmla="*/ 926 h 1298"/>
                <a:gd name="T64" fmla="*/ 468 w 2059"/>
                <a:gd name="T65" fmla="*/ 950 h 1298"/>
                <a:gd name="T66" fmla="*/ 489 w 2059"/>
                <a:gd name="T67" fmla="*/ 951 h 1298"/>
                <a:gd name="T68" fmla="*/ 1035 w 2059"/>
                <a:gd name="T69" fmla="*/ 951 h 1298"/>
                <a:gd name="T70" fmla="*/ 1110 w 2059"/>
                <a:gd name="T71" fmla="*/ 235 h 1298"/>
                <a:gd name="T72" fmla="*/ 1036 w 2059"/>
                <a:gd name="T73" fmla="*/ 163 h 1298"/>
                <a:gd name="T74" fmla="*/ 963 w 2059"/>
                <a:gd name="T75" fmla="*/ 237 h 1298"/>
                <a:gd name="T76" fmla="*/ 1038 w 2059"/>
                <a:gd name="T77" fmla="*/ 310 h 1298"/>
                <a:gd name="T78" fmla="*/ 1110 w 2059"/>
                <a:gd name="T79" fmla="*/ 235 h 1298"/>
                <a:gd name="T80" fmla="*/ 1826 w 2059"/>
                <a:gd name="T81" fmla="*/ 1099 h 1298"/>
                <a:gd name="T82" fmla="*/ 1899 w 2059"/>
                <a:gd name="T83" fmla="*/ 1026 h 1298"/>
                <a:gd name="T84" fmla="*/ 1828 w 2059"/>
                <a:gd name="T85" fmla="*/ 952 h 1298"/>
                <a:gd name="T86" fmla="*/ 1753 w 2059"/>
                <a:gd name="T87" fmla="*/ 1025 h 1298"/>
                <a:gd name="T88" fmla="*/ 1826 w 2059"/>
                <a:gd name="T89" fmla="*/ 1099 h 1298"/>
                <a:gd name="T90" fmla="*/ 171 w 2059"/>
                <a:gd name="T91" fmla="*/ 1028 h 1298"/>
                <a:gd name="T92" fmla="*/ 244 w 2059"/>
                <a:gd name="T93" fmla="*/ 1103 h 1298"/>
                <a:gd name="T94" fmla="*/ 318 w 2059"/>
                <a:gd name="T95" fmla="*/ 1030 h 1298"/>
                <a:gd name="T96" fmla="*/ 243 w 2059"/>
                <a:gd name="T97" fmla="*/ 956 h 1298"/>
                <a:gd name="T98" fmla="*/ 171 w 2059"/>
                <a:gd name="T99" fmla="*/ 1028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59" h="1298">
                  <a:moveTo>
                    <a:pt x="1037" y="1108"/>
                  </a:moveTo>
                  <a:cubicBezTo>
                    <a:pt x="853" y="1108"/>
                    <a:pt x="669" y="1108"/>
                    <a:pt x="485" y="1108"/>
                  </a:cubicBezTo>
                  <a:cubicBezTo>
                    <a:pt x="466" y="1108"/>
                    <a:pt x="456" y="1114"/>
                    <a:pt x="447" y="1132"/>
                  </a:cubicBezTo>
                  <a:cubicBezTo>
                    <a:pt x="389" y="1258"/>
                    <a:pt x="217" y="1298"/>
                    <a:pt x="105" y="1210"/>
                  </a:cubicBezTo>
                  <a:cubicBezTo>
                    <a:pt x="30" y="1151"/>
                    <a:pt x="0" y="1072"/>
                    <a:pt x="21" y="979"/>
                  </a:cubicBezTo>
                  <a:cubicBezTo>
                    <a:pt x="41" y="887"/>
                    <a:pt x="101" y="829"/>
                    <a:pt x="192" y="805"/>
                  </a:cubicBezTo>
                  <a:cubicBezTo>
                    <a:pt x="237" y="794"/>
                    <a:pt x="281" y="797"/>
                    <a:pt x="324" y="814"/>
                  </a:cubicBezTo>
                  <a:cubicBezTo>
                    <a:pt x="336" y="819"/>
                    <a:pt x="344" y="816"/>
                    <a:pt x="353" y="807"/>
                  </a:cubicBezTo>
                  <a:cubicBezTo>
                    <a:pt x="507" y="653"/>
                    <a:pt x="661" y="500"/>
                    <a:pt x="815" y="346"/>
                  </a:cubicBezTo>
                  <a:cubicBezTo>
                    <a:pt x="825" y="336"/>
                    <a:pt x="826" y="326"/>
                    <a:pt x="821" y="313"/>
                  </a:cubicBezTo>
                  <a:cubicBezTo>
                    <a:pt x="768" y="154"/>
                    <a:pt x="884" y="0"/>
                    <a:pt x="1052" y="7"/>
                  </a:cubicBezTo>
                  <a:cubicBezTo>
                    <a:pt x="1158" y="12"/>
                    <a:pt x="1253" y="102"/>
                    <a:pt x="1264" y="207"/>
                  </a:cubicBezTo>
                  <a:cubicBezTo>
                    <a:pt x="1268" y="244"/>
                    <a:pt x="1264" y="280"/>
                    <a:pt x="1251" y="315"/>
                  </a:cubicBezTo>
                  <a:cubicBezTo>
                    <a:pt x="1247" y="328"/>
                    <a:pt x="1249" y="336"/>
                    <a:pt x="1258" y="345"/>
                  </a:cubicBezTo>
                  <a:cubicBezTo>
                    <a:pt x="1412" y="498"/>
                    <a:pt x="1565" y="651"/>
                    <a:pt x="1718" y="805"/>
                  </a:cubicBezTo>
                  <a:cubicBezTo>
                    <a:pt x="1727" y="814"/>
                    <a:pt x="1736" y="816"/>
                    <a:pt x="1748" y="811"/>
                  </a:cubicBezTo>
                  <a:cubicBezTo>
                    <a:pt x="1905" y="758"/>
                    <a:pt x="2059" y="869"/>
                    <a:pt x="2055" y="1034"/>
                  </a:cubicBezTo>
                  <a:cubicBezTo>
                    <a:pt x="2052" y="1124"/>
                    <a:pt x="2008" y="1192"/>
                    <a:pt x="1926" y="1232"/>
                  </a:cubicBezTo>
                  <a:cubicBezTo>
                    <a:pt x="1845" y="1272"/>
                    <a:pt x="1766" y="1261"/>
                    <a:pt x="1693" y="1211"/>
                  </a:cubicBezTo>
                  <a:cubicBezTo>
                    <a:pt x="1662" y="1191"/>
                    <a:pt x="1639" y="1163"/>
                    <a:pt x="1624" y="1130"/>
                  </a:cubicBezTo>
                  <a:cubicBezTo>
                    <a:pt x="1616" y="1112"/>
                    <a:pt x="1605" y="1108"/>
                    <a:pt x="1587" y="1108"/>
                  </a:cubicBezTo>
                  <a:cubicBezTo>
                    <a:pt x="1404" y="1108"/>
                    <a:pt x="1220" y="1108"/>
                    <a:pt x="1037" y="1108"/>
                  </a:cubicBezTo>
                  <a:close/>
                  <a:moveTo>
                    <a:pt x="1035" y="951"/>
                  </a:moveTo>
                  <a:cubicBezTo>
                    <a:pt x="1220" y="951"/>
                    <a:pt x="1404" y="951"/>
                    <a:pt x="1589" y="951"/>
                  </a:cubicBezTo>
                  <a:cubicBezTo>
                    <a:pt x="1599" y="951"/>
                    <a:pt x="1609" y="952"/>
                    <a:pt x="1614" y="940"/>
                  </a:cubicBezTo>
                  <a:cubicBezTo>
                    <a:pt x="1619" y="930"/>
                    <a:pt x="1613" y="924"/>
                    <a:pt x="1607" y="918"/>
                  </a:cubicBezTo>
                  <a:cubicBezTo>
                    <a:pt x="1453" y="764"/>
                    <a:pt x="1299" y="610"/>
                    <a:pt x="1145" y="456"/>
                  </a:cubicBezTo>
                  <a:cubicBezTo>
                    <a:pt x="1136" y="447"/>
                    <a:pt x="1128" y="446"/>
                    <a:pt x="1117" y="450"/>
                  </a:cubicBezTo>
                  <a:cubicBezTo>
                    <a:pt x="1066" y="470"/>
                    <a:pt x="1014" y="470"/>
                    <a:pt x="962" y="452"/>
                  </a:cubicBezTo>
                  <a:cubicBezTo>
                    <a:pt x="946" y="446"/>
                    <a:pt x="936" y="448"/>
                    <a:pt x="924" y="461"/>
                  </a:cubicBezTo>
                  <a:cubicBezTo>
                    <a:pt x="772" y="613"/>
                    <a:pt x="620" y="765"/>
                    <a:pt x="468" y="917"/>
                  </a:cubicBezTo>
                  <a:cubicBezTo>
                    <a:pt x="465" y="920"/>
                    <a:pt x="462" y="923"/>
                    <a:pt x="459" y="926"/>
                  </a:cubicBezTo>
                  <a:cubicBezTo>
                    <a:pt x="451" y="936"/>
                    <a:pt x="455" y="947"/>
                    <a:pt x="468" y="950"/>
                  </a:cubicBezTo>
                  <a:cubicBezTo>
                    <a:pt x="475" y="951"/>
                    <a:pt x="482" y="951"/>
                    <a:pt x="489" y="951"/>
                  </a:cubicBezTo>
                  <a:cubicBezTo>
                    <a:pt x="671" y="951"/>
                    <a:pt x="853" y="951"/>
                    <a:pt x="1035" y="951"/>
                  </a:cubicBezTo>
                  <a:close/>
                  <a:moveTo>
                    <a:pt x="1110" y="235"/>
                  </a:moveTo>
                  <a:cubicBezTo>
                    <a:pt x="1110" y="194"/>
                    <a:pt x="1078" y="163"/>
                    <a:pt x="1036" y="163"/>
                  </a:cubicBezTo>
                  <a:cubicBezTo>
                    <a:pt x="994" y="164"/>
                    <a:pt x="963" y="195"/>
                    <a:pt x="963" y="237"/>
                  </a:cubicBezTo>
                  <a:cubicBezTo>
                    <a:pt x="963" y="277"/>
                    <a:pt x="998" y="311"/>
                    <a:pt x="1038" y="310"/>
                  </a:cubicBezTo>
                  <a:cubicBezTo>
                    <a:pt x="1078" y="309"/>
                    <a:pt x="1111" y="275"/>
                    <a:pt x="1110" y="235"/>
                  </a:cubicBezTo>
                  <a:close/>
                  <a:moveTo>
                    <a:pt x="1826" y="1099"/>
                  </a:moveTo>
                  <a:cubicBezTo>
                    <a:pt x="1868" y="1099"/>
                    <a:pt x="1899" y="1068"/>
                    <a:pt x="1899" y="1026"/>
                  </a:cubicBezTo>
                  <a:cubicBezTo>
                    <a:pt x="1899" y="985"/>
                    <a:pt x="1868" y="953"/>
                    <a:pt x="1828" y="952"/>
                  </a:cubicBezTo>
                  <a:cubicBezTo>
                    <a:pt x="1788" y="952"/>
                    <a:pt x="1753" y="985"/>
                    <a:pt x="1753" y="1025"/>
                  </a:cubicBezTo>
                  <a:cubicBezTo>
                    <a:pt x="1752" y="1065"/>
                    <a:pt x="1786" y="1099"/>
                    <a:pt x="1826" y="1099"/>
                  </a:cubicBezTo>
                  <a:close/>
                  <a:moveTo>
                    <a:pt x="171" y="1028"/>
                  </a:moveTo>
                  <a:cubicBezTo>
                    <a:pt x="171" y="1070"/>
                    <a:pt x="204" y="1103"/>
                    <a:pt x="244" y="1103"/>
                  </a:cubicBezTo>
                  <a:cubicBezTo>
                    <a:pt x="284" y="1102"/>
                    <a:pt x="318" y="1068"/>
                    <a:pt x="318" y="1030"/>
                  </a:cubicBezTo>
                  <a:cubicBezTo>
                    <a:pt x="318" y="988"/>
                    <a:pt x="285" y="955"/>
                    <a:pt x="243" y="956"/>
                  </a:cubicBezTo>
                  <a:cubicBezTo>
                    <a:pt x="201" y="956"/>
                    <a:pt x="171" y="987"/>
                    <a:pt x="171" y="102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46" name="Group 145">
            <a:extLst>
              <a:ext uri="{FF2B5EF4-FFF2-40B4-BE49-F238E27FC236}">
                <a16:creationId xmlns:a16="http://schemas.microsoft.com/office/drawing/2014/main" id="{E00C3654-15C2-4DA1-B7D1-99D3D5466525}"/>
              </a:ext>
            </a:extLst>
          </p:cNvPr>
          <p:cNvGrpSpPr/>
          <p:nvPr/>
        </p:nvGrpSpPr>
        <p:grpSpPr>
          <a:xfrm>
            <a:off x="6285080" y="3451392"/>
            <a:ext cx="935510" cy="935510"/>
            <a:chOff x="6361280" y="3451392"/>
            <a:chExt cx="935510" cy="935510"/>
          </a:xfrm>
        </p:grpSpPr>
        <p:grpSp>
          <p:nvGrpSpPr>
            <p:cNvPr id="79" name="Group 78">
              <a:extLst>
                <a:ext uri="{FF2B5EF4-FFF2-40B4-BE49-F238E27FC236}">
                  <a16:creationId xmlns:a16="http://schemas.microsoft.com/office/drawing/2014/main" id="{9D5A7A90-C1D6-4B30-8819-6E505B04CCED}"/>
                </a:ext>
              </a:extLst>
            </p:cNvPr>
            <p:cNvGrpSpPr/>
            <p:nvPr/>
          </p:nvGrpSpPr>
          <p:grpSpPr>
            <a:xfrm>
              <a:off x="6361280" y="3451392"/>
              <a:ext cx="935510" cy="935510"/>
              <a:chOff x="343218" y="3451392"/>
              <a:chExt cx="935510" cy="935510"/>
            </a:xfrm>
          </p:grpSpPr>
          <p:sp>
            <p:nvSpPr>
              <p:cNvPr id="91" name="Oval 90">
                <a:extLst>
                  <a:ext uri="{FF2B5EF4-FFF2-40B4-BE49-F238E27FC236}">
                    <a16:creationId xmlns:a16="http://schemas.microsoft.com/office/drawing/2014/main" id="{999B8F7F-0A31-409D-9E7F-D7976B072713}"/>
                  </a:ext>
                </a:extLst>
              </p:cNvPr>
              <p:cNvSpPr/>
              <p:nvPr/>
            </p:nvSpPr>
            <p:spPr bwMode="auto">
              <a:xfrm>
                <a:off x="420790" y="3528966"/>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92" name="Arc 91">
                <a:extLst>
                  <a:ext uri="{FF2B5EF4-FFF2-40B4-BE49-F238E27FC236}">
                    <a16:creationId xmlns:a16="http://schemas.microsoft.com/office/drawing/2014/main" id="{AC0A7169-3274-4335-9B73-D6B9B5FA9375}"/>
                  </a:ext>
                </a:extLst>
              </p:cNvPr>
              <p:cNvSpPr/>
              <p:nvPr/>
            </p:nvSpPr>
            <p:spPr>
              <a:xfrm>
                <a:off x="343218" y="3451392"/>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sp>
          <p:nvSpPr>
            <p:cNvPr id="128" name="Freeform: Shape 127">
              <a:extLst>
                <a:ext uri="{FF2B5EF4-FFF2-40B4-BE49-F238E27FC236}">
                  <a16:creationId xmlns:a16="http://schemas.microsoft.com/office/drawing/2014/main" id="{82CEFC61-6E99-472C-95CF-A65BC3F6AC9E}"/>
                </a:ext>
              </a:extLst>
            </p:cNvPr>
            <p:cNvSpPr/>
            <p:nvPr/>
          </p:nvSpPr>
          <p:spPr>
            <a:xfrm>
              <a:off x="6604064" y="3694177"/>
              <a:ext cx="449944" cy="449942"/>
            </a:xfrm>
            <a:custGeom>
              <a:avLst/>
              <a:gdLst>
                <a:gd name="connsiteX0" fmla="*/ 171746 w 515691"/>
                <a:gd name="connsiteY0" fmla="*/ 49093 h 515691"/>
                <a:gd name="connsiteX1" fmla="*/ 344451 w 515691"/>
                <a:gd name="connsiteY1" fmla="*/ 49093 h 515691"/>
                <a:gd name="connsiteX2" fmla="*/ 466597 w 515691"/>
                <a:gd name="connsiteY2" fmla="*/ 170868 h 515691"/>
                <a:gd name="connsiteX3" fmla="*/ 466597 w 515691"/>
                <a:gd name="connsiteY3" fmla="*/ 322946 h 515691"/>
                <a:gd name="connsiteX4" fmla="*/ 408613 w 515691"/>
                <a:gd name="connsiteY4" fmla="*/ 268304 h 515691"/>
                <a:gd name="connsiteX5" fmla="*/ 451085 w 515691"/>
                <a:gd name="connsiteY5" fmla="*/ 230081 h 515691"/>
                <a:gd name="connsiteX6" fmla="*/ 333683 w 515691"/>
                <a:gd name="connsiteY6" fmla="*/ 230081 h 515691"/>
                <a:gd name="connsiteX7" fmla="*/ 333683 w 515691"/>
                <a:gd name="connsiteY7" fmla="*/ 340954 h 515691"/>
                <a:gd name="connsiteX8" fmla="*/ 372050 w 515691"/>
                <a:gd name="connsiteY8" fmla="*/ 302886 h 515691"/>
                <a:gd name="connsiteX9" fmla="*/ 437729 w 515691"/>
                <a:gd name="connsiteY9" fmla="*/ 374206 h 515691"/>
                <a:gd name="connsiteX10" fmla="*/ 344512 w 515691"/>
                <a:gd name="connsiteY10" fmla="*/ 466597 h 515691"/>
                <a:gd name="connsiteX11" fmla="*/ 342945 w 515691"/>
                <a:gd name="connsiteY11" fmla="*/ 466597 h 515691"/>
                <a:gd name="connsiteX12" fmla="*/ 226605 w 515691"/>
                <a:gd name="connsiteY12" fmla="*/ 348545 h 515691"/>
                <a:gd name="connsiteX13" fmla="*/ 251173 w 515691"/>
                <a:gd name="connsiteY13" fmla="*/ 321090 h 515691"/>
                <a:gd name="connsiteX14" fmla="*/ 166837 w 515691"/>
                <a:gd name="connsiteY14" fmla="*/ 321090 h 515691"/>
                <a:gd name="connsiteX15" fmla="*/ 166837 w 515691"/>
                <a:gd name="connsiteY15" fmla="*/ 407540 h 515691"/>
                <a:gd name="connsiteX16" fmla="*/ 194447 w 515691"/>
                <a:gd name="connsiteY16" fmla="*/ 377816 h 515691"/>
                <a:gd name="connsiteX17" fmla="*/ 285909 w 515691"/>
                <a:gd name="connsiteY17" fmla="*/ 466597 h 515691"/>
                <a:gd name="connsiteX18" fmla="*/ 171230 w 515691"/>
                <a:gd name="connsiteY18" fmla="*/ 466597 h 515691"/>
                <a:gd name="connsiteX19" fmla="*/ 49093 w 515691"/>
                <a:gd name="connsiteY19" fmla="*/ 344956 h 515691"/>
                <a:gd name="connsiteX20" fmla="*/ 49093 w 515691"/>
                <a:gd name="connsiteY20" fmla="*/ 174819 h 515691"/>
                <a:gd name="connsiteX21" fmla="*/ 83356 w 515691"/>
                <a:gd name="connsiteY21" fmla="*/ 139690 h 515691"/>
                <a:gd name="connsiteX22" fmla="*/ 174417 w 515691"/>
                <a:gd name="connsiteY22" fmla="*/ 221737 h 515691"/>
                <a:gd name="connsiteX23" fmla="*/ 122548 w 515691"/>
                <a:gd name="connsiteY23" fmla="*/ 275585 h 515691"/>
                <a:gd name="connsiteX24" fmla="*/ 288178 w 515691"/>
                <a:gd name="connsiteY24" fmla="*/ 275585 h 515691"/>
                <a:gd name="connsiteX25" fmla="*/ 288178 w 515691"/>
                <a:gd name="connsiteY25" fmla="*/ 111028 h 515691"/>
                <a:gd name="connsiteX26" fmla="*/ 234031 w 515691"/>
                <a:gd name="connsiteY26" fmla="*/ 165020 h 515691"/>
                <a:gd name="connsiteX27" fmla="*/ 142393 w 515691"/>
                <a:gd name="connsiteY27" fmla="*/ 79179 h 515691"/>
                <a:gd name="connsiteX28" fmla="*/ 159741 w 515691"/>
                <a:gd name="connsiteY28" fmla="*/ 20627 h 515691"/>
                <a:gd name="connsiteX29" fmla="*/ 20627 w 515691"/>
                <a:gd name="connsiteY29" fmla="*/ 163236 h 515691"/>
                <a:gd name="connsiteX30" fmla="*/ 20627 w 515691"/>
                <a:gd name="connsiteY30" fmla="*/ 356776 h 515691"/>
                <a:gd name="connsiteX31" fmla="*/ 159473 w 515691"/>
                <a:gd name="connsiteY31" fmla="*/ 495063 h 515691"/>
                <a:gd name="connsiteX32" fmla="*/ 356229 w 515691"/>
                <a:gd name="connsiteY32" fmla="*/ 495063 h 515691"/>
                <a:gd name="connsiteX33" fmla="*/ 495063 w 515691"/>
                <a:gd name="connsiteY33" fmla="*/ 357477 h 515691"/>
                <a:gd name="connsiteX34" fmla="*/ 495063 w 515691"/>
                <a:gd name="connsiteY34" fmla="*/ 159049 h 515691"/>
                <a:gd name="connsiteX35" fmla="*/ 356219 w 515691"/>
                <a:gd name="connsiteY35" fmla="*/ 20627 h 515691"/>
                <a:gd name="connsiteX36" fmla="*/ 151222 w 515691"/>
                <a:gd name="connsiteY36" fmla="*/ 0 h 515691"/>
                <a:gd name="connsiteX37" fmla="*/ 364780 w 515691"/>
                <a:gd name="connsiteY37" fmla="*/ 0 h 515691"/>
                <a:gd name="connsiteX38" fmla="*/ 515691 w 515691"/>
                <a:gd name="connsiteY38" fmla="*/ 150458 h 515691"/>
                <a:gd name="connsiteX39" fmla="*/ 515691 w 515691"/>
                <a:gd name="connsiteY39" fmla="*/ 366141 h 515691"/>
                <a:gd name="connsiteX40" fmla="*/ 364780 w 515691"/>
                <a:gd name="connsiteY40" fmla="*/ 515691 h 515691"/>
                <a:gd name="connsiteX41" fmla="*/ 150913 w 515691"/>
                <a:gd name="connsiteY41" fmla="*/ 515691 h 515691"/>
                <a:gd name="connsiteX42" fmla="*/ 0 w 515691"/>
                <a:gd name="connsiteY42" fmla="*/ 365378 h 515691"/>
                <a:gd name="connsiteX43" fmla="*/ 0 w 515691"/>
                <a:gd name="connsiteY43" fmla="*/ 155006 h 515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5691" h="515691">
                  <a:moveTo>
                    <a:pt x="171746" y="49093"/>
                  </a:moveTo>
                  <a:lnTo>
                    <a:pt x="344451" y="49093"/>
                  </a:lnTo>
                  <a:lnTo>
                    <a:pt x="466597" y="170868"/>
                  </a:lnTo>
                  <a:lnTo>
                    <a:pt x="466597" y="322946"/>
                  </a:lnTo>
                  <a:lnTo>
                    <a:pt x="408613" y="268304"/>
                  </a:lnTo>
                  <a:lnTo>
                    <a:pt x="451085" y="230081"/>
                  </a:lnTo>
                  <a:lnTo>
                    <a:pt x="333683" y="230081"/>
                  </a:lnTo>
                  <a:lnTo>
                    <a:pt x="333683" y="340954"/>
                  </a:lnTo>
                  <a:lnTo>
                    <a:pt x="372050" y="302886"/>
                  </a:lnTo>
                  <a:lnTo>
                    <a:pt x="437729" y="374206"/>
                  </a:lnTo>
                  <a:lnTo>
                    <a:pt x="344512" y="466597"/>
                  </a:lnTo>
                  <a:lnTo>
                    <a:pt x="342945" y="466597"/>
                  </a:lnTo>
                  <a:lnTo>
                    <a:pt x="226605" y="348545"/>
                  </a:lnTo>
                  <a:lnTo>
                    <a:pt x="251173" y="321090"/>
                  </a:lnTo>
                  <a:lnTo>
                    <a:pt x="166837" y="321090"/>
                  </a:lnTo>
                  <a:lnTo>
                    <a:pt x="166837" y="407540"/>
                  </a:lnTo>
                  <a:lnTo>
                    <a:pt x="194447" y="377816"/>
                  </a:lnTo>
                  <a:lnTo>
                    <a:pt x="285909" y="466597"/>
                  </a:lnTo>
                  <a:lnTo>
                    <a:pt x="171230" y="466597"/>
                  </a:lnTo>
                  <a:lnTo>
                    <a:pt x="49093" y="344956"/>
                  </a:lnTo>
                  <a:lnTo>
                    <a:pt x="49093" y="174819"/>
                  </a:lnTo>
                  <a:lnTo>
                    <a:pt x="83356" y="139690"/>
                  </a:lnTo>
                  <a:lnTo>
                    <a:pt x="174417" y="221737"/>
                  </a:lnTo>
                  <a:lnTo>
                    <a:pt x="122548" y="275585"/>
                  </a:lnTo>
                  <a:lnTo>
                    <a:pt x="288178" y="275585"/>
                  </a:lnTo>
                  <a:lnTo>
                    <a:pt x="288178" y="111028"/>
                  </a:lnTo>
                  <a:lnTo>
                    <a:pt x="234031" y="165020"/>
                  </a:lnTo>
                  <a:lnTo>
                    <a:pt x="142393" y="79179"/>
                  </a:lnTo>
                  <a:close/>
                  <a:moveTo>
                    <a:pt x="159741" y="20627"/>
                  </a:moveTo>
                  <a:lnTo>
                    <a:pt x="20627" y="163236"/>
                  </a:lnTo>
                  <a:lnTo>
                    <a:pt x="20627" y="356776"/>
                  </a:lnTo>
                  <a:lnTo>
                    <a:pt x="159473" y="495063"/>
                  </a:lnTo>
                  <a:lnTo>
                    <a:pt x="356229" y="495063"/>
                  </a:lnTo>
                  <a:lnTo>
                    <a:pt x="495063" y="357477"/>
                  </a:lnTo>
                  <a:lnTo>
                    <a:pt x="495063" y="159049"/>
                  </a:lnTo>
                  <a:lnTo>
                    <a:pt x="356219" y="20627"/>
                  </a:lnTo>
                  <a:close/>
                  <a:moveTo>
                    <a:pt x="151222" y="0"/>
                  </a:moveTo>
                  <a:lnTo>
                    <a:pt x="364780" y="0"/>
                  </a:lnTo>
                  <a:lnTo>
                    <a:pt x="515691" y="150458"/>
                  </a:lnTo>
                  <a:lnTo>
                    <a:pt x="515691" y="366141"/>
                  </a:lnTo>
                  <a:lnTo>
                    <a:pt x="364780" y="515691"/>
                  </a:lnTo>
                  <a:lnTo>
                    <a:pt x="150913" y="515691"/>
                  </a:lnTo>
                  <a:lnTo>
                    <a:pt x="0" y="365378"/>
                  </a:lnTo>
                  <a:lnTo>
                    <a:pt x="0" y="155006"/>
                  </a:lnTo>
                  <a:close/>
                </a:path>
              </a:pathLst>
            </a:custGeom>
            <a:solidFill>
              <a:schemeClr val="bg1"/>
            </a:solidFill>
            <a:ln w="10287" cap="flat">
              <a:noFill/>
              <a:prstDash val="solid"/>
              <a:miter/>
            </a:ln>
          </p:spPr>
          <p:txBody>
            <a:bodyPr rtlCol="0" anchor="ctr"/>
            <a:lstStyle/>
            <a:p>
              <a:endParaRPr lang="en-IN"/>
            </a:p>
          </p:txBody>
        </p:sp>
      </p:grpSp>
      <p:grpSp>
        <p:nvGrpSpPr>
          <p:cNvPr id="144" name="Group 143">
            <a:extLst>
              <a:ext uri="{FF2B5EF4-FFF2-40B4-BE49-F238E27FC236}">
                <a16:creationId xmlns:a16="http://schemas.microsoft.com/office/drawing/2014/main" id="{FC35377A-B4DA-4F83-A3E2-8EF658E9E12D}"/>
              </a:ext>
            </a:extLst>
          </p:cNvPr>
          <p:cNvGrpSpPr/>
          <p:nvPr/>
        </p:nvGrpSpPr>
        <p:grpSpPr>
          <a:xfrm>
            <a:off x="6285080" y="5709765"/>
            <a:ext cx="935510" cy="935510"/>
            <a:chOff x="6361280" y="5709765"/>
            <a:chExt cx="935510" cy="935510"/>
          </a:xfrm>
        </p:grpSpPr>
        <p:grpSp>
          <p:nvGrpSpPr>
            <p:cNvPr id="81" name="Group 80">
              <a:extLst>
                <a:ext uri="{FF2B5EF4-FFF2-40B4-BE49-F238E27FC236}">
                  <a16:creationId xmlns:a16="http://schemas.microsoft.com/office/drawing/2014/main" id="{E64D165C-40C2-45C9-AC3E-401F771ED2FA}"/>
                </a:ext>
              </a:extLst>
            </p:cNvPr>
            <p:cNvGrpSpPr/>
            <p:nvPr/>
          </p:nvGrpSpPr>
          <p:grpSpPr>
            <a:xfrm>
              <a:off x="6361280" y="5709765"/>
              <a:ext cx="935510" cy="935510"/>
              <a:chOff x="343218" y="5709765"/>
              <a:chExt cx="935510" cy="935510"/>
            </a:xfrm>
          </p:grpSpPr>
          <p:sp>
            <p:nvSpPr>
              <p:cNvPr id="87" name="Oval 86">
                <a:extLst>
                  <a:ext uri="{FF2B5EF4-FFF2-40B4-BE49-F238E27FC236}">
                    <a16:creationId xmlns:a16="http://schemas.microsoft.com/office/drawing/2014/main" id="{F9D901A3-47DE-40FE-BB89-745D9CE31E9F}"/>
                  </a:ext>
                </a:extLst>
              </p:cNvPr>
              <p:cNvSpPr/>
              <p:nvPr/>
            </p:nvSpPr>
            <p:spPr bwMode="auto">
              <a:xfrm>
                <a:off x="420790" y="5787339"/>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88" name="Arc 87">
                <a:extLst>
                  <a:ext uri="{FF2B5EF4-FFF2-40B4-BE49-F238E27FC236}">
                    <a16:creationId xmlns:a16="http://schemas.microsoft.com/office/drawing/2014/main" id="{21FB234A-3EF2-4041-9EBE-DDB481539D0A}"/>
                  </a:ext>
                </a:extLst>
              </p:cNvPr>
              <p:cNvSpPr/>
              <p:nvPr/>
            </p:nvSpPr>
            <p:spPr>
              <a:xfrm>
                <a:off x="343218" y="5709765"/>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grpSp>
          <p:nvGrpSpPr>
            <p:cNvPr id="129" name="Group 128">
              <a:extLst>
                <a:ext uri="{FF2B5EF4-FFF2-40B4-BE49-F238E27FC236}">
                  <a16:creationId xmlns:a16="http://schemas.microsoft.com/office/drawing/2014/main" id="{9C4CCE54-E278-41E4-A29C-606C946AF93E}"/>
                </a:ext>
              </a:extLst>
            </p:cNvPr>
            <p:cNvGrpSpPr/>
            <p:nvPr/>
          </p:nvGrpSpPr>
          <p:grpSpPr>
            <a:xfrm>
              <a:off x="6591227" y="5960487"/>
              <a:ext cx="475617" cy="434066"/>
              <a:chOff x="4961669" y="1577353"/>
              <a:chExt cx="689443" cy="629211"/>
            </a:xfrm>
            <a:solidFill>
              <a:schemeClr val="bg1"/>
            </a:solidFill>
          </p:grpSpPr>
          <p:sp>
            <p:nvSpPr>
              <p:cNvPr id="130" name="Freeform: Shape 129">
                <a:extLst>
                  <a:ext uri="{FF2B5EF4-FFF2-40B4-BE49-F238E27FC236}">
                    <a16:creationId xmlns:a16="http://schemas.microsoft.com/office/drawing/2014/main" id="{EB1C9B41-F578-4776-A98D-1EAD24B90464}"/>
                  </a:ext>
                </a:extLst>
              </p:cNvPr>
              <p:cNvSpPr>
                <a:spLocks/>
              </p:cNvSpPr>
              <p:nvPr/>
            </p:nvSpPr>
            <p:spPr bwMode="auto">
              <a:xfrm>
                <a:off x="5292944" y="1577353"/>
                <a:ext cx="358168" cy="365270"/>
              </a:xfrm>
              <a:custGeom>
                <a:avLst/>
                <a:gdLst>
                  <a:gd name="connsiteX0" fmla="*/ 253187 w 358168"/>
                  <a:gd name="connsiteY0" fmla="*/ 273204 h 365270"/>
                  <a:gd name="connsiteX1" fmla="*/ 246406 w 358168"/>
                  <a:gd name="connsiteY1" fmla="*/ 277141 h 365270"/>
                  <a:gd name="connsiteX2" fmla="*/ 218926 w 358168"/>
                  <a:gd name="connsiteY2" fmla="*/ 339425 h 365270"/>
                  <a:gd name="connsiteX3" fmla="*/ 221067 w 358168"/>
                  <a:gd name="connsiteY3" fmla="*/ 340141 h 365270"/>
                  <a:gd name="connsiteX4" fmla="*/ 297798 w 358168"/>
                  <a:gd name="connsiteY4" fmla="*/ 291817 h 365270"/>
                  <a:gd name="connsiteX5" fmla="*/ 295656 w 358168"/>
                  <a:gd name="connsiteY5" fmla="*/ 286448 h 365270"/>
                  <a:gd name="connsiteX6" fmla="*/ 253187 w 358168"/>
                  <a:gd name="connsiteY6" fmla="*/ 273204 h 365270"/>
                  <a:gd name="connsiteX7" fmla="*/ 268872 w 358168"/>
                  <a:gd name="connsiteY7" fmla="*/ 186826 h 365270"/>
                  <a:gd name="connsiteX8" fmla="*/ 257081 w 358168"/>
                  <a:gd name="connsiteY8" fmla="*/ 197562 h 365270"/>
                  <a:gd name="connsiteX9" fmla="*/ 252794 w 358168"/>
                  <a:gd name="connsiteY9" fmla="*/ 245155 h 365270"/>
                  <a:gd name="connsiteX10" fmla="*/ 259939 w 358168"/>
                  <a:gd name="connsiteY10" fmla="*/ 255890 h 365270"/>
                  <a:gd name="connsiteX11" fmla="*/ 305315 w 358168"/>
                  <a:gd name="connsiteY11" fmla="*/ 270562 h 365270"/>
                  <a:gd name="connsiteX12" fmla="*/ 316391 w 358168"/>
                  <a:gd name="connsiteY12" fmla="*/ 266626 h 365270"/>
                  <a:gd name="connsiteX13" fmla="*/ 339258 w 358168"/>
                  <a:gd name="connsiteY13" fmla="*/ 192910 h 365270"/>
                  <a:gd name="connsiteX14" fmla="*/ 332827 w 358168"/>
                  <a:gd name="connsiteY14" fmla="*/ 186826 h 365270"/>
                  <a:gd name="connsiteX15" fmla="*/ 298884 w 358168"/>
                  <a:gd name="connsiteY15" fmla="*/ 186826 h 365270"/>
                  <a:gd name="connsiteX16" fmla="*/ 268872 w 358168"/>
                  <a:gd name="connsiteY16" fmla="*/ 186826 h 365270"/>
                  <a:gd name="connsiteX17" fmla="*/ 123441 w 358168"/>
                  <a:gd name="connsiteY17" fmla="*/ 110328 h 365270"/>
                  <a:gd name="connsiteX18" fmla="*/ 118012 w 358168"/>
                  <a:gd name="connsiteY18" fmla="*/ 117676 h 365270"/>
                  <a:gd name="connsiteX19" fmla="*/ 113007 w 358168"/>
                  <a:gd name="connsiteY19" fmla="*/ 160979 h 365270"/>
                  <a:gd name="connsiteX20" fmla="*/ 120157 w 358168"/>
                  <a:gd name="connsiteY20" fmla="*/ 168852 h 365270"/>
                  <a:gd name="connsiteX21" fmla="*/ 175210 w 358168"/>
                  <a:gd name="connsiteY21" fmla="*/ 168495 h 365270"/>
                  <a:gd name="connsiteX22" fmla="*/ 231693 w 358168"/>
                  <a:gd name="connsiteY22" fmla="*/ 168852 h 365270"/>
                  <a:gd name="connsiteX23" fmla="*/ 239200 w 358168"/>
                  <a:gd name="connsiteY23" fmla="*/ 160979 h 365270"/>
                  <a:gd name="connsiteX24" fmla="*/ 233838 w 358168"/>
                  <a:gd name="connsiteY24" fmla="*/ 116245 h 365270"/>
                  <a:gd name="connsiteX25" fmla="*/ 225973 w 358168"/>
                  <a:gd name="connsiteY25" fmla="*/ 110518 h 365270"/>
                  <a:gd name="connsiteX26" fmla="*/ 191297 w 358168"/>
                  <a:gd name="connsiteY26" fmla="*/ 113381 h 365270"/>
                  <a:gd name="connsiteX27" fmla="*/ 127307 w 358168"/>
                  <a:gd name="connsiteY27" fmla="*/ 110518 h 365270"/>
                  <a:gd name="connsiteX28" fmla="*/ 123441 w 358168"/>
                  <a:gd name="connsiteY28" fmla="*/ 110328 h 365270"/>
                  <a:gd name="connsiteX29" fmla="*/ 305681 w 358168"/>
                  <a:gd name="connsiteY29" fmla="*/ 88224 h 365270"/>
                  <a:gd name="connsiteX30" fmla="*/ 302772 w 358168"/>
                  <a:gd name="connsiteY30" fmla="*/ 89294 h 365270"/>
                  <a:gd name="connsiteX31" fmla="*/ 257387 w 358168"/>
                  <a:gd name="connsiteY31" fmla="*/ 104345 h 365270"/>
                  <a:gd name="connsiteX32" fmla="*/ 251669 w 358168"/>
                  <a:gd name="connsiteY32" fmla="*/ 112946 h 365270"/>
                  <a:gd name="connsiteX33" fmla="*/ 257030 w 358168"/>
                  <a:gd name="connsiteY33" fmla="*/ 161327 h 365270"/>
                  <a:gd name="connsiteX34" fmla="*/ 264892 w 358168"/>
                  <a:gd name="connsiteY34" fmla="*/ 168852 h 365270"/>
                  <a:gd name="connsiteX35" fmla="*/ 297769 w 358168"/>
                  <a:gd name="connsiteY35" fmla="*/ 168494 h 365270"/>
                  <a:gd name="connsiteX36" fmla="*/ 332790 w 358168"/>
                  <a:gd name="connsiteY36" fmla="*/ 168852 h 365270"/>
                  <a:gd name="connsiteX37" fmla="*/ 338508 w 358168"/>
                  <a:gd name="connsiteY37" fmla="*/ 162402 h 365270"/>
                  <a:gd name="connsiteX38" fmla="*/ 312063 w 358168"/>
                  <a:gd name="connsiteY38" fmla="*/ 91802 h 365270"/>
                  <a:gd name="connsiteX39" fmla="*/ 305681 w 358168"/>
                  <a:gd name="connsiteY39" fmla="*/ 88224 h 365270"/>
                  <a:gd name="connsiteX40" fmla="*/ 132022 w 358168"/>
                  <a:gd name="connsiteY40" fmla="*/ 25381 h 365270"/>
                  <a:gd name="connsiteX41" fmla="*/ 131664 w 358168"/>
                  <a:gd name="connsiteY41" fmla="*/ 25471 h 365270"/>
                  <a:gd name="connsiteX42" fmla="*/ 59458 w 358168"/>
                  <a:gd name="connsiteY42" fmla="*/ 67814 h 365270"/>
                  <a:gd name="connsiteX43" fmla="*/ 61602 w 358168"/>
                  <a:gd name="connsiteY43" fmla="*/ 74632 h 365270"/>
                  <a:gd name="connsiteX44" fmla="*/ 96633 w 358168"/>
                  <a:gd name="connsiteY44" fmla="*/ 86115 h 365270"/>
                  <a:gd name="connsiteX45" fmla="*/ 108429 w 358168"/>
                  <a:gd name="connsiteY45" fmla="*/ 79297 h 365270"/>
                  <a:gd name="connsiteX46" fmla="*/ 131307 w 358168"/>
                  <a:gd name="connsiteY46" fmla="*/ 28701 h 365270"/>
                  <a:gd name="connsiteX47" fmla="*/ 132379 w 358168"/>
                  <a:gd name="connsiteY47" fmla="*/ 25830 h 365270"/>
                  <a:gd name="connsiteX48" fmla="*/ 132022 w 358168"/>
                  <a:gd name="connsiteY48" fmla="*/ 25381 h 365270"/>
                  <a:gd name="connsiteX49" fmla="*/ 217801 w 358168"/>
                  <a:gd name="connsiteY49" fmla="*/ 24737 h 365270"/>
                  <a:gd name="connsiteX50" fmla="*/ 244915 w 358168"/>
                  <a:gd name="connsiteY50" fmla="*/ 83587 h 365270"/>
                  <a:gd name="connsiteX51" fmla="*/ 252407 w 358168"/>
                  <a:gd name="connsiteY51" fmla="*/ 86817 h 365270"/>
                  <a:gd name="connsiteX52" fmla="*/ 291294 w 358168"/>
                  <a:gd name="connsiteY52" fmla="*/ 74257 h 365270"/>
                  <a:gd name="connsiteX53" fmla="*/ 292364 w 358168"/>
                  <a:gd name="connsiteY53" fmla="*/ 67798 h 365270"/>
                  <a:gd name="connsiteX54" fmla="*/ 258829 w 358168"/>
                  <a:gd name="connsiteY54" fmla="*/ 41244 h 365270"/>
                  <a:gd name="connsiteX55" fmla="*/ 217801 w 358168"/>
                  <a:gd name="connsiteY55" fmla="*/ 24737 h 365270"/>
                  <a:gd name="connsiteX56" fmla="*/ 176135 w 358168"/>
                  <a:gd name="connsiteY56" fmla="*/ 18583 h 365270"/>
                  <a:gd name="connsiteX57" fmla="*/ 156015 w 358168"/>
                  <a:gd name="connsiteY57" fmla="*/ 28434 h 365270"/>
                  <a:gd name="connsiteX58" fmla="*/ 125321 w 358168"/>
                  <a:gd name="connsiteY58" fmla="*/ 86825 h 365270"/>
                  <a:gd name="connsiteX59" fmla="*/ 131031 w 358168"/>
                  <a:gd name="connsiteY59" fmla="*/ 92557 h 365270"/>
                  <a:gd name="connsiteX60" fmla="*/ 175644 w 358168"/>
                  <a:gd name="connsiteY60" fmla="*/ 96139 h 365270"/>
                  <a:gd name="connsiteX61" fmla="*/ 220614 w 358168"/>
                  <a:gd name="connsiteY61" fmla="*/ 92557 h 365270"/>
                  <a:gd name="connsiteX62" fmla="*/ 226681 w 358168"/>
                  <a:gd name="connsiteY62" fmla="*/ 87183 h 365270"/>
                  <a:gd name="connsiteX63" fmla="*/ 195988 w 358168"/>
                  <a:gd name="connsiteY63" fmla="*/ 28076 h 365270"/>
                  <a:gd name="connsiteX64" fmla="*/ 176135 w 358168"/>
                  <a:gd name="connsiteY64" fmla="*/ 18583 h 365270"/>
                  <a:gd name="connsiteX65" fmla="*/ 175925 w 358168"/>
                  <a:gd name="connsiteY65" fmla="*/ 0 h 365270"/>
                  <a:gd name="connsiteX66" fmla="*/ 358168 w 358168"/>
                  <a:gd name="connsiteY66" fmla="*/ 182456 h 365270"/>
                  <a:gd name="connsiteX67" fmla="*/ 176282 w 358168"/>
                  <a:gd name="connsiteY67" fmla="*/ 365270 h 365270"/>
                  <a:gd name="connsiteX68" fmla="*/ 149952 w 358168"/>
                  <a:gd name="connsiteY68" fmla="*/ 362736 h 365270"/>
                  <a:gd name="connsiteX69" fmla="*/ 151546 w 358168"/>
                  <a:gd name="connsiteY69" fmla="*/ 346919 h 365270"/>
                  <a:gd name="connsiteX70" fmla="*/ 149658 w 358168"/>
                  <a:gd name="connsiteY70" fmla="*/ 328192 h 365270"/>
                  <a:gd name="connsiteX71" fmla="*/ 153863 w 358168"/>
                  <a:gd name="connsiteY71" fmla="*/ 334740 h 365270"/>
                  <a:gd name="connsiteX72" fmla="*/ 199942 w 358168"/>
                  <a:gd name="connsiteY72" fmla="*/ 333309 h 365270"/>
                  <a:gd name="connsiteX73" fmla="*/ 228162 w 358168"/>
                  <a:gd name="connsiteY73" fmla="*/ 273561 h 365270"/>
                  <a:gd name="connsiteX74" fmla="*/ 223518 w 358168"/>
                  <a:gd name="connsiteY74" fmla="*/ 268194 h 365270"/>
                  <a:gd name="connsiteX75" fmla="*/ 175653 w 358168"/>
                  <a:gd name="connsiteY75" fmla="*/ 265332 h 365270"/>
                  <a:gd name="connsiteX76" fmla="*/ 164010 w 358168"/>
                  <a:gd name="connsiteY76" fmla="*/ 265226 h 365270"/>
                  <a:gd name="connsiteX77" fmla="*/ 135130 w 358168"/>
                  <a:gd name="connsiteY77" fmla="*/ 267616 h 365270"/>
                  <a:gd name="connsiteX78" fmla="*/ 121959 w 358168"/>
                  <a:gd name="connsiteY78" fmla="*/ 248082 h 365270"/>
                  <a:gd name="connsiteX79" fmla="*/ 125160 w 358168"/>
                  <a:gd name="connsiteY79" fmla="*/ 250220 h 365270"/>
                  <a:gd name="connsiteX80" fmla="*/ 226673 w 358168"/>
                  <a:gd name="connsiteY80" fmla="*/ 250220 h 365270"/>
                  <a:gd name="connsiteX81" fmla="*/ 234536 w 358168"/>
                  <a:gd name="connsiteY81" fmla="*/ 244489 h 365270"/>
                  <a:gd name="connsiteX82" fmla="*/ 239183 w 358168"/>
                  <a:gd name="connsiteY82" fmla="*/ 194706 h 365270"/>
                  <a:gd name="connsiteX83" fmla="*/ 231677 w 358168"/>
                  <a:gd name="connsiteY83" fmla="*/ 186468 h 365270"/>
                  <a:gd name="connsiteX84" fmla="*/ 175916 w 358168"/>
                  <a:gd name="connsiteY84" fmla="*/ 186827 h 365270"/>
                  <a:gd name="connsiteX85" fmla="*/ 119441 w 358168"/>
                  <a:gd name="connsiteY85" fmla="*/ 186827 h 365270"/>
                  <a:gd name="connsiteX86" fmla="*/ 112650 w 358168"/>
                  <a:gd name="connsiteY86" fmla="*/ 192557 h 365270"/>
                  <a:gd name="connsiteX87" fmla="*/ 117266 w 358168"/>
                  <a:gd name="connsiteY87" fmla="*/ 241121 h 365270"/>
                  <a:gd name="connsiteX88" fmla="*/ 96342 w 358168"/>
                  <a:gd name="connsiteY88" fmla="*/ 210087 h 365270"/>
                  <a:gd name="connsiteX89" fmla="*/ 94939 w 358168"/>
                  <a:gd name="connsiteY89" fmla="*/ 193983 h 365270"/>
                  <a:gd name="connsiteX90" fmla="*/ 87436 w 358168"/>
                  <a:gd name="connsiteY90" fmla="*/ 186468 h 365270"/>
                  <a:gd name="connsiteX91" fmla="*/ 66232 w 358168"/>
                  <a:gd name="connsiteY91" fmla="*/ 186694 h 365270"/>
                  <a:gd name="connsiteX92" fmla="*/ 39444 w 358168"/>
                  <a:gd name="connsiteY92" fmla="*/ 168633 h 365270"/>
                  <a:gd name="connsiteX93" fmla="*/ 53055 w 358168"/>
                  <a:gd name="connsiteY93" fmla="*/ 168494 h 365270"/>
                  <a:gd name="connsiteX94" fmla="*/ 88030 w 358168"/>
                  <a:gd name="connsiteY94" fmla="*/ 168852 h 365270"/>
                  <a:gd name="connsiteX95" fmla="*/ 94811 w 358168"/>
                  <a:gd name="connsiteY95" fmla="*/ 162045 h 365270"/>
                  <a:gd name="connsiteX96" fmla="*/ 100164 w 358168"/>
                  <a:gd name="connsiteY96" fmla="*/ 112958 h 365270"/>
                  <a:gd name="connsiteX97" fmla="*/ 94454 w 358168"/>
                  <a:gd name="connsiteY97" fmla="*/ 104358 h 365270"/>
                  <a:gd name="connsiteX98" fmla="*/ 48772 w 358168"/>
                  <a:gd name="connsiteY98" fmla="*/ 88952 h 365270"/>
                  <a:gd name="connsiteX99" fmla="*/ 44400 w 358168"/>
                  <a:gd name="connsiteY99" fmla="*/ 88101 h 365270"/>
                  <a:gd name="connsiteX100" fmla="*/ 40564 w 358168"/>
                  <a:gd name="connsiteY100" fmla="*/ 90743 h 365270"/>
                  <a:gd name="connsiteX101" fmla="*/ 21916 w 358168"/>
                  <a:gd name="connsiteY101" fmla="*/ 124826 h 365270"/>
                  <a:gd name="connsiteX102" fmla="*/ 13822 w 358168"/>
                  <a:gd name="connsiteY102" fmla="*/ 156685 h 365270"/>
                  <a:gd name="connsiteX103" fmla="*/ 0 w 358168"/>
                  <a:gd name="connsiteY103" fmla="*/ 152394 h 365270"/>
                  <a:gd name="connsiteX104" fmla="*/ 8137 w 358168"/>
                  <a:gd name="connsiteY104" fmla="*/ 111352 h 365270"/>
                  <a:gd name="connsiteX105" fmla="*/ 175925 w 358168"/>
                  <a:gd name="connsiteY105" fmla="*/ 0 h 365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358168" h="365270">
                    <a:moveTo>
                      <a:pt x="253187" y="273204"/>
                    </a:moveTo>
                    <a:cubicBezTo>
                      <a:pt x="249261" y="272488"/>
                      <a:pt x="247477" y="273562"/>
                      <a:pt x="246406" y="277141"/>
                    </a:cubicBezTo>
                    <a:cubicBezTo>
                      <a:pt x="240696" y="299334"/>
                      <a:pt x="232131" y="320096"/>
                      <a:pt x="218926" y="339425"/>
                    </a:cubicBezTo>
                    <a:cubicBezTo>
                      <a:pt x="220353" y="339783"/>
                      <a:pt x="220710" y="340141"/>
                      <a:pt x="221067" y="340141"/>
                    </a:cubicBezTo>
                    <a:cubicBezTo>
                      <a:pt x="251402" y="331908"/>
                      <a:pt x="276741" y="315084"/>
                      <a:pt x="297798" y="291817"/>
                    </a:cubicBezTo>
                    <a:cubicBezTo>
                      <a:pt x="301009" y="288596"/>
                      <a:pt x="298511" y="287522"/>
                      <a:pt x="295656" y="286448"/>
                    </a:cubicBezTo>
                    <a:cubicBezTo>
                      <a:pt x="282095" y="280721"/>
                      <a:pt x="267819" y="276425"/>
                      <a:pt x="253187" y="273204"/>
                    </a:cubicBezTo>
                    <a:close/>
                    <a:moveTo>
                      <a:pt x="268872" y="186826"/>
                    </a:moveTo>
                    <a:cubicBezTo>
                      <a:pt x="258153" y="186826"/>
                      <a:pt x="257438" y="187184"/>
                      <a:pt x="257081" y="197562"/>
                    </a:cubicBezTo>
                    <a:cubicBezTo>
                      <a:pt x="256724" y="213665"/>
                      <a:pt x="255652" y="229768"/>
                      <a:pt x="252794" y="245155"/>
                    </a:cubicBezTo>
                    <a:cubicBezTo>
                      <a:pt x="251722" y="251238"/>
                      <a:pt x="253508" y="254459"/>
                      <a:pt x="259939" y="255890"/>
                    </a:cubicBezTo>
                    <a:cubicBezTo>
                      <a:pt x="275660" y="259111"/>
                      <a:pt x="291024" y="263763"/>
                      <a:pt x="305315" y="270562"/>
                    </a:cubicBezTo>
                    <a:cubicBezTo>
                      <a:pt x="311032" y="273425"/>
                      <a:pt x="313533" y="271635"/>
                      <a:pt x="316391" y="266626"/>
                    </a:cubicBezTo>
                    <a:cubicBezTo>
                      <a:pt x="329611" y="243724"/>
                      <a:pt x="336757" y="219032"/>
                      <a:pt x="339258" y="192910"/>
                    </a:cubicBezTo>
                    <a:cubicBezTo>
                      <a:pt x="339615" y="187900"/>
                      <a:pt x="337471" y="186468"/>
                      <a:pt x="332827" y="186826"/>
                    </a:cubicBezTo>
                    <a:cubicBezTo>
                      <a:pt x="321393" y="186826"/>
                      <a:pt x="310317" y="186826"/>
                      <a:pt x="298884" y="186826"/>
                    </a:cubicBezTo>
                    <a:cubicBezTo>
                      <a:pt x="288880" y="186826"/>
                      <a:pt x="278876" y="186826"/>
                      <a:pt x="268872" y="186826"/>
                    </a:cubicBezTo>
                    <a:close/>
                    <a:moveTo>
                      <a:pt x="123441" y="110328"/>
                    </a:moveTo>
                    <a:cubicBezTo>
                      <a:pt x="120224" y="110764"/>
                      <a:pt x="118816" y="113113"/>
                      <a:pt x="118012" y="117676"/>
                    </a:cubicBezTo>
                    <a:cubicBezTo>
                      <a:pt x="115509" y="131991"/>
                      <a:pt x="114437" y="146306"/>
                      <a:pt x="113007" y="160979"/>
                    </a:cubicBezTo>
                    <a:cubicBezTo>
                      <a:pt x="112292" y="167063"/>
                      <a:pt x="114437" y="168852"/>
                      <a:pt x="120157" y="168852"/>
                    </a:cubicBezTo>
                    <a:cubicBezTo>
                      <a:pt x="138389" y="168495"/>
                      <a:pt x="156978" y="168495"/>
                      <a:pt x="175210" y="168495"/>
                    </a:cubicBezTo>
                    <a:cubicBezTo>
                      <a:pt x="194157" y="168495"/>
                      <a:pt x="212746" y="168495"/>
                      <a:pt x="231693" y="168852"/>
                    </a:cubicBezTo>
                    <a:cubicBezTo>
                      <a:pt x="237413" y="168852"/>
                      <a:pt x="239915" y="166705"/>
                      <a:pt x="239200" y="160979"/>
                    </a:cubicBezTo>
                    <a:cubicBezTo>
                      <a:pt x="237770" y="145948"/>
                      <a:pt x="236698" y="130917"/>
                      <a:pt x="233838" y="116245"/>
                    </a:cubicBezTo>
                    <a:cubicBezTo>
                      <a:pt x="232766" y="111592"/>
                      <a:pt x="230978" y="109803"/>
                      <a:pt x="225973" y="110518"/>
                    </a:cubicBezTo>
                    <a:cubicBezTo>
                      <a:pt x="214534" y="111592"/>
                      <a:pt x="203094" y="113381"/>
                      <a:pt x="191297" y="113381"/>
                    </a:cubicBezTo>
                    <a:cubicBezTo>
                      <a:pt x="169848" y="113739"/>
                      <a:pt x="148398" y="114097"/>
                      <a:pt x="127307" y="110518"/>
                    </a:cubicBezTo>
                    <a:cubicBezTo>
                      <a:pt x="125787" y="110250"/>
                      <a:pt x="124514" y="110183"/>
                      <a:pt x="123441" y="110328"/>
                    </a:cubicBezTo>
                    <a:close/>
                    <a:moveTo>
                      <a:pt x="305681" y="88224"/>
                    </a:moveTo>
                    <a:cubicBezTo>
                      <a:pt x="304804" y="88398"/>
                      <a:pt x="303844" y="88756"/>
                      <a:pt x="302772" y="89294"/>
                    </a:cubicBezTo>
                    <a:cubicBezTo>
                      <a:pt x="288120" y="96103"/>
                      <a:pt x="273111" y="101120"/>
                      <a:pt x="257387" y="104345"/>
                    </a:cubicBezTo>
                    <a:cubicBezTo>
                      <a:pt x="252384" y="105779"/>
                      <a:pt x="250597" y="107929"/>
                      <a:pt x="251669" y="112946"/>
                    </a:cubicBezTo>
                    <a:cubicBezTo>
                      <a:pt x="254528" y="129073"/>
                      <a:pt x="257030" y="144841"/>
                      <a:pt x="257030" y="161327"/>
                    </a:cubicBezTo>
                    <a:cubicBezTo>
                      <a:pt x="257030" y="166702"/>
                      <a:pt x="259531" y="168852"/>
                      <a:pt x="264892" y="168852"/>
                    </a:cubicBezTo>
                    <a:cubicBezTo>
                      <a:pt x="275970" y="168494"/>
                      <a:pt x="286691" y="168494"/>
                      <a:pt x="297769" y="168494"/>
                    </a:cubicBezTo>
                    <a:cubicBezTo>
                      <a:pt x="309562" y="168494"/>
                      <a:pt x="320997" y="168494"/>
                      <a:pt x="332790" y="168852"/>
                    </a:cubicBezTo>
                    <a:cubicBezTo>
                      <a:pt x="337436" y="168852"/>
                      <a:pt x="338865" y="167060"/>
                      <a:pt x="338508" y="162402"/>
                    </a:cubicBezTo>
                    <a:cubicBezTo>
                      <a:pt x="336007" y="136599"/>
                      <a:pt x="326715" y="113305"/>
                      <a:pt x="312063" y="91802"/>
                    </a:cubicBezTo>
                    <a:cubicBezTo>
                      <a:pt x="310187" y="88846"/>
                      <a:pt x="308311" y="87704"/>
                      <a:pt x="305681" y="88224"/>
                    </a:cubicBezTo>
                    <a:close/>
                    <a:moveTo>
                      <a:pt x="132022" y="25381"/>
                    </a:moveTo>
                    <a:cubicBezTo>
                      <a:pt x="131932" y="25292"/>
                      <a:pt x="131843" y="25292"/>
                      <a:pt x="131664" y="25471"/>
                    </a:cubicBezTo>
                    <a:cubicBezTo>
                      <a:pt x="103425" y="32648"/>
                      <a:pt x="79833" y="47360"/>
                      <a:pt x="59458" y="67814"/>
                    </a:cubicBezTo>
                    <a:cubicBezTo>
                      <a:pt x="55883" y="71403"/>
                      <a:pt x="58028" y="73197"/>
                      <a:pt x="61602" y="74632"/>
                    </a:cubicBezTo>
                    <a:cubicBezTo>
                      <a:pt x="73041" y="79656"/>
                      <a:pt x="84837" y="82886"/>
                      <a:pt x="96633" y="86115"/>
                    </a:cubicBezTo>
                    <a:cubicBezTo>
                      <a:pt x="103425" y="88268"/>
                      <a:pt x="106642" y="86474"/>
                      <a:pt x="108429" y="79297"/>
                    </a:cubicBezTo>
                    <a:cubicBezTo>
                      <a:pt x="113434" y="61355"/>
                      <a:pt x="120941" y="44490"/>
                      <a:pt x="131307" y="28701"/>
                    </a:cubicBezTo>
                    <a:cubicBezTo>
                      <a:pt x="132022" y="27983"/>
                      <a:pt x="133094" y="26907"/>
                      <a:pt x="132379" y="25830"/>
                    </a:cubicBezTo>
                    <a:cubicBezTo>
                      <a:pt x="132200" y="25651"/>
                      <a:pt x="132111" y="25471"/>
                      <a:pt x="132022" y="25381"/>
                    </a:cubicBezTo>
                    <a:close/>
                    <a:moveTo>
                      <a:pt x="217801" y="24737"/>
                    </a:moveTo>
                    <a:cubicBezTo>
                      <a:pt x="231001" y="43756"/>
                      <a:pt x="239207" y="63133"/>
                      <a:pt x="244915" y="83587"/>
                    </a:cubicBezTo>
                    <a:cubicBezTo>
                      <a:pt x="245985" y="87893"/>
                      <a:pt x="249553" y="87534"/>
                      <a:pt x="252407" y="86817"/>
                    </a:cubicBezTo>
                    <a:cubicBezTo>
                      <a:pt x="265607" y="83587"/>
                      <a:pt x="278807" y="79640"/>
                      <a:pt x="291294" y="74257"/>
                    </a:cubicBezTo>
                    <a:cubicBezTo>
                      <a:pt x="295575" y="72463"/>
                      <a:pt x="295218" y="71028"/>
                      <a:pt x="292364" y="67798"/>
                    </a:cubicBezTo>
                    <a:cubicBezTo>
                      <a:pt x="282375" y="57392"/>
                      <a:pt x="271315" y="48421"/>
                      <a:pt x="258829" y="41244"/>
                    </a:cubicBezTo>
                    <a:cubicBezTo>
                      <a:pt x="246699" y="34067"/>
                      <a:pt x="233856" y="28326"/>
                      <a:pt x="217801" y="24737"/>
                    </a:cubicBezTo>
                    <a:close/>
                    <a:moveTo>
                      <a:pt x="176135" y="18583"/>
                    </a:moveTo>
                    <a:cubicBezTo>
                      <a:pt x="169398" y="18672"/>
                      <a:pt x="162617" y="21986"/>
                      <a:pt x="156015" y="28434"/>
                    </a:cubicBezTo>
                    <a:cubicBezTo>
                      <a:pt x="139597" y="44554"/>
                      <a:pt x="132459" y="65690"/>
                      <a:pt x="125321" y="86825"/>
                    </a:cubicBezTo>
                    <a:cubicBezTo>
                      <a:pt x="123536" y="92199"/>
                      <a:pt x="128176" y="92199"/>
                      <a:pt x="131031" y="92557"/>
                    </a:cubicBezTo>
                    <a:cubicBezTo>
                      <a:pt x="146021" y="93990"/>
                      <a:pt x="161011" y="95064"/>
                      <a:pt x="175644" y="96139"/>
                    </a:cubicBezTo>
                    <a:cubicBezTo>
                      <a:pt x="190634" y="95064"/>
                      <a:pt x="205624" y="93990"/>
                      <a:pt x="220614" y="92557"/>
                    </a:cubicBezTo>
                    <a:cubicBezTo>
                      <a:pt x="223469" y="92199"/>
                      <a:pt x="228109" y="92915"/>
                      <a:pt x="226681" y="87183"/>
                    </a:cubicBezTo>
                    <a:cubicBezTo>
                      <a:pt x="220614" y="65331"/>
                      <a:pt x="212405" y="44554"/>
                      <a:pt x="195988" y="28076"/>
                    </a:cubicBezTo>
                    <a:cubicBezTo>
                      <a:pt x="189563" y="21628"/>
                      <a:pt x="182871" y="18493"/>
                      <a:pt x="176135" y="18583"/>
                    </a:cubicBezTo>
                    <a:close/>
                    <a:moveTo>
                      <a:pt x="175925" y="0"/>
                    </a:moveTo>
                    <a:cubicBezTo>
                      <a:pt x="277052" y="0"/>
                      <a:pt x="356739" y="81012"/>
                      <a:pt x="358168" y="182456"/>
                    </a:cubicBezTo>
                    <a:cubicBezTo>
                      <a:pt x="357096" y="283183"/>
                      <a:pt x="278481" y="364911"/>
                      <a:pt x="176282" y="365270"/>
                    </a:cubicBezTo>
                    <a:lnTo>
                      <a:pt x="149952" y="362736"/>
                    </a:lnTo>
                    <a:lnTo>
                      <a:pt x="151546" y="346919"/>
                    </a:lnTo>
                    <a:lnTo>
                      <a:pt x="149658" y="328192"/>
                    </a:lnTo>
                    <a:lnTo>
                      <a:pt x="153863" y="334740"/>
                    </a:lnTo>
                    <a:cubicBezTo>
                      <a:pt x="169580" y="351198"/>
                      <a:pt x="184940" y="350483"/>
                      <a:pt x="199942" y="333309"/>
                    </a:cubicBezTo>
                    <a:cubicBezTo>
                      <a:pt x="214588" y="315778"/>
                      <a:pt x="222089" y="295027"/>
                      <a:pt x="228162" y="273561"/>
                    </a:cubicBezTo>
                    <a:cubicBezTo>
                      <a:pt x="229233" y="268910"/>
                      <a:pt x="227090" y="268552"/>
                      <a:pt x="223518" y="268194"/>
                    </a:cubicBezTo>
                    <a:cubicBezTo>
                      <a:pt x="207801" y="266048"/>
                      <a:pt x="192084" y="264974"/>
                      <a:pt x="175653" y="265332"/>
                    </a:cubicBezTo>
                    <a:cubicBezTo>
                      <a:pt x="171813" y="265153"/>
                      <a:pt x="167928" y="265131"/>
                      <a:pt x="164010" y="265226"/>
                    </a:cubicBezTo>
                    <a:lnTo>
                      <a:pt x="135130" y="267616"/>
                    </a:lnTo>
                    <a:lnTo>
                      <a:pt x="121959" y="248082"/>
                    </a:lnTo>
                    <a:lnTo>
                      <a:pt x="125160" y="250220"/>
                    </a:lnTo>
                    <a:cubicBezTo>
                      <a:pt x="159117" y="245206"/>
                      <a:pt x="193073" y="245206"/>
                      <a:pt x="226673" y="250220"/>
                    </a:cubicBezTo>
                    <a:cubicBezTo>
                      <a:pt x="231677" y="250936"/>
                      <a:pt x="233821" y="248787"/>
                      <a:pt x="234536" y="244489"/>
                    </a:cubicBezTo>
                    <a:cubicBezTo>
                      <a:pt x="237038" y="228014"/>
                      <a:pt x="238468" y="211181"/>
                      <a:pt x="239183" y="194706"/>
                    </a:cubicBezTo>
                    <a:cubicBezTo>
                      <a:pt x="239540" y="188617"/>
                      <a:pt x="237753" y="186468"/>
                      <a:pt x="231677" y="186468"/>
                    </a:cubicBezTo>
                    <a:cubicBezTo>
                      <a:pt x="213090" y="186827"/>
                      <a:pt x="194503" y="186827"/>
                      <a:pt x="175916" y="186827"/>
                    </a:cubicBezTo>
                    <a:cubicBezTo>
                      <a:pt x="156972" y="186827"/>
                      <a:pt x="138385" y="186827"/>
                      <a:pt x="119441" y="186827"/>
                    </a:cubicBezTo>
                    <a:cubicBezTo>
                      <a:pt x="115509" y="186827"/>
                      <a:pt x="112292" y="187185"/>
                      <a:pt x="112650" y="192557"/>
                    </a:cubicBezTo>
                    <a:lnTo>
                      <a:pt x="117266" y="241121"/>
                    </a:lnTo>
                    <a:lnTo>
                      <a:pt x="96342" y="210087"/>
                    </a:lnTo>
                    <a:lnTo>
                      <a:pt x="94939" y="193983"/>
                    </a:lnTo>
                    <a:cubicBezTo>
                      <a:pt x="94939" y="188258"/>
                      <a:pt x="92795" y="186468"/>
                      <a:pt x="87436" y="186468"/>
                    </a:cubicBezTo>
                    <a:lnTo>
                      <a:pt x="66232" y="186694"/>
                    </a:lnTo>
                    <a:lnTo>
                      <a:pt x="39444" y="168633"/>
                    </a:lnTo>
                    <a:lnTo>
                      <a:pt x="53055" y="168494"/>
                    </a:lnTo>
                    <a:cubicBezTo>
                      <a:pt x="64475" y="168494"/>
                      <a:pt x="76253" y="168494"/>
                      <a:pt x="88030" y="168852"/>
                    </a:cubicBezTo>
                    <a:cubicBezTo>
                      <a:pt x="92670" y="168852"/>
                      <a:pt x="94811" y="167061"/>
                      <a:pt x="94811" y="162045"/>
                    </a:cubicBezTo>
                    <a:cubicBezTo>
                      <a:pt x="94811" y="145563"/>
                      <a:pt x="97309" y="129439"/>
                      <a:pt x="100164" y="112958"/>
                    </a:cubicBezTo>
                    <a:cubicBezTo>
                      <a:pt x="101235" y="107941"/>
                      <a:pt x="99451" y="105792"/>
                      <a:pt x="94454" y="104358"/>
                    </a:cubicBezTo>
                    <a:cubicBezTo>
                      <a:pt x="78751" y="101134"/>
                      <a:pt x="63405" y="95759"/>
                      <a:pt x="48772" y="88952"/>
                    </a:cubicBezTo>
                    <a:cubicBezTo>
                      <a:pt x="47166" y="88235"/>
                      <a:pt x="45739" y="87877"/>
                      <a:pt x="44400" y="88101"/>
                    </a:cubicBezTo>
                    <a:cubicBezTo>
                      <a:pt x="43062" y="88324"/>
                      <a:pt x="41813" y="89131"/>
                      <a:pt x="40564" y="90743"/>
                    </a:cubicBezTo>
                    <a:cubicBezTo>
                      <a:pt x="33248" y="101671"/>
                      <a:pt x="26824" y="112958"/>
                      <a:pt x="21916" y="124826"/>
                    </a:cubicBezTo>
                    <a:lnTo>
                      <a:pt x="13822" y="156685"/>
                    </a:lnTo>
                    <a:lnTo>
                      <a:pt x="0" y="152394"/>
                    </a:lnTo>
                    <a:lnTo>
                      <a:pt x="8137" y="111352"/>
                    </a:lnTo>
                    <a:cubicBezTo>
                      <a:pt x="35424" y="45905"/>
                      <a:pt x="99544" y="269"/>
                      <a:pt x="175925"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endParaRPr lang="en-US" sz="1765" kern="0">
                  <a:solidFill>
                    <a:sysClr val="windowText" lastClr="000000"/>
                  </a:solidFill>
                </a:endParaRPr>
              </a:p>
            </p:txBody>
          </p:sp>
          <p:grpSp>
            <p:nvGrpSpPr>
              <p:cNvPr id="131" name="Group 130">
                <a:extLst>
                  <a:ext uri="{FF2B5EF4-FFF2-40B4-BE49-F238E27FC236}">
                    <a16:creationId xmlns:a16="http://schemas.microsoft.com/office/drawing/2014/main" id="{D2F0ADA5-F759-4459-BBD5-AFEFF68AC14B}"/>
                  </a:ext>
                </a:extLst>
              </p:cNvPr>
              <p:cNvGrpSpPr/>
              <p:nvPr/>
            </p:nvGrpSpPr>
            <p:grpSpPr>
              <a:xfrm>
                <a:off x="4961669" y="1733318"/>
                <a:ext cx="465468" cy="473246"/>
                <a:chOff x="4291739" y="1523366"/>
                <a:chExt cx="465468" cy="473246"/>
              </a:xfrm>
              <a:grpFill/>
            </p:grpSpPr>
            <p:sp>
              <p:nvSpPr>
                <p:cNvPr id="132" name="Freeform 150">
                  <a:extLst>
                    <a:ext uri="{FF2B5EF4-FFF2-40B4-BE49-F238E27FC236}">
                      <a16:creationId xmlns:a16="http://schemas.microsoft.com/office/drawing/2014/main" id="{68DFE056-08D1-4C72-80A3-92039FFF9652}"/>
                    </a:ext>
                  </a:extLst>
                </p:cNvPr>
                <p:cNvSpPr>
                  <a:spLocks noEditPoints="1"/>
                </p:cNvSpPr>
                <p:nvPr/>
              </p:nvSpPr>
              <p:spPr bwMode="auto">
                <a:xfrm>
                  <a:off x="4291739" y="1523366"/>
                  <a:ext cx="465468" cy="473246"/>
                </a:xfrm>
                <a:custGeom>
                  <a:avLst/>
                  <a:gdLst>
                    <a:gd name="T0" fmla="*/ 1320 w 1320"/>
                    <a:gd name="T1" fmla="*/ 543 h 1343"/>
                    <a:gd name="T2" fmla="*/ 865 w 1320"/>
                    <a:gd name="T3" fmla="*/ 1061 h 1343"/>
                    <a:gd name="T4" fmla="*/ 481 w 1320"/>
                    <a:gd name="T5" fmla="*/ 960 h 1343"/>
                    <a:gd name="T6" fmla="*/ 446 w 1320"/>
                    <a:gd name="T7" fmla="*/ 963 h 1343"/>
                    <a:gd name="T8" fmla="*/ 429 w 1320"/>
                    <a:gd name="T9" fmla="*/ 980 h 1343"/>
                    <a:gd name="T10" fmla="*/ 410 w 1320"/>
                    <a:gd name="T11" fmla="*/ 1018 h 1343"/>
                    <a:gd name="T12" fmla="*/ 384 w 1320"/>
                    <a:gd name="T13" fmla="*/ 1073 h 1343"/>
                    <a:gd name="T14" fmla="*/ 148 w 1320"/>
                    <a:gd name="T15" fmla="*/ 1309 h 1343"/>
                    <a:gd name="T16" fmla="*/ 51 w 1320"/>
                    <a:gd name="T17" fmla="*/ 1328 h 1343"/>
                    <a:gd name="T18" fmla="*/ 2 w 1320"/>
                    <a:gd name="T19" fmla="*/ 1247 h 1343"/>
                    <a:gd name="T20" fmla="*/ 26 w 1320"/>
                    <a:gd name="T21" fmla="*/ 1193 h 1343"/>
                    <a:gd name="T22" fmla="*/ 268 w 1320"/>
                    <a:gd name="T23" fmla="*/ 952 h 1343"/>
                    <a:gd name="T24" fmla="*/ 319 w 1320"/>
                    <a:gd name="T25" fmla="*/ 928 h 1343"/>
                    <a:gd name="T26" fmla="*/ 354 w 1320"/>
                    <a:gd name="T27" fmla="*/ 911 h 1343"/>
                    <a:gd name="T28" fmla="*/ 375 w 1320"/>
                    <a:gd name="T29" fmla="*/ 891 h 1343"/>
                    <a:gd name="T30" fmla="*/ 380 w 1320"/>
                    <a:gd name="T31" fmla="*/ 859 h 1343"/>
                    <a:gd name="T32" fmla="*/ 273 w 1320"/>
                    <a:gd name="T33" fmla="*/ 567 h 1343"/>
                    <a:gd name="T34" fmla="*/ 725 w 1320"/>
                    <a:gd name="T35" fmla="*/ 22 h 1343"/>
                    <a:gd name="T36" fmla="*/ 1168 w 1320"/>
                    <a:gd name="T37" fmla="*/ 172 h 1343"/>
                    <a:gd name="T38" fmla="*/ 1320 w 1320"/>
                    <a:gd name="T39" fmla="*/ 543 h 1343"/>
                    <a:gd name="T40" fmla="*/ 797 w 1320"/>
                    <a:gd name="T41" fmla="*/ 119 h 1343"/>
                    <a:gd name="T42" fmla="*/ 373 w 1320"/>
                    <a:gd name="T43" fmla="*/ 541 h 1343"/>
                    <a:gd name="T44" fmla="*/ 793 w 1320"/>
                    <a:gd name="T45" fmla="*/ 964 h 1343"/>
                    <a:gd name="T46" fmla="*/ 1219 w 1320"/>
                    <a:gd name="T47" fmla="*/ 540 h 1343"/>
                    <a:gd name="T48" fmla="*/ 797 w 1320"/>
                    <a:gd name="T49" fmla="*/ 119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20" h="1343">
                      <a:moveTo>
                        <a:pt x="1320" y="543"/>
                      </a:moveTo>
                      <a:cubicBezTo>
                        <a:pt x="1320" y="806"/>
                        <a:pt x="1127" y="1026"/>
                        <a:pt x="865" y="1061"/>
                      </a:cubicBezTo>
                      <a:cubicBezTo>
                        <a:pt x="724" y="1080"/>
                        <a:pt x="596" y="1045"/>
                        <a:pt x="481" y="960"/>
                      </a:cubicBezTo>
                      <a:cubicBezTo>
                        <a:pt x="467" y="949"/>
                        <a:pt x="457" y="944"/>
                        <a:pt x="446" y="963"/>
                      </a:cubicBezTo>
                      <a:cubicBezTo>
                        <a:pt x="442" y="970"/>
                        <a:pt x="435" y="975"/>
                        <a:pt x="429" y="980"/>
                      </a:cubicBezTo>
                      <a:cubicBezTo>
                        <a:pt x="418" y="990"/>
                        <a:pt x="411" y="1001"/>
                        <a:pt x="410" y="1018"/>
                      </a:cubicBezTo>
                      <a:cubicBezTo>
                        <a:pt x="409" y="1039"/>
                        <a:pt x="399" y="1058"/>
                        <a:pt x="384" y="1073"/>
                      </a:cubicBezTo>
                      <a:cubicBezTo>
                        <a:pt x="306" y="1151"/>
                        <a:pt x="227" y="1230"/>
                        <a:pt x="148" y="1309"/>
                      </a:cubicBezTo>
                      <a:cubicBezTo>
                        <a:pt x="119" y="1338"/>
                        <a:pt x="83" y="1343"/>
                        <a:pt x="51" y="1328"/>
                      </a:cubicBezTo>
                      <a:cubicBezTo>
                        <a:pt x="20" y="1313"/>
                        <a:pt x="0" y="1281"/>
                        <a:pt x="2" y="1247"/>
                      </a:cubicBezTo>
                      <a:cubicBezTo>
                        <a:pt x="3" y="1226"/>
                        <a:pt x="11" y="1208"/>
                        <a:pt x="26" y="1193"/>
                      </a:cubicBezTo>
                      <a:cubicBezTo>
                        <a:pt x="106" y="1113"/>
                        <a:pt x="187" y="1032"/>
                        <a:pt x="268" y="952"/>
                      </a:cubicBezTo>
                      <a:cubicBezTo>
                        <a:pt x="282" y="937"/>
                        <a:pt x="299" y="928"/>
                        <a:pt x="319" y="928"/>
                      </a:cubicBezTo>
                      <a:cubicBezTo>
                        <a:pt x="334" y="927"/>
                        <a:pt x="344" y="922"/>
                        <a:pt x="354" y="911"/>
                      </a:cubicBezTo>
                      <a:cubicBezTo>
                        <a:pt x="360" y="904"/>
                        <a:pt x="367" y="895"/>
                        <a:pt x="375" y="891"/>
                      </a:cubicBezTo>
                      <a:cubicBezTo>
                        <a:pt x="392" y="881"/>
                        <a:pt x="391" y="873"/>
                        <a:pt x="380" y="859"/>
                      </a:cubicBezTo>
                      <a:cubicBezTo>
                        <a:pt x="314" y="772"/>
                        <a:pt x="279" y="675"/>
                        <a:pt x="273" y="567"/>
                      </a:cubicBezTo>
                      <a:cubicBezTo>
                        <a:pt x="258" y="296"/>
                        <a:pt x="459" y="56"/>
                        <a:pt x="725" y="22"/>
                      </a:cubicBezTo>
                      <a:cubicBezTo>
                        <a:pt x="897" y="0"/>
                        <a:pt x="1045" y="51"/>
                        <a:pt x="1168" y="172"/>
                      </a:cubicBezTo>
                      <a:cubicBezTo>
                        <a:pt x="1269" y="271"/>
                        <a:pt x="1320" y="402"/>
                        <a:pt x="1320" y="543"/>
                      </a:cubicBezTo>
                      <a:close/>
                      <a:moveTo>
                        <a:pt x="797" y="119"/>
                      </a:moveTo>
                      <a:cubicBezTo>
                        <a:pt x="574" y="116"/>
                        <a:pt x="373" y="295"/>
                        <a:pt x="373" y="541"/>
                      </a:cubicBezTo>
                      <a:cubicBezTo>
                        <a:pt x="374" y="782"/>
                        <a:pt x="568" y="964"/>
                        <a:pt x="793" y="964"/>
                      </a:cubicBezTo>
                      <a:cubicBezTo>
                        <a:pt x="1028" y="963"/>
                        <a:pt x="1219" y="775"/>
                        <a:pt x="1219" y="540"/>
                      </a:cubicBezTo>
                      <a:cubicBezTo>
                        <a:pt x="1219" y="306"/>
                        <a:pt x="1033" y="120"/>
                        <a:pt x="797"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52">
                  <a:extLst>
                    <a:ext uri="{FF2B5EF4-FFF2-40B4-BE49-F238E27FC236}">
                      <a16:creationId xmlns:a16="http://schemas.microsoft.com/office/drawing/2014/main" id="{605DAB8B-A9FD-4EC5-B1FF-F00433691B32}"/>
                    </a:ext>
                  </a:extLst>
                </p:cNvPr>
                <p:cNvSpPr>
                  <a:spLocks/>
                </p:cNvSpPr>
                <p:nvPr/>
              </p:nvSpPr>
              <p:spPr bwMode="auto">
                <a:xfrm>
                  <a:off x="4438469" y="1630759"/>
                  <a:ext cx="258461" cy="169914"/>
                </a:xfrm>
                <a:custGeom>
                  <a:avLst/>
                  <a:gdLst>
                    <a:gd name="T0" fmla="*/ 60 w 733"/>
                    <a:gd name="T1" fmla="*/ 262 h 482"/>
                    <a:gd name="T2" fmla="*/ 148 w 733"/>
                    <a:gd name="T3" fmla="*/ 216 h 482"/>
                    <a:gd name="T4" fmla="*/ 259 w 733"/>
                    <a:gd name="T5" fmla="*/ 44 h 482"/>
                    <a:gd name="T6" fmla="*/ 291 w 733"/>
                    <a:gd name="T7" fmla="*/ 43 h 482"/>
                    <a:gd name="T8" fmla="*/ 469 w 733"/>
                    <a:gd name="T9" fmla="*/ 289 h 482"/>
                    <a:gd name="T10" fmla="*/ 496 w 733"/>
                    <a:gd name="T11" fmla="*/ 288 h 482"/>
                    <a:gd name="T12" fmla="*/ 666 w 733"/>
                    <a:gd name="T13" fmla="*/ 19 h 482"/>
                    <a:gd name="T14" fmla="*/ 693 w 733"/>
                    <a:gd name="T15" fmla="*/ 18 h 482"/>
                    <a:gd name="T16" fmla="*/ 729 w 733"/>
                    <a:gd name="T17" fmla="*/ 83 h 482"/>
                    <a:gd name="T18" fmla="*/ 726 w 733"/>
                    <a:gd name="T19" fmla="*/ 109 h 482"/>
                    <a:gd name="T20" fmla="*/ 500 w 733"/>
                    <a:gd name="T21" fmla="*/ 465 h 482"/>
                    <a:gd name="T22" fmla="*/ 474 w 733"/>
                    <a:gd name="T23" fmla="*/ 464 h 482"/>
                    <a:gd name="T24" fmla="*/ 294 w 733"/>
                    <a:gd name="T25" fmla="*/ 207 h 482"/>
                    <a:gd name="T26" fmla="*/ 265 w 733"/>
                    <a:gd name="T27" fmla="*/ 206 h 482"/>
                    <a:gd name="T28" fmla="*/ 175 w 733"/>
                    <a:gd name="T29" fmla="*/ 341 h 482"/>
                    <a:gd name="T30" fmla="*/ 143 w 733"/>
                    <a:gd name="T31" fmla="*/ 359 h 482"/>
                    <a:gd name="T32" fmla="*/ 43 w 733"/>
                    <a:gd name="T33" fmla="*/ 359 h 482"/>
                    <a:gd name="T34" fmla="*/ 17 w 733"/>
                    <a:gd name="T35" fmla="*/ 340 h 482"/>
                    <a:gd name="T36" fmla="*/ 1 w 733"/>
                    <a:gd name="T37" fmla="*/ 278 h 482"/>
                    <a:gd name="T38" fmla="*/ 16 w 733"/>
                    <a:gd name="T39" fmla="*/ 262 h 482"/>
                    <a:gd name="T40" fmla="*/ 60 w 733"/>
                    <a:gd name="T41" fmla="*/ 26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3" h="482">
                      <a:moveTo>
                        <a:pt x="60" y="262"/>
                      </a:moveTo>
                      <a:cubicBezTo>
                        <a:pt x="104" y="273"/>
                        <a:pt x="127" y="251"/>
                        <a:pt x="148" y="216"/>
                      </a:cubicBezTo>
                      <a:cubicBezTo>
                        <a:pt x="182" y="157"/>
                        <a:pt x="221" y="101"/>
                        <a:pt x="259" y="44"/>
                      </a:cubicBezTo>
                      <a:cubicBezTo>
                        <a:pt x="274" y="20"/>
                        <a:pt x="275" y="20"/>
                        <a:pt x="291" y="43"/>
                      </a:cubicBezTo>
                      <a:cubicBezTo>
                        <a:pt x="350" y="125"/>
                        <a:pt x="409" y="207"/>
                        <a:pt x="469" y="289"/>
                      </a:cubicBezTo>
                      <a:cubicBezTo>
                        <a:pt x="483" y="309"/>
                        <a:pt x="483" y="309"/>
                        <a:pt x="496" y="288"/>
                      </a:cubicBezTo>
                      <a:cubicBezTo>
                        <a:pt x="553" y="198"/>
                        <a:pt x="609" y="109"/>
                        <a:pt x="666" y="19"/>
                      </a:cubicBezTo>
                      <a:cubicBezTo>
                        <a:pt x="678" y="0"/>
                        <a:pt x="680" y="0"/>
                        <a:pt x="693" y="18"/>
                      </a:cubicBezTo>
                      <a:cubicBezTo>
                        <a:pt x="707" y="39"/>
                        <a:pt x="719" y="60"/>
                        <a:pt x="729" y="83"/>
                      </a:cubicBezTo>
                      <a:cubicBezTo>
                        <a:pt x="733" y="92"/>
                        <a:pt x="732" y="100"/>
                        <a:pt x="726" y="109"/>
                      </a:cubicBezTo>
                      <a:cubicBezTo>
                        <a:pt x="651" y="227"/>
                        <a:pt x="575" y="346"/>
                        <a:pt x="500" y="465"/>
                      </a:cubicBezTo>
                      <a:cubicBezTo>
                        <a:pt x="489" y="482"/>
                        <a:pt x="487" y="482"/>
                        <a:pt x="474" y="464"/>
                      </a:cubicBezTo>
                      <a:cubicBezTo>
                        <a:pt x="414" y="378"/>
                        <a:pt x="354" y="292"/>
                        <a:pt x="294" y="207"/>
                      </a:cubicBezTo>
                      <a:cubicBezTo>
                        <a:pt x="279" y="186"/>
                        <a:pt x="279" y="186"/>
                        <a:pt x="265" y="206"/>
                      </a:cubicBezTo>
                      <a:cubicBezTo>
                        <a:pt x="235" y="251"/>
                        <a:pt x="205" y="296"/>
                        <a:pt x="175" y="341"/>
                      </a:cubicBezTo>
                      <a:cubicBezTo>
                        <a:pt x="167" y="354"/>
                        <a:pt x="158" y="360"/>
                        <a:pt x="143" y="359"/>
                      </a:cubicBezTo>
                      <a:cubicBezTo>
                        <a:pt x="109" y="358"/>
                        <a:pt x="76" y="358"/>
                        <a:pt x="43" y="359"/>
                      </a:cubicBezTo>
                      <a:cubicBezTo>
                        <a:pt x="28" y="359"/>
                        <a:pt x="21" y="354"/>
                        <a:pt x="17" y="340"/>
                      </a:cubicBezTo>
                      <a:cubicBezTo>
                        <a:pt x="11" y="320"/>
                        <a:pt x="4" y="300"/>
                        <a:pt x="1" y="278"/>
                      </a:cubicBezTo>
                      <a:cubicBezTo>
                        <a:pt x="0" y="266"/>
                        <a:pt x="4" y="261"/>
                        <a:pt x="16" y="262"/>
                      </a:cubicBezTo>
                      <a:cubicBezTo>
                        <a:pt x="31" y="262"/>
                        <a:pt x="46" y="262"/>
                        <a:pt x="60" y="2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147" name="Group 146">
            <a:extLst>
              <a:ext uri="{FF2B5EF4-FFF2-40B4-BE49-F238E27FC236}">
                <a16:creationId xmlns:a16="http://schemas.microsoft.com/office/drawing/2014/main" id="{0E172C74-B2A7-4904-8993-9FF3E178D3E5}"/>
              </a:ext>
            </a:extLst>
          </p:cNvPr>
          <p:cNvGrpSpPr/>
          <p:nvPr/>
        </p:nvGrpSpPr>
        <p:grpSpPr>
          <a:xfrm>
            <a:off x="6285080" y="2322206"/>
            <a:ext cx="935510" cy="935510"/>
            <a:chOff x="6361280" y="2322206"/>
            <a:chExt cx="935510" cy="935510"/>
          </a:xfrm>
        </p:grpSpPr>
        <p:grpSp>
          <p:nvGrpSpPr>
            <p:cNvPr id="78" name="Group 77">
              <a:extLst>
                <a:ext uri="{FF2B5EF4-FFF2-40B4-BE49-F238E27FC236}">
                  <a16:creationId xmlns:a16="http://schemas.microsoft.com/office/drawing/2014/main" id="{274BE407-6E99-4CFC-BD13-2968034462FC}"/>
                </a:ext>
              </a:extLst>
            </p:cNvPr>
            <p:cNvGrpSpPr/>
            <p:nvPr/>
          </p:nvGrpSpPr>
          <p:grpSpPr>
            <a:xfrm>
              <a:off x="6361280" y="2322206"/>
              <a:ext cx="935510" cy="935510"/>
              <a:chOff x="343218" y="2322206"/>
              <a:chExt cx="935510" cy="935510"/>
            </a:xfrm>
          </p:grpSpPr>
          <p:sp>
            <p:nvSpPr>
              <p:cNvPr id="93" name="Oval 92">
                <a:extLst>
                  <a:ext uri="{FF2B5EF4-FFF2-40B4-BE49-F238E27FC236}">
                    <a16:creationId xmlns:a16="http://schemas.microsoft.com/office/drawing/2014/main" id="{0575F6A2-6384-4AA1-8CAD-D8A70E3A13F5}"/>
                  </a:ext>
                </a:extLst>
              </p:cNvPr>
              <p:cNvSpPr/>
              <p:nvPr/>
            </p:nvSpPr>
            <p:spPr bwMode="auto">
              <a:xfrm>
                <a:off x="420790" y="2399780"/>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94" name="Arc 93">
                <a:extLst>
                  <a:ext uri="{FF2B5EF4-FFF2-40B4-BE49-F238E27FC236}">
                    <a16:creationId xmlns:a16="http://schemas.microsoft.com/office/drawing/2014/main" id="{4B4F2F10-8D1A-4BE2-82D7-7E3DD4F5ED48}"/>
                  </a:ext>
                </a:extLst>
              </p:cNvPr>
              <p:cNvSpPr/>
              <p:nvPr/>
            </p:nvSpPr>
            <p:spPr>
              <a:xfrm flipH="1">
                <a:off x="343218" y="2322206"/>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grpSp>
          <p:nvGrpSpPr>
            <p:cNvPr id="134" name="Group 133">
              <a:extLst>
                <a:ext uri="{FF2B5EF4-FFF2-40B4-BE49-F238E27FC236}">
                  <a16:creationId xmlns:a16="http://schemas.microsoft.com/office/drawing/2014/main" id="{644943C3-BF2B-4A6C-B335-C235B205D8D0}"/>
                </a:ext>
              </a:extLst>
            </p:cNvPr>
            <p:cNvGrpSpPr/>
            <p:nvPr/>
          </p:nvGrpSpPr>
          <p:grpSpPr>
            <a:xfrm>
              <a:off x="6521097" y="2651814"/>
              <a:ext cx="615877" cy="276295"/>
              <a:chOff x="9668882" y="4107562"/>
              <a:chExt cx="615877" cy="276295"/>
            </a:xfrm>
          </p:grpSpPr>
          <p:sp>
            <p:nvSpPr>
              <p:cNvPr id="135" name="Freeform: Shape 134">
                <a:extLst>
                  <a:ext uri="{FF2B5EF4-FFF2-40B4-BE49-F238E27FC236}">
                    <a16:creationId xmlns:a16="http://schemas.microsoft.com/office/drawing/2014/main" id="{130D70B8-5929-41A7-A858-96E6E8658602}"/>
                  </a:ext>
                </a:extLst>
              </p:cNvPr>
              <p:cNvSpPr/>
              <p:nvPr/>
            </p:nvSpPr>
            <p:spPr>
              <a:xfrm>
                <a:off x="9745043" y="4121525"/>
                <a:ext cx="386851" cy="60445"/>
              </a:xfrm>
              <a:custGeom>
                <a:avLst/>
                <a:gdLst>
                  <a:gd name="connsiteX0" fmla="*/ 357172 w 386850"/>
                  <a:gd name="connsiteY0" fmla="*/ 59780 h 60445"/>
                  <a:gd name="connsiteX1" fmla="*/ 35602 w 386850"/>
                  <a:gd name="connsiteY1" fmla="*/ 59780 h 60445"/>
                  <a:gd name="connsiteX2" fmla="*/ 11424 w 386850"/>
                  <a:gd name="connsiteY2" fmla="*/ 35602 h 60445"/>
                  <a:gd name="connsiteX3" fmla="*/ 11424 w 386850"/>
                  <a:gd name="connsiteY3" fmla="*/ 35602 h 60445"/>
                  <a:gd name="connsiteX4" fmla="*/ 35602 w 386850"/>
                  <a:gd name="connsiteY4" fmla="*/ 11424 h 60445"/>
                  <a:gd name="connsiteX5" fmla="*/ 357172 w 386850"/>
                  <a:gd name="connsiteY5" fmla="*/ 11424 h 60445"/>
                  <a:gd name="connsiteX6" fmla="*/ 381350 w 386850"/>
                  <a:gd name="connsiteY6" fmla="*/ 35602 h 60445"/>
                  <a:gd name="connsiteX7" fmla="*/ 381350 w 386850"/>
                  <a:gd name="connsiteY7" fmla="*/ 35602 h 60445"/>
                  <a:gd name="connsiteX8" fmla="*/ 357172 w 386850"/>
                  <a:gd name="connsiteY8" fmla="*/ 59780 h 60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6850" h="60445">
                    <a:moveTo>
                      <a:pt x="357172" y="59780"/>
                    </a:moveTo>
                    <a:lnTo>
                      <a:pt x="35602" y="59780"/>
                    </a:lnTo>
                    <a:cubicBezTo>
                      <a:pt x="22304" y="59780"/>
                      <a:pt x="11424" y="48900"/>
                      <a:pt x="11424" y="35602"/>
                    </a:cubicBezTo>
                    <a:lnTo>
                      <a:pt x="11424" y="35602"/>
                    </a:lnTo>
                    <a:cubicBezTo>
                      <a:pt x="11424" y="22304"/>
                      <a:pt x="22304" y="11424"/>
                      <a:pt x="35602" y="11424"/>
                    </a:cubicBezTo>
                    <a:lnTo>
                      <a:pt x="357172" y="11424"/>
                    </a:lnTo>
                    <a:cubicBezTo>
                      <a:pt x="370470" y="11424"/>
                      <a:pt x="381350" y="22304"/>
                      <a:pt x="381350" y="35602"/>
                    </a:cubicBezTo>
                    <a:lnTo>
                      <a:pt x="381350" y="35602"/>
                    </a:lnTo>
                    <a:cubicBezTo>
                      <a:pt x="381350" y="48900"/>
                      <a:pt x="370470" y="59780"/>
                      <a:pt x="357172" y="59780"/>
                    </a:cubicBezTo>
                    <a:close/>
                  </a:path>
                </a:pathLst>
              </a:custGeom>
              <a:solidFill>
                <a:schemeClr val="bg1">
                  <a:lumMod val="95000"/>
                </a:schemeClr>
              </a:solidFill>
              <a:ln w="12002" cap="flat">
                <a:noFill/>
                <a:prstDash val="solid"/>
                <a:miter/>
              </a:ln>
            </p:spPr>
            <p:txBody>
              <a:bodyPr rtlCol="0" anchor="ctr"/>
              <a:lstStyle/>
              <a:p>
                <a:endParaRPr lang="en-IN"/>
              </a:p>
            </p:txBody>
          </p:sp>
          <p:sp>
            <p:nvSpPr>
              <p:cNvPr id="136" name="Freeform: Shape 135">
                <a:extLst>
                  <a:ext uri="{FF2B5EF4-FFF2-40B4-BE49-F238E27FC236}">
                    <a16:creationId xmlns:a16="http://schemas.microsoft.com/office/drawing/2014/main" id="{CD26E115-10F7-4B66-80B9-9CC9BCB6B3A5}"/>
                  </a:ext>
                </a:extLst>
              </p:cNvPr>
              <p:cNvSpPr/>
              <p:nvPr/>
            </p:nvSpPr>
            <p:spPr>
              <a:xfrm>
                <a:off x="9703940" y="4323412"/>
                <a:ext cx="362672" cy="60445"/>
              </a:xfrm>
              <a:custGeom>
                <a:avLst/>
                <a:gdLst>
                  <a:gd name="connsiteX0" fmla="*/ 332994 w 362672"/>
                  <a:gd name="connsiteY0" fmla="*/ 59780 h 60445"/>
                  <a:gd name="connsiteX1" fmla="*/ 35602 w 362672"/>
                  <a:gd name="connsiteY1" fmla="*/ 59780 h 60445"/>
                  <a:gd name="connsiteX2" fmla="*/ 11424 w 362672"/>
                  <a:gd name="connsiteY2" fmla="*/ 35602 h 60445"/>
                  <a:gd name="connsiteX3" fmla="*/ 11424 w 362672"/>
                  <a:gd name="connsiteY3" fmla="*/ 35602 h 60445"/>
                  <a:gd name="connsiteX4" fmla="*/ 35602 w 362672"/>
                  <a:gd name="connsiteY4" fmla="*/ 11424 h 60445"/>
                  <a:gd name="connsiteX5" fmla="*/ 332994 w 362672"/>
                  <a:gd name="connsiteY5" fmla="*/ 11424 h 60445"/>
                  <a:gd name="connsiteX6" fmla="*/ 357172 w 362672"/>
                  <a:gd name="connsiteY6" fmla="*/ 35602 h 60445"/>
                  <a:gd name="connsiteX7" fmla="*/ 357172 w 362672"/>
                  <a:gd name="connsiteY7" fmla="*/ 35602 h 60445"/>
                  <a:gd name="connsiteX8" fmla="*/ 332994 w 362672"/>
                  <a:gd name="connsiteY8" fmla="*/ 59780 h 60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2672" h="60445">
                    <a:moveTo>
                      <a:pt x="332994" y="59780"/>
                    </a:moveTo>
                    <a:lnTo>
                      <a:pt x="35602" y="59780"/>
                    </a:lnTo>
                    <a:cubicBezTo>
                      <a:pt x="22304" y="59780"/>
                      <a:pt x="11424" y="48900"/>
                      <a:pt x="11424" y="35602"/>
                    </a:cubicBezTo>
                    <a:lnTo>
                      <a:pt x="11424" y="35602"/>
                    </a:lnTo>
                    <a:cubicBezTo>
                      <a:pt x="11424" y="22304"/>
                      <a:pt x="22304" y="11424"/>
                      <a:pt x="35602" y="11424"/>
                    </a:cubicBezTo>
                    <a:lnTo>
                      <a:pt x="332994" y="11424"/>
                    </a:lnTo>
                    <a:cubicBezTo>
                      <a:pt x="346292" y="11424"/>
                      <a:pt x="357172" y="22304"/>
                      <a:pt x="357172" y="35602"/>
                    </a:cubicBezTo>
                    <a:lnTo>
                      <a:pt x="357172" y="35602"/>
                    </a:lnTo>
                    <a:cubicBezTo>
                      <a:pt x="357172" y="48900"/>
                      <a:pt x="346292" y="59780"/>
                      <a:pt x="332994" y="59780"/>
                    </a:cubicBezTo>
                    <a:close/>
                  </a:path>
                </a:pathLst>
              </a:custGeom>
              <a:solidFill>
                <a:schemeClr val="bg1">
                  <a:lumMod val="95000"/>
                </a:schemeClr>
              </a:solidFill>
              <a:ln w="12002" cap="flat">
                <a:noFill/>
                <a:prstDash val="solid"/>
                <a:miter/>
              </a:ln>
            </p:spPr>
            <p:txBody>
              <a:bodyPr rtlCol="0" anchor="ctr"/>
              <a:lstStyle/>
              <a:p>
                <a:endParaRPr lang="en-IN"/>
              </a:p>
            </p:txBody>
          </p:sp>
          <p:sp>
            <p:nvSpPr>
              <p:cNvPr id="137" name="Freeform: Shape 136">
                <a:extLst>
                  <a:ext uri="{FF2B5EF4-FFF2-40B4-BE49-F238E27FC236}">
                    <a16:creationId xmlns:a16="http://schemas.microsoft.com/office/drawing/2014/main" id="{8656FFEC-9B92-4F53-9783-69B50753C4A7}"/>
                  </a:ext>
                </a:extLst>
              </p:cNvPr>
              <p:cNvSpPr/>
              <p:nvPr/>
            </p:nvSpPr>
            <p:spPr>
              <a:xfrm>
                <a:off x="9668882" y="4225490"/>
                <a:ext cx="362672" cy="60445"/>
              </a:xfrm>
              <a:custGeom>
                <a:avLst/>
                <a:gdLst>
                  <a:gd name="connsiteX0" fmla="*/ 332994 w 362672"/>
                  <a:gd name="connsiteY0" fmla="*/ 59780 h 60445"/>
                  <a:gd name="connsiteX1" fmla="*/ 35602 w 362672"/>
                  <a:gd name="connsiteY1" fmla="*/ 59780 h 60445"/>
                  <a:gd name="connsiteX2" fmla="*/ 11424 w 362672"/>
                  <a:gd name="connsiteY2" fmla="*/ 35602 h 60445"/>
                  <a:gd name="connsiteX3" fmla="*/ 11424 w 362672"/>
                  <a:gd name="connsiteY3" fmla="*/ 35602 h 60445"/>
                  <a:gd name="connsiteX4" fmla="*/ 35602 w 362672"/>
                  <a:gd name="connsiteY4" fmla="*/ 11424 h 60445"/>
                  <a:gd name="connsiteX5" fmla="*/ 332994 w 362672"/>
                  <a:gd name="connsiteY5" fmla="*/ 11424 h 60445"/>
                  <a:gd name="connsiteX6" fmla="*/ 357172 w 362672"/>
                  <a:gd name="connsiteY6" fmla="*/ 35602 h 60445"/>
                  <a:gd name="connsiteX7" fmla="*/ 357172 w 362672"/>
                  <a:gd name="connsiteY7" fmla="*/ 35602 h 60445"/>
                  <a:gd name="connsiteX8" fmla="*/ 332994 w 362672"/>
                  <a:gd name="connsiteY8" fmla="*/ 59780 h 60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2672" h="60445">
                    <a:moveTo>
                      <a:pt x="332994" y="59780"/>
                    </a:moveTo>
                    <a:lnTo>
                      <a:pt x="35602" y="59780"/>
                    </a:lnTo>
                    <a:cubicBezTo>
                      <a:pt x="22304" y="59780"/>
                      <a:pt x="11424" y="48900"/>
                      <a:pt x="11424" y="35602"/>
                    </a:cubicBezTo>
                    <a:lnTo>
                      <a:pt x="11424" y="35602"/>
                    </a:lnTo>
                    <a:cubicBezTo>
                      <a:pt x="11424" y="22304"/>
                      <a:pt x="22304" y="11424"/>
                      <a:pt x="35602" y="11424"/>
                    </a:cubicBezTo>
                    <a:lnTo>
                      <a:pt x="332994" y="11424"/>
                    </a:lnTo>
                    <a:cubicBezTo>
                      <a:pt x="346292" y="11424"/>
                      <a:pt x="357172" y="22304"/>
                      <a:pt x="357172" y="35602"/>
                    </a:cubicBezTo>
                    <a:lnTo>
                      <a:pt x="357172" y="35602"/>
                    </a:lnTo>
                    <a:cubicBezTo>
                      <a:pt x="357172" y="48900"/>
                      <a:pt x="346292" y="59780"/>
                      <a:pt x="332994" y="59780"/>
                    </a:cubicBezTo>
                    <a:close/>
                  </a:path>
                </a:pathLst>
              </a:custGeom>
              <a:solidFill>
                <a:schemeClr val="bg1">
                  <a:lumMod val="95000"/>
                </a:schemeClr>
              </a:solidFill>
              <a:ln w="12002" cap="flat">
                <a:noFill/>
                <a:prstDash val="solid"/>
                <a:miter/>
              </a:ln>
            </p:spPr>
            <p:txBody>
              <a:bodyPr rtlCol="0" anchor="ctr"/>
              <a:lstStyle/>
              <a:p>
                <a:endParaRPr lang="en-IN"/>
              </a:p>
            </p:txBody>
          </p:sp>
          <p:sp>
            <p:nvSpPr>
              <p:cNvPr id="138" name="Freeform: Shape 137">
                <a:extLst>
                  <a:ext uri="{FF2B5EF4-FFF2-40B4-BE49-F238E27FC236}">
                    <a16:creationId xmlns:a16="http://schemas.microsoft.com/office/drawing/2014/main" id="{DD87F9AF-9115-4EF2-8C2C-A1B411A852AC}"/>
                  </a:ext>
                </a:extLst>
              </p:cNvPr>
              <p:cNvSpPr/>
              <p:nvPr/>
            </p:nvSpPr>
            <p:spPr>
              <a:xfrm>
                <a:off x="9845925" y="4107562"/>
                <a:ext cx="438834" cy="275631"/>
              </a:xfrm>
              <a:custGeom>
                <a:avLst/>
                <a:gdLst>
                  <a:gd name="connsiteX0" fmla="*/ 250244 w 438834"/>
                  <a:gd name="connsiteY0" fmla="*/ 0 h 275631"/>
                  <a:gd name="connsiteX1" fmla="*/ 291347 w 438834"/>
                  <a:gd name="connsiteY1" fmla="*/ 7254 h 275631"/>
                  <a:gd name="connsiteX2" fmla="*/ 290049 w 438834"/>
                  <a:gd name="connsiteY2" fmla="*/ 8085 h 275631"/>
                  <a:gd name="connsiteX3" fmla="*/ 302511 w 438834"/>
                  <a:gd name="connsiteY3" fmla="*/ 10616 h 275631"/>
                  <a:gd name="connsiteX4" fmla="*/ 385642 w 438834"/>
                  <a:gd name="connsiteY4" fmla="*/ 135398 h 275631"/>
                  <a:gd name="connsiteX5" fmla="*/ 380806 w 438834"/>
                  <a:gd name="connsiteY5" fmla="*/ 171666 h 275631"/>
                  <a:gd name="connsiteX6" fmla="*/ 388060 w 438834"/>
                  <a:gd name="connsiteY6" fmla="*/ 171666 h 275631"/>
                  <a:gd name="connsiteX7" fmla="*/ 438834 w 438834"/>
                  <a:gd name="connsiteY7" fmla="*/ 223648 h 275631"/>
                  <a:gd name="connsiteX8" fmla="*/ 390477 w 438834"/>
                  <a:gd name="connsiteY8" fmla="*/ 275631 h 275631"/>
                  <a:gd name="connsiteX9" fmla="*/ 91877 w 438834"/>
                  <a:gd name="connsiteY9" fmla="*/ 275631 h 275631"/>
                  <a:gd name="connsiteX10" fmla="*/ 0 w 438834"/>
                  <a:gd name="connsiteY10" fmla="*/ 181337 h 275631"/>
                  <a:gd name="connsiteX11" fmla="*/ 91877 w 438834"/>
                  <a:gd name="connsiteY11" fmla="*/ 87042 h 275631"/>
                  <a:gd name="connsiteX12" fmla="*/ 122100 w 438834"/>
                  <a:gd name="connsiteY12" fmla="*/ 91878 h 275631"/>
                  <a:gd name="connsiteX13" fmla="*/ 250244 w 438834"/>
                  <a:gd name="connsiteY13" fmla="*/ 0 h 27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834" h="275631">
                    <a:moveTo>
                      <a:pt x="250244" y="0"/>
                    </a:moveTo>
                    <a:cubicBezTo>
                      <a:pt x="264751" y="0"/>
                      <a:pt x="278049" y="3627"/>
                      <a:pt x="291347" y="7254"/>
                    </a:cubicBezTo>
                    <a:lnTo>
                      <a:pt x="290049" y="8085"/>
                    </a:lnTo>
                    <a:lnTo>
                      <a:pt x="302511" y="10616"/>
                    </a:lnTo>
                    <a:cubicBezTo>
                      <a:pt x="350962" y="31129"/>
                      <a:pt x="385642" y="79183"/>
                      <a:pt x="385642" y="135398"/>
                    </a:cubicBezTo>
                    <a:cubicBezTo>
                      <a:pt x="385642" y="148696"/>
                      <a:pt x="383224" y="160785"/>
                      <a:pt x="380806" y="171666"/>
                    </a:cubicBezTo>
                    <a:cubicBezTo>
                      <a:pt x="384433" y="171666"/>
                      <a:pt x="385642" y="171666"/>
                      <a:pt x="388060" y="171666"/>
                    </a:cubicBezTo>
                    <a:cubicBezTo>
                      <a:pt x="415865" y="171666"/>
                      <a:pt x="438834" y="194635"/>
                      <a:pt x="438834" y="223648"/>
                    </a:cubicBezTo>
                    <a:cubicBezTo>
                      <a:pt x="438834" y="250244"/>
                      <a:pt x="418282" y="272005"/>
                      <a:pt x="390477" y="275631"/>
                    </a:cubicBezTo>
                    <a:lnTo>
                      <a:pt x="91877" y="275631"/>
                    </a:lnTo>
                    <a:cubicBezTo>
                      <a:pt x="41103" y="275631"/>
                      <a:pt x="0" y="233320"/>
                      <a:pt x="0" y="181337"/>
                    </a:cubicBezTo>
                    <a:cubicBezTo>
                      <a:pt x="0" y="129354"/>
                      <a:pt x="39894" y="87042"/>
                      <a:pt x="91877" y="87042"/>
                    </a:cubicBezTo>
                    <a:cubicBezTo>
                      <a:pt x="102757" y="87042"/>
                      <a:pt x="112429" y="89460"/>
                      <a:pt x="122100" y="91878"/>
                    </a:cubicBezTo>
                    <a:cubicBezTo>
                      <a:pt x="140234" y="39894"/>
                      <a:pt x="191008" y="0"/>
                      <a:pt x="250244" y="0"/>
                    </a:cubicBezTo>
                    <a:close/>
                  </a:path>
                </a:pathLst>
              </a:custGeom>
              <a:solidFill>
                <a:schemeClr val="bg1"/>
              </a:solidFill>
              <a:ln w="12002" cap="flat">
                <a:noFill/>
                <a:prstDash val="solid"/>
                <a:miter/>
              </a:ln>
            </p:spPr>
            <p:txBody>
              <a:bodyPr rtlCol="0" anchor="ctr"/>
              <a:lstStyle/>
              <a:p>
                <a:endParaRPr lang="en-IN"/>
              </a:p>
            </p:txBody>
          </p:sp>
        </p:grpSp>
      </p:grpSp>
    </p:spTree>
    <p:extLst>
      <p:ext uri="{BB962C8B-B14F-4D97-AF65-F5344CB8AC3E}">
        <p14:creationId xmlns:p14="http://schemas.microsoft.com/office/powerpoint/2010/main" val="172807976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D0C95-80BE-41C2-903E-923ED02D9F45}"/>
              </a:ext>
            </a:extLst>
          </p:cNvPr>
          <p:cNvSpPr>
            <a:spLocks noGrp="1"/>
          </p:cNvSpPr>
          <p:nvPr>
            <p:ph type="title"/>
          </p:nvPr>
        </p:nvSpPr>
        <p:spPr/>
        <p:txBody>
          <a:bodyPr/>
          <a:lstStyle/>
          <a:p>
            <a:r>
              <a:rPr lang="en-US" dirty="0"/>
              <a:t>What are Customers looking to migrate </a:t>
            </a:r>
            <a:br>
              <a:rPr lang="en-US" dirty="0"/>
            </a:br>
            <a:r>
              <a:rPr lang="en-US" dirty="0"/>
              <a:t>to the Cloud?</a:t>
            </a:r>
            <a:endParaRPr lang="en-IN" dirty="0"/>
          </a:p>
        </p:txBody>
      </p:sp>
      <p:sp>
        <p:nvSpPr>
          <p:cNvPr id="6" name="Rectangle 5">
            <a:extLst>
              <a:ext uri="{FF2B5EF4-FFF2-40B4-BE49-F238E27FC236}">
                <a16:creationId xmlns:a16="http://schemas.microsoft.com/office/drawing/2014/main" id="{56451B3A-8C34-4852-BDB5-89FB85314331}"/>
              </a:ext>
            </a:extLst>
          </p:cNvPr>
          <p:cNvSpPr/>
          <p:nvPr/>
        </p:nvSpPr>
        <p:spPr bwMode="auto">
          <a:xfrm>
            <a:off x="1258873" y="3492554"/>
            <a:ext cx="9918729" cy="344949"/>
          </a:xfrm>
          <a:custGeom>
            <a:avLst/>
            <a:gdLst>
              <a:gd name="connsiteX0" fmla="*/ 0 w 9918729"/>
              <a:gd name="connsiteY0" fmla="*/ 0 h 2113846"/>
              <a:gd name="connsiteX1" fmla="*/ 9918729 w 9918729"/>
              <a:gd name="connsiteY1" fmla="*/ 0 h 2113846"/>
              <a:gd name="connsiteX2" fmla="*/ 9918729 w 9918729"/>
              <a:gd name="connsiteY2" fmla="*/ 2113846 h 2113846"/>
              <a:gd name="connsiteX3" fmla="*/ 0 w 9918729"/>
              <a:gd name="connsiteY3" fmla="*/ 2113846 h 2113846"/>
              <a:gd name="connsiteX4" fmla="*/ 0 w 9918729"/>
              <a:gd name="connsiteY4" fmla="*/ 0 h 2113846"/>
              <a:gd name="connsiteX0" fmla="*/ 0 w 9918729"/>
              <a:gd name="connsiteY0" fmla="*/ 11698 h 2125544"/>
              <a:gd name="connsiteX1" fmla="*/ 5088091 w 9918729"/>
              <a:gd name="connsiteY1" fmla="*/ 0 h 2125544"/>
              <a:gd name="connsiteX2" fmla="*/ 9918729 w 9918729"/>
              <a:gd name="connsiteY2" fmla="*/ 11698 h 2125544"/>
              <a:gd name="connsiteX3" fmla="*/ 9918729 w 9918729"/>
              <a:gd name="connsiteY3" fmla="*/ 2125544 h 2125544"/>
              <a:gd name="connsiteX4" fmla="*/ 0 w 9918729"/>
              <a:gd name="connsiteY4" fmla="*/ 2125544 h 2125544"/>
              <a:gd name="connsiteX5" fmla="*/ 0 w 9918729"/>
              <a:gd name="connsiteY5" fmla="*/ 11698 h 2125544"/>
              <a:gd name="connsiteX0" fmla="*/ 5088091 w 9918729"/>
              <a:gd name="connsiteY0" fmla="*/ 0 h 2125544"/>
              <a:gd name="connsiteX1" fmla="*/ 9918729 w 9918729"/>
              <a:gd name="connsiteY1" fmla="*/ 11698 h 2125544"/>
              <a:gd name="connsiteX2" fmla="*/ 9918729 w 9918729"/>
              <a:gd name="connsiteY2" fmla="*/ 2125544 h 2125544"/>
              <a:gd name="connsiteX3" fmla="*/ 0 w 9918729"/>
              <a:gd name="connsiteY3" fmla="*/ 2125544 h 2125544"/>
              <a:gd name="connsiteX4" fmla="*/ 0 w 9918729"/>
              <a:gd name="connsiteY4" fmla="*/ 11698 h 2125544"/>
              <a:gd name="connsiteX5" fmla="*/ 5179531 w 9918729"/>
              <a:gd name="connsiteY5" fmla="*/ 91440 h 2125544"/>
              <a:gd name="connsiteX0" fmla="*/ 5088091 w 9918729"/>
              <a:gd name="connsiteY0" fmla="*/ 0 h 2125544"/>
              <a:gd name="connsiteX1" fmla="*/ 9918729 w 9918729"/>
              <a:gd name="connsiteY1" fmla="*/ 11698 h 2125544"/>
              <a:gd name="connsiteX2" fmla="*/ 9918729 w 9918729"/>
              <a:gd name="connsiteY2" fmla="*/ 2125544 h 2125544"/>
              <a:gd name="connsiteX3" fmla="*/ 0 w 9918729"/>
              <a:gd name="connsiteY3" fmla="*/ 2125544 h 2125544"/>
              <a:gd name="connsiteX4" fmla="*/ 0 w 9918729"/>
              <a:gd name="connsiteY4" fmla="*/ 11698 h 2125544"/>
              <a:gd name="connsiteX0" fmla="*/ 9918729 w 9918729"/>
              <a:gd name="connsiteY0" fmla="*/ 0 h 2113846"/>
              <a:gd name="connsiteX1" fmla="*/ 9918729 w 9918729"/>
              <a:gd name="connsiteY1" fmla="*/ 2113846 h 2113846"/>
              <a:gd name="connsiteX2" fmla="*/ 0 w 9918729"/>
              <a:gd name="connsiteY2" fmla="*/ 2113846 h 2113846"/>
              <a:gd name="connsiteX3" fmla="*/ 0 w 9918729"/>
              <a:gd name="connsiteY3" fmla="*/ 0 h 2113846"/>
            </a:gdLst>
            <a:ahLst/>
            <a:cxnLst>
              <a:cxn ang="0">
                <a:pos x="connsiteX0" y="connsiteY0"/>
              </a:cxn>
              <a:cxn ang="0">
                <a:pos x="connsiteX1" y="connsiteY1"/>
              </a:cxn>
              <a:cxn ang="0">
                <a:pos x="connsiteX2" y="connsiteY2"/>
              </a:cxn>
              <a:cxn ang="0">
                <a:pos x="connsiteX3" y="connsiteY3"/>
              </a:cxn>
            </a:cxnLst>
            <a:rect l="l" t="t" r="r" b="b"/>
            <a:pathLst>
              <a:path w="9918729" h="2113846">
                <a:moveTo>
                  <a:pt x="9918729" y="0"/>
                </a:moveTo>
                <a:lnTo>
                  <a:pt x="9918729" y="2113846"/>
                </a:lnTo>
                <a:lnTo>
                  <a:pt x="0" y="2113846"/>
                </a:lnTo>
                <a:lnTo>
                  <a:pt x="0" y="0"/>
                </a:lnTo>
              </a:path>
            </a:pathLst>
          </a:custGeom>
          <a:no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b="1">
              <a:solidFill>
                <a:schemeClr val="tx2"/>
              </a:soli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640E129E-7187-4A47-8DA0-7BE1CA6CCF54}"/>
              </a:ext>
            </a:extLst>
          </p:cNvPr>
          <p:cNvCxnSpPr>
            <a:cxnSpLocks/>
          </p:cNvCxnSpPr>
          <p:nvPr/>
        </p:nvCxnSpPr>
        <p:spPr>
          <a:xfrm>
            <a:off x="6218237" y="3837249"/>
            <a:ext cx="0" cy="1190957"/>
          </a:xfrm>
          <a:prstGeom prst="line">
            <a:avLst/>
          </a:prstGeom>
          <a:ln w="28575">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2E829693-C6A8-4BAB-95A4-EF8F0B0C2669}"/>
              </a:ext>
            </a:extLst>
          </p:cNvPr>
          <p:cNvSpPr/>
          <p:nvPr/>
        </p:nvSpPr>
        <p:spPr bwMode="auto">
          <a:xfrm>
            <a:off x="5705651" y="5219967"/>
            <a:ext cx="1025173" cy="102517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b="1">
              <a:solidFill>
                <a:schemeClr val="tx2"/>
              </a:solidFill>
              <a:ea typeface="Segoe UI" pitchFamily="34" charset="0"/>
              <a:cs typeface="Segoe UI" pitchFamily="34" charset="0"/>
            </a:endParaRPr>
          </a:p>
        </p:txBody>
      </p:sp>
      <p:sp>
        <p:nvSpPr>
          <p:cNvPr id="11" name="TextBox 10">
            <a:extLst>
              <a:ext uri="{FF2B5EF4-FFF2-40B4-BE49-F238E27FC236}">
                <a16:creationId xmlns:a16="http://schemas.microsoft.com/office/drawing/2014/main" id="{98E2A94C-6E94-4034-9B2D-07D486F2052E}"/>
              </a:ext>
            </a:extLst>
          </p:cNvPr>
          <p:cNvSpPr txBox="1"/>
          <p:nvPr/>
        </p:nvSpPr>
        <p:spPr>
          <a:xfrm>
            <a:off x="5904498" y="6410670"/>
            <a:ext cx="627479" cy="249299"/>
          </a:xfrm>
          <a:prstGeom prst="rect">
            <a:avLst/>
          </a:prstGeom>
          <a:noFill/>
        </p:spPr>
        <p:txBody>
          <a:bodyPr wrap="square" lIns="0" tIns="0" rIns="0" bIns="0" rtlCol="0">
            <a:spAutoFit/>
          </a:bodyPr>
          <a:lstStyle/>
          <a:p>
            <a:pPr algn="ctr" defTabSz="932563">
              <a:lnSpc>
                <a:spcPct val="90000"/>
              </a:lnSpc>
              <a:spcAft>
                <a:spcPts val="600"/>
              </a:spcAft>
              <a:defRPr/>
            </a:pPr>
            <a:r>
              <a:rPr lang="en-US" b="1">
                <a:solidFill>
                  <a:schemeClr val="tx2"/>
                </a:solidFill>
              </a:rPr>
              <a:t>Azure</a:t>
            </a:r>
          </a:p>
        </p:txBody>
      </p:sp>
      <p:sp>
        <p:nvSpPr>
          <p:cNvPr id="16" name="Oval 15">
            <a:extLst>
              <a:ext uri="{FF2B5EF4-FFF2-40B4-BE49-F238E27FC236}">
                <a16:creationId xmlns:a16="http://schemas.microsoft.com/office/drawing/2014/main" id="{856C8F36-5831-4AF6-984E-2365C806612A}"/>
              </a:ext>
            </a:extLst>
          </p:cNvPr>
          <p:cNvSpPr/>
          <p:nvPr/>
        </p:nvSpPr>
        <p:spPr bwMode="auto">
          <a:xfrm>
            <a:off x="1763240" y="1893252"/>
            <a:ext cx="1040985" cy="1040985"/>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b="1">
              <a:solidFill>
                <a:schemeClr val="tx2"/>
              </a:solidFill>
              <a:ea typeface="Segoe UI" pitchFamily="34" charset="0"/>
              <a:cs typeface="Segoe UI" pitchFamily="34" charset="0"/>
            </a:endParaRPr>
          </a:p>
        </p:txBody>
      </p:sp>
      <p:sp>
        <p:nvSpPr>
          <p:cNvPr id="19" name="Oval 18">
            <a:extLst>
              <a:ext uri="{FF2B5EF4-FFF2-40B4-BE49-F238E27FC236}">
                <a16:creationId xmlns:a16="http://schemas.microsoft.com/office/drawing/2014/main" id="{A18806BE-19A8-46EA-B7A0-B722F9D286B8}"/>
              </a:ext>
            </a:extLst>
          </p:cNvPr>
          <p:cNvSpPr/>
          <p:nvPr/>
        </p:nvSpPr>
        <p:spPr bwMode="auto">
          <a:xfrm>
            <a:off x="9797889" y="1893252"/>
            <a:ext cx="1040985" cy="1040985"/>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b="1">
              <a:solidFill>
                <a:schemeClr val="tx2"/>
              </a:solidFill>
              <a:ea typeface="Segoe UI" pitchFamily="34" charset="0"/>
              <a:cs typeface="Segoe UI" pitchFamily="34" charset="0"/>
            </a:endParaRPr>
          </a:p>
        </p:txBody>
      </p:sp>
      <p:sp>
        <p:nvSpPr>
          <p:cNvPr id="22" name="Oval 21">
            <a:extLst>
              <a:ext uri="{FF2B5EF4-FFF2-40B4-BE49-F238E27FC236}">
                <a16:creationId xmlns:a16="http://schemas.microsoft.com/office/drawing/2014/main" id="{AFE8D7CE-A5CB-41DA-8E43-EA29FBD9B857}"/>
              </a:ext>
            </a:extLst>
          </p:cNvPr>
          <p:cNvSpPr/>
          <p:nvPr/>
        </p:nvSpPr>
        <p:spPr bwMode="auto">
          <a:xfrm>
            <a:off x="4441456" y="1893252"/>
            <a:ext cx="1040985" cy="1040985"/>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b="1">
              <a:solidFill>
                <a:schemeClr val="tx2"/>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A93DD350-DF54-40E9-BE02-F1E19BC979A4}"/>
              </a:ext>
            </a:extLst>
          </p:cNvPr>
          <p:cNvSpPr/>
          <p:nvPr/>
        </p:nvSpPr>
        <p:spPr bwMode="auto">
          <a:xfrm>
            <a:off x="7119672" y="1893252"/>
            <a:ext cx="1040985" cy="1040985"/>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b="1">
              <a:solidFill>
                <a:schemeClr val="tx2"/>
              </a:solidFill>
              <a:ea typeface="Segoe UI" pitchFamily="34" charset="0"/>
              <a:cs typeface="Segoe UI" pitchFamily="34" charset="0"/>
            </a:endParaRPr>
          </a:p>
        </p:txBody>
      </p:sp>
      <p:sp>
        <p:nvSpPr>
          <p:cNvPr id="26" name="TextBox 25">
            <a:extLst>
              <a:ext uri="{FF2B5EF4-FFF2-40B4-BE49-F238E27FC236}">
                <a16:creationId xmlns:a16="http://schemas.microsoft.com/office/drawing/2014/main" id="{35DF4295-7627-423F-BA5B-4A352BDD7BA8}"/>
              </a:ext>
            </a:extLst>
          </p:cNvPr>
          <p:cNvSpPr txBox="1"/>
          <p:nvPr/>
        </p:nvSpPr>
        <p:spPr>
          <a:xfrm>
            <a:off x="1370694" y="3084927"/>
            <a:ext cx="1826076" cy="249299"/>
          </a:xfrm>
          <a:prstGeom prst="rect">
            <a:avLst/>
          </a:prstGeom>
          <a:noFill/>
        </p:spPr>
        <p:txBody>
          <a:bodyPr wrap="square" lIns="0" tIns="0" rIns="0" bIns="0" rtlCol="0">
            <a:spAutoFit/>
          </a:bodyPr>
          <a:lstStyle/>
          <a:p>
            <a:pPr algn="ctr" defTabSz="932563">
              <a:lnSpc>
                <a:spcPct val="90000"/>
              </a:lnSpc>
              <a:spcAft>
                <a:spcPts val="600"/>
              </a:spcAft>
              <a:defRPr/>
            </a:pPr>
            <a:r>
              <a:rPr lang="en-US" b="1" dirty="0">
                <a:solidFill>
                  <a:schemeClr val="tx2"/>
                </a:solidFill>
              </a:rPr>
              <a:t>Virtual Machines</a:t>
            </a:r>
          </a:p>
        </p:txBody>
      </p:sp>
      <p:sp>
        <p:nvSpPr>
          <p:cNvPr id="27" name="TextBox 26">
            <a:extLst>
              <a:ext uri="{FF2B5EF4-FFF2-40B4-BE49-F238E27FC236}">
                <a16:creationId xmlns:a16="http://schemas.microsoft.com/office/drawing/2014/main" id="{036B8111-B3D5-45B5-B307-83D69AD9923A}"/>
              </a:ext>
            </a:extLst>
          </p:cNvPr>
          <p:cNvSpPr txBox="1"/>
          <p:nvPr/>
        </p:nvSpPr>
        <p:spPr>
          <a:xfrm>
            <a:off x="9643517" y="3084927"/>
            <a:ext cx="1349728" cy="249299"/>
          </a:xfrm>
          <a:prstGeom prst="rect">
            <a:avLst/>
          </a:prstGeom>
          <a:noFill/>
        </p:spPr>
        <p:txBody>
          <a:bodyPr wrap="square" lIns="0" tIns="0" rIns="0" bIns="0" rtlCol="0">
            <a:spAutoFit/>
          </a:bodyPr>
          <a:lstStyle/>
          <a:p>
            <a:pPr algn="ctr" defTabSz="932563">
              <a:lnSpc>
                <a:spcPct val="90000"/>
              </a:lnSpc>
              <a:spcAft>
                <a:spcPts val="600"/>
              </a:spcAft>
              <a:defRPr/>
            </a:pPr>
            <a:r>
              <a:rPr lang="en-US" b="1">
                <a:solidFill>
                  <a:schemeClr val="tx2"/>
                </a:solidFill>
              </a:rPr>
              <a:t>Applications</a:t>
            </a:r>
          </a:p>
        </p:txBody>
      </p:sp>
      <p:sp>
        <p:nvSpPr>
          <p:cNvPr id="28" name="TextBox 27">
            <a:extLst>
              <a:ext uri="{FF2B5EF4-FFF2-40B4-BE49-F238E27FC236}">
                <a16:creationId xmlns:a16="http://schemas.microsoft.com/office/drawing/2014/main" id="{5D916113-8D12-47DF-8AF5-1B9D5D12D47E}"/>
              </a:ext>
            </a:extLst>
          </p:cNvPr>
          <p:cNvSpPr txBox="1"/>
          <p:nvPr/>
        </p:nvSpPr>
        <p:spPr>
          <a:xfrm>
            <a:off x="4441456" y="3084927"/>
            <a:ext cx="1097416" cy="249299"/>
          </a:xfrm>
          <a:prstGeom prst="rect">
            <a:avLst/>
          </a:prstGeom>
          <a:noFill/>
        </p:spPr>
        <p:txBody>
          <a:bodyPr wrap="square" lIns="0" tIns="0" rIns="0" bIns="0" rtlCol="0">
            <a:spAutoFit/>
          </a:bodyPr>
          <a:lstStyle/>
          <a:p>
            <a:pPr algn="ctr" defTabSz="932563">
              <a:lnSpc>
                <a:spcPct val="90000"/>
              </a:lnSpc>
              <a:spcAft>
                <a:spcPts val="600"/>
              </a:spcAft>
              <a:defRPr/>
            </a:pPr>
            <a:r>
              <a:rPr lang="en-US" b="1" dirty="0">
                <a:solidFill>
                  <a:schemeClr val="tx2"/>
                </a:solidFill>
              </a:rPr>
              <a:t>Databases</a:t>
            </a:r>
          </a:p>
        </p:txBody>
      </p:sp>
      <p:sp>
        <p:nvSpPr>
          <p:cNvPr id="29" name="TextBox 28">
            <a:extLst>
              <a:ext uri="{FF2B5EF4-FFF2-40B4-BE49-F238E27FC236}">
                <a16:creationId xmlns:a16="http://schemas.microsoft.com/office/drawing/2014/main" id="{B7D7DE15-4595-4680-AD3F-17C33D3B3517}"/>
              </a:ext>
            </a:extLst>
          </p:cNvPr>
          <p:cNvSpPr txBox="1"/>
          <p:nvPr/>
        </p:nvSpPr>
        <p:spPr>
          <a:xfrm>
            <a:off x="7386890" y="3084927"/>
            <a:ext cx="506549" cy="249299"/>
          </a:xfrm>
          <a:prstGeom prst="rect">
            <a:avLst/>
          </a:prstGeom>
          <a:noFill/>
        </p:spPr>
        <p:txBody>
          <a:bodyPr wrap="square" lIns="0" tIns="0" rIns="0" bIns="0" rtlCol="0">
            <a:spAutoFit/>
          </a:bodyPr>
          <a:lstStyle/>
          <a:p>
            <a:pPr algn="ctr" defTabSz="932563">
              <a:lnSpc>
                <a:spcPct val="90000"/>
              </a:lnSpc>
              <a:spcAft>
                <a:spcPts val="600"/>
              </a:spcAft>
              <a:defRPr/>
            </a:pPr>
            <a:r>
              <a:rPr lang="en-US" b="1">
                <a:solidFill>
                  <a:schemeClr val="tx2"/>
                </a:solidFill>
              </a:rPr>
              <a:t>Data</a:t>
            </a:r>
          </a:p>
        </p:txBody>
      </p:sp>
      <p:sp>
        <p:nvSpPr>
          <p:cNvPr id="30" name="Freeform 154">
            <a:extLst>
              <a:ext uri="{FF2B5EF4-FFF2-40B4-BE49-F238E27FC236}">
                <a16:creationId xmlns:a16="http://schemas.microsoft.com/office/drawing/2014/main" id="{FD9B2BC7-FB51-4522-A60F-5FBA91C69462}"/>
              </a:ext>
            </a:extLst>
          </p:cNvPr>
          <p:cNvSpPr/>
          <p:nvPr/>
        </p:nvSpPr>
        <p:spPr>
          <a:xfrm flipH="1">
            <a:off x="4723079" y="2153667"/>
            <a:ext cx="415598" cy="520154"/>
          </a:xfrm>
          <a:custGeom>
            <a:avLst/>
            <a:gdLst/>
            <a:ahLst/>
            <a:cxnLst/>
            <a:rect l="l" t="t" r="r" b="b"/>
            <a:pathLst>
              <a:path w="873263" h="1092960">
                <a:moveTo>
                  <a:pt x="606951" y="954134"/>
                </a:moveTo>
                <a:cubicBezTo>
                  <a:pt x="589324" y="955714"/>
                  <a:pt x="576080" y="968665"/>
                  <a:pt x="577370" y="983063"/>
                </a:cubicBezTo>
                <a:cubicBezTo>
                  <a:pt x="578660" y="997462"/>
                  <a:pt x="593995" y="1007853"/>
                  <a:pt x="611622" y="1006274"/>
                </a:cubicBezTo>
                <a:cubicBezTo>
                  <a:pt x="629249" y="1004694"/>
                  <a:pt x="642492" y="991742"/>
                  <a:pt x="641203" y="977344"/>
                </a:cubicBezTo>
                <a:cubicBezTo>
                  <a:pt x="639912" y="962946"/>
                  <a:pt x="624577" y="952555"/>
                  <a:pt x="606951" y="954134"/>
                </a:cubicBezTo>
                <a:close/>
                <a:moveTo>
                  <a:pt x="609457" y="951888"/>
                </a:moveTo>
                <a:cubicBezTo>
                  <a:pt x="629614" y="950082"/>
                  <a:pt x="647082" y="961187"/>
                  <a:pt x="648471" y="976693"/>
                </a:cubicBezTo>
                <a:cubicBezTo>
                  <a:pt x="649860" y="992198"/>
                  <a:pt x="634645" y="1006232"/>
                  <a:pt x="614487" y="1008039"/>
                </a:cubicBezTo>
                <a:cubicBezTo>
                  <a:pt x="594330" y="1009844"/>
                  <a:pt x="576863" y="998739"/>
                  <a:pt x="575474" y="983233"/>
                </a:cubicBezTo>
                <a:cubicBezTo>
                  <a:pt x="574085" y="967728"/>
                  <a:pt x="589299" y="953694"/>
                  <a:pt x="609457" y="951888"/>
                </a:cubicBezTo>
                <a:close/>
                <a:moveTo>
                  <a:pt x="546650" y="720143"/>
                </a:moveTo>
                <a:lnTo>
                  <a:pt x="554616" y="1056316"/>
                </a:lnTo>
                <a:lnTo>
                  <a:pt x="709160" y="1035604"/>
                </a:lnTo>
                <a:lnTo>
                  <a:pt x="546650" y="1067468"/>
                </a:lnTo>
                <a:close/>
                <a:moveTo>
                  <a:pt x="856069" y="654610"/>
                </a:moveTo>
                <a:lnTo>
                  <a:pt x="856069" y="1009011"/>
                </a:lnTo>
                <a:lnTo>
                  <a:pt x="855500" y="1009120"/>
                </a:lnTo>
                <a:lnTo>
                  <a:pt x="836619" y="677126"/>
                </a:lnTo>
                <a:lnTo>
                  <a:pt x="543800" y="697592"/>
                </a:lnTo>
                <a:lnTo>
                  <a:pt x="543800" y="674437"/>
                </a:lnTo>
                <a:close/>
                <a:moveTo>
                  <a:pt x="840232" y="576957"/>
                </a:moveTo>
                <a:lnTo>
                  <a:pt x="542217" y="578953"/>
                </a:lnTo>
                <a:lnTo>
                  <a:pt x="542217" y="644992"/>
                </a:lnTo>
                <a:lnTo>
                  <a:pt x="841118" y="631596"/>
                </a:lnTo>
                <a:cubicBezTo>
                  <a:pt x="841118" y="612204"/>
                  <a:pt x="840232" y="596349"/>
                  <a:pt x="840232" y="576957"/>
                </a:cubicBezTo>
                <a:close/>
                <a:moveTo>
                  <a:pt x="853592" y="562912"/>
                </a:moveTo>
                <a:cubicBezTo>
                  <a:pt x="851940" y="586043"/>
                  <a:pt x="852765" y="609175"/>
                  <a:pt x="853592" y="632305"/>
                </a:cubicBezTo>
                <a:lnTo>
                  <a:pt x="541322" y="647174"/>
                </a:lnTo>
                <a:lnTo>
                  <a:pt x="541322" y="567868"/>
                </a:lnTo>
                <a:close/>
                <a:moveTo>
                  <a:pt x="213979" y="545238"/>
                </a:moveTo>
                <a:cubicBezTo>
                  <a:pt x="239284" y="545238"/>
                  <a:pt x="259797" y="565716"/>
                  <a:pt x="259797" y="590977"/>
                </a:cubicBezTo>
                <a:cubicBezTo>
                  <a:pt x="259797" y="616238"/>
                  <a:pt x="239284" y="636716"/>
                  <a:pt x="213979" y="636716"/>
                </a:cubicBezTo>
                <a:cubicBezTo>
                  <a:pt x="188675" y="636716"/>
                  <a:pt x="168161" y="616238"/>
                  <a:pt x="168161" y="590977"/>
                </a:cubicBezTo>
                <a:cubicBezTo>
                  <a:pt x="168161" y="565716"/>
                  <a:pt x="188675" y="545238"/>
                  <a:pt x="213979" y="545238"/>
                </a:cubicBezTo>
                <a:close/>
                <a:moveTo>
                  <a:pt x="213979" y="499500"/>
                </a:moveTo>
                <a:cubicBezTo>
                  <a:pt x="163370" y="499500"/>
                  <a:pt x="122343" y="540455"/>
                  <a:pt x="122343" y="590977"/>
                </a:cubicBezTo>
                <a:cubicBezTo>
                  <a:pt x="122343" y="641499"/>
                  <a:pt x="163370" y="682454"/>
                  <a:pt x="213979" y="682454"/>
                </a:cubicBezTo>
                <a:cubicBezTo>
                  <a:pt x="264589" y="682454"/>
                  <a:pt x="305615" y="641499"/>
                  <a:pt x="305615" y="590977"/>
                </a:cubicBezTo>
                <a:cubicBezTo>
                  <a:pt x="305615" y="540455"/>
                  <a:pt x="264589" y="499500"/>
                  <a:pt x="213979" y="499500"/>
                </a:cubicBezTo>
                <a:close/>
                <a:moveTo>
                  <a:pt x="542217" y="471950"/>
                </a:moveTo>
                <a:lnTo>
                  <a:pt x="542217" y="537989"/>
                </a:lnTo>
                <a:lnTo>
                  <a:pt x="841118" y="534321"/>
                </a:lnTo>
                <a:cubicBezTo>
                  <a:pt x="841118" y="514929"/>
                  <a:pt x="841117" y="495537"/>
                  <a:pt x="841117" y="476145"/>
                </a:cubicBezTo>
                <a:close/>
                <a:moveTo>
                  <a:pt x="213979" y="463503"/>
                </a:moveTo>
                <a:cubicBezTo>
                  <a:pt x="284503" y="463503"/>
                  <a:pt x="341674" y="520575"/>
                  <a:pt x="341674" y="590977"/>
                </a:cubicBezTo>
                <a:cubicBezTo>
                  <a:pt x="341674" y="661379"/>
                  <a:pt x="284503" y="718450"/>
                  <a:pt x="213979" y="718450"/>
                </a:cubicBezTo>
                <a:cubicBezTo>
                  <a:pt x="143456" y="718450"/>
                  <a:pt x="86285" y="661379"/>
                  <a:pt x="86285" y="590977"/>
                </a:cubicBezTo>
                <a:cubicBezTo>
                  <a:pt x="86285" y="520575"/>
                  <a:pt x="143456" y="463503"/>
                  <a:pt x="213979" y="463503"/>
                </a:cubicBezTo>
                <a:close/>
                <a:moveTo>
                  <a:pt x="541322" y="458821"/>
                </a:moveTo>
                <a:lnTo>
                  <a:pt x="853592" y="461300"/>
                </a:lnTo>
                <a:cubicBezTo>
                  <a:pt x="851940" y="484431"/>
                  <a:pt x="852765" y="513376"/>
                  <a:pt x="853592" y="536506"/>
                </a:cubicBezTo>
                <a:lnTo>
                  <a:pt x="541322" y="539525"/>
                </a:lnTo>
                <a:close/>
                <a:moveTo>
                  <a:pt x="213979" y="377368"/>
                </a:moveTo>
                <a:cubicBezTo>
                  <a:pt x="203517" y="377368"/>
                  <a:pt x="193229" y="378118"/>
                  <a:pt x="183203" y="379804"/>
                </a:cubicBezTo>
                <a:cubicBezTo>
                  <a:pt x="172466" y="453001"/>
                  <a:pt x="99031" y="437635"/>
                  <a:pt x="90425" y="428458"/>
                </a:cubicBezTo>
                <a:lnTo>
                  <a:pt x="84151" y="421682"/>
                </a:lnTo>
                <a:cubicBezTo>
                  <a:pt x="68565" y="433241"/>
                  <a:pt x="54847" y="447118"/>
                  <a:pt x="43210" y="462647"/>
                </a:cubicBezTo>
                <a:cubicBezTo>
                  <a:pt x="87348" y="533097"/>
                  <a:pt x="15688" y="566489"/>
                  <a:pt x="1783" y="564700"/>
                </a:cubicBezTo>
                <a:cubicBezTo>
                  <a:pt x="546" y="573297"/>
                  <a:pt x="0" y="582073"/>
                  <a:pt x="0" y="590977"/>
                </a:cubicBezTo>
                <a:cubicBezTo>
                  <a:pt x="0" y="599955"/>
                  <a:pt x="554" y="608804"/>
                  <a:pt x="1850" y="617460"/>
                </a:cubicBezTo>
                <a:cubicBezTo>
                  <a:pt x="3394" y="617888"/>
                  <a:pt x="4779" y="618413"/>
                  <a:pt x="5984" y="619017"/>
                </a:cubicBezTo>
                <a:lnTo>
                  <a:pt x="6064" y="618999"/>
                </a:lnTo>
                <a:cubicBezTo>
                  <a:pt x="75592" y="642838"/>
                  <a:pt x="57019" y="700691"/>
                  <a:pt x="43401" y="719302"/>
                </a:cubicBezTo>
                <a:cubicBezTo>
                  <a:pt x="54762" y="734810"/>
                  <a:pt x="68415" y="748500"/>
                  <a:pt x="83708" y="760167"/>
                </a:cubicBezTo>
                <a:cubicBezTo>
                  <a:pt x="151314" y="719891"/>
                  <a:pt x="184010" y="786803"/>
                  <a:pt x="183393" y="802156"/>
                </a:cubicBezTo>
                <a:cubicBezTo>
                  <a:pt x="193357" y="803845"/>
                  <a:pt x="203581" y="804585"/>
                  <a:pt x="213979" y="804585"/>
                </a:cubicBezTo>
                <a:cubicBezTo>
                  <a:pt x="224168" y="804585"/>
                  <a:pt x="234190" y="803875"/>
                  <a:pt x="243968" y="802293"/>
                </a:cubicBezTo>
                <a:cubicBezTo>
                  <a:pt x="263526" y="726862"/>
                  <a:pt x="329438" y="747618"/>
                  <a:pt x="344402" y="759820"/>
                </a:cubicBezTo>
                <a:cubicBezTo>
                  <a:pt x="359835" y="748288"/>
                  <a:pt x="373418" y="734476"/>
                  <a:pt x="384950" y="719038"/>
                </a:cubicBezTo>
                <a:cubicBezTo>
                  <a:pt x="344357" y="652046"/>
                  <a:pt x="409281" y="619160"/>
                  <a:pt x="425937" y="618817"/>
                </a:cubicBezTo>
                <a:cubicBezTo>
                  <a:pt x="427345" y="609724"/>
                  <a:pt x="427959" y="600422"/>
                  <a:pt x="427959" y="590977"/>
                </a:cubicBezTo>
                <a:cubicBezTo>
                  <a:pt x="427959" y="581655"/>
                  <a:pt x="427361" y="572473"/>
                  <a:pt x="426078" y="563483"/>
                </a:cubicBezTo>
                <a:cubicBezTo>
                  <a:pt x="351064" y="548318"/>
                  <a:pt x="372264" y="474960"/>
                  <a:pt x="382179" y="467001"/>
                </a:cubicBezTo>
                <a:lnTo>
                  <a:pt x="385733" y="464186"/>
                </a:lnTo>
                <a:cubicBezTo>
                  <a:pt x="374598" y="448689"/>
                  <a:pt x="361194" y="434964"/>
                  <a:pt x="346160" y="423212"/>
                </a:cubicBezTo>
                <a:cubicBezTo>
                  <a:pt x="275321" y="466955"/>
                  <a:pt x="242108" y="393917"/>
                  <a:pt x="244563" y="381108"/>
                </a:cubicBezTo>
                <a:lnTo>
                  <a:pt x="244816" y="379836"/>
                </a:lnTo>
                <a:cubicBezTo>
                  <a:pt x="234773" y="378121"/>
                  <a:pt x="224464" y="377368"/>
                  <a:pt x="213979" y="377368"/>
                </a:cubicBezTo>
                <a:close/>
                <a:moveTo>
                  <a:pt x="542217" y="364947"/>
                </a:moveTo>
                <a:lnTo>
                  <a:pt x="542217" y="430987"/>
                </a:lnTo>
                <a:lnTo>
                  <a:pt x="841118" y="437045"/>
                </a:lnTo>
                <a:cubicBezTo>
                  <a:pt x="841118" y="417654"/>
                  <a:pt x="841117" y="397378"/>
                  <a:pt x="841117" y="377986"/>
                </a:cubicBezTo>
                <a:close/>
                <a:moveTo>
                  <a:pt x="541322" y="352235"/>
                </a:moveTo>
                <a:lnTo>
                  <a:pt x="853592" y="365372"/>
                </a:lnTo>
                <a:cubicBezTo>
                  <a:pt x="851940" y="388504"/>
                  <a:pt x="851796" y="416479"/>
                  <a:pt x="852622" y="439610"/>
                </a:cubicBezTo>
                <a:lnTo>
                  <a:pt x="541322" y="432939"/>
                </a:lnTo>
                <a:close/>
                <a:moveTo>
                  <a:pt x="542217" y="255291"/>
                </a:moveTo>
                <a:lnTo>
                  <a:pt x="542217" y="321331"/>
                </a:lnTo>
                <a:lnTo>
                  <a:pt x="842002" y="338886"/>
                </a:lnTo>
                <a:cubicBezTo>
                  <a:pt x="842002" y="319494"/>
                  <a:pt x="842001" y="300103"/>
                  <a:pt x="842001" y="280710"/>
                </a:cubicBezTo>
                <a:close/>
                <a:moveTo>
                  <a:pt x="541322" y="242742"/>
                </a:moveTo>
                <a:lnTo>
                  <a:pt x="853592" y="269445"/>
                </a:lnTo>
                <a:cubicBezTo>
                  <a:pt x="851940" y="292576"/>
                  <a:pt x="851796" y="317646"/>
                  <a:pt x="852622" y="340776"/>
                </a:cubicBezTo>
                <a:lnTo>
                  <a:pt x="541322" y="323446"/>
                </a:lnTo>
                <a:close/>
                <a:moveTo>
                  <a:pt x="542217" y="147404"/>
                </a:moveTo>
                <a:lnTo>
                  <a:pt x="542217" y="213444"/>
                </a:lnTo>
                <a:lnTo>
                  <a:pt x="842887" y="241611"/>
                </a:lnTo>
                <a:cubicBezTo>
                  <a:pt x="842887" y="222220"/>
                  <a:pt x="842886" y="202827"/>
                  <a:pt x="842886" y="183435"/>
                </a:cubicBezTo>
                <a:close/>
                <a:moveTo>
                  <a:pt x="541322" y="134218"/>
                </a:moveTo>
                <a:lnTo>
                  <a:pt x="852622" y="171579"/>
                </a:lnTo>
                <a:cubicBezTo>
                  <a:pt x="850971" y="194710"/>
                  <a:pt x="851796" y="220749"/>
                  <a:pt x="852622" y="243880"/>
                </a:cubicBezTo>
                <a:lnTo>
                  <a:pt x="541322" y="214923"/>
                </a:lnTo>
                <a:close/>
                <a:moveTo>
                  <a:pt x="542217" y="39517"/>
                </a:moveTo>
                <a:lnTo>
                  <a:pt x="542217" y="105557"/>
                </a:lnTo>
                <a:lnTo>
                  <a:pt x="842886" y="144335"/>
                </a:lnTo>
                <a:lnTo>
                  <a:pt x="842886" y="87930"/>
                </a:lnTo>
                <a:close/>
                <a:moveTo>
                  <a:pt x="541322" y="26664"/>
                </a:moveTo>
                <a:lnTo>
                  <a:pt x="852622" y="74685"/>
                </a:lnTo>
                <a:cubicBezTo>
                  <a:pt x="850971" y="97815"/>
                  <a:pt x="850828" y="123853"/>
                  <a:pt x="851653" y="146985"/>
                </a:cubicBezTo>
                <a:lnTo>
                  <a:pt x="541322" y="107368"/>
                </a:lnTo>
                <a:close/>
                <a:moveTo>
                  <a:pt x="525937" y="20713"/>
                </a:moveTo>
                <a:lnTo>
                  <a:pt x="525937" y="1075435"/>
                </a:lnTo>
                <a:lnTo>
                  <a:pt x="200917" y="1008519"/>
                </a:lnTo>
                <a:lnTo>
                  <a:pt x="514785" y="1062688"/>
                </a:lnTo>
                <a:lnTo>
                  <a:pt x="514785" y="41425"/>
                </a:lnTo>
                <a:lnTo>
                  <a:pt x="192951" y="130646"/>
                </a:lnTo>
                <a:close/>
                <a:moveTo>
                  <a:pt x="530717" y="0"/>
                </a:moveTo>
                <a:lnTo>
                  <a:pt x="170646" y="117900"/>
                </a:lnTo>
                <a:lnTo>
                  <a:pt x="170646" y="371040"/>
                </a:lnTo>
                <a:lnTo>
                  <a:pt x="178118" y="344916"/>
                </a:lnTo>
                <a:cubicBezTo>
                  <a:pt x="189801" y="342951"/>
                  <a:pt x="201788" y="342077"/>
                  <a:pt x="213980" y="342077"/>
                </a:cubicBezTo>
                <a:lnTo>
                  <a:pt x="249911" y="344953"/>
                </a:lnTo>
                <a:lnTo>
                  <a:pt x="249617" y="346435"/>
                </a:lnTo>
                <a:cubicBezTo>
                  <a:pt x="246756" y="361360"/>
                  <a:pt x="285457" y="446466"/>
                  <a:pt x="368000" y="395495"/>
                </a:cubicBezTo>
                <a:cubicBezTo>
                  <a:pt x="385517" y="409189"/>
                  <a:pt x="401137" y="425182"/>
                  <a:pt x="414110" y="443239"/>
                </a:cubicBezTo>
                <a:lnTo>
                  <a:pt x="409970" y="446519"/>
                </a:lnTo>
                <a:cubicBezTo>
                  <a:pt x="398417" y="455793"/>
                  <a:pt x="373714" y="541272"/>
                  <a:pt x="461121" y="558942"/>
                </a:cubicBezTo>
                <a:cubicBezTo>
                  <a:pt x="462617" y="569417"/>
                  <a:pt x="463314" y="580117"/>
                  <a:pt x="463314" y="590979"/>
                </a:cubicBezTo>
                <a:cubicBezTo>
                  <a:pt x="463314" y="601984"/>
                  <a:pt x="462599" y="612823"/>
                  <a:pt x="460958" y="623417"/>
                </a:cubicBezTo>
                <a:cubicBezTo>
                  <a:pt x="441550" y="623818"/>
                  <a:pt x="365899" y="662138"/>
                  <a:pt x="413199" y="740198"/>
                </a:cubicBezTo>
                <a:cubicBezTo>
                  <a:pt x="399762" y="758187"/>
                  <a:pt x="383933" y="774281"/>
                  <a:pt x="365952" y="787718"/>
                </a:cubicBezTo>
                <a:cubicBezTo>
                  <a:pt x="348515" y="773500"/>
                  <a:pt x="271713" y="749315"/>
                  <a:pt x="248924" y="837209"/>
                </a:cubicBezTo>
                <a:cubicBezTo>
                  <a:pt x="237529" y="839052"/>
                  <a:pt x="225851" y="839879"/>
                  <a:pt x="213980" y="839879"/>
                </a:cubicBezTo>
                <a:cubicBezTo>
                  <a:pt x="201864" y="839879"/>
                  <a:pt x="189949" y="839017"/>
                  <a:pt x="178339" y="837049"/>
                </a:cubicBezTo>
                <a:cubicBezTo>
                  <a:pt x="178527" y="832366"/>
                  <a:pt x="176055" y="823565"/>
                  <a:pt x="170646" y="814097"/>
                </a:cubicBezTo>
                <a:lnTo>
                  <a:pt x="170646" y="1014892"/>
                </a:lnTo>
                <a:lnTo>
                  <a:pt x="532310" y="1092960"/>
                </a:lnTo>
                <a:lnTo>
                  <a:pt x="873263" y="1022857"/>
                </a:lnTo>
                <a:cubicBezTo>
                  <a:pt x="872732" y="704210"/>
                  <a:pt x="872201" y="376004"/>
                  <a:pt x="871670" y="57356"/>
                </a:cubicBezTo>
                <a:close/>
              </a:path>
            </a:pathLst>
          </a:custGeom>
          <a:solidFill>
            <a:schemeClr val="bg1"/>
          </a:solidFill>
        </p:spPr>
        <p:txBody>
          <a:bodyPr vert="horz" wrap="square" lIns="91440" tIns="91440" rIns="91440" bIns="9144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159">
              <a:lnSpc>
                <a:spcPct val="90000"/>
              </a:lnSpc>
              <a:spcBef>
                <a:spcPts val="630"/>
              </a:spcBef>
              <a:buClr>
                <a:srgbClr val="FFFF99"/>
              </a:buClr>
              <a:buSzPct val="120000"/>
            </a:pPr>
            <a:endParaRPr lang="en-US" b="1" dirty="0">
              <a:gradFill>
                <a:gsLst>
                  <a:gs pos="0">
                    <a:schemeClr val="bg1"/>
                  </a:gs>
                  <a:gs pos="100000">
                    <a:schemeClr val="bg1"/>
                  </a:gs>
                </a:gsLst>
                <a:lin ang="5400000" scaled="0"/>
              </a:gradFill>
              <a:ea typeface="Segoe UI" pitchFamily="34" charset="0"/>
              <a:cs typeface="Segoe UI" pitchFamily="34" charset="0"/>
            </a:endParaRPr>
          </a:p>
        </p:txBody>
      </p:sp>
      <p:sp>
        <p:nvSpPr>
          <p:cNvPr id="31" name="Round Same Side Corner Rectangle 105">
            <a:extLst>
              <a:ext uri="{FF2B5EF4-FFF2-40B4-BE49-F238E27FC236}">
                <a16:creationId xmlns:a16="http://schemas.microsoft.com/office/drawing/2014/main" id="{412283A8-CEF1-4C90-9D32-1DC2A0D5132D}"/>
              </a:ext>
            </a:extLst>
          </p:cNvPr>
          <p:cNvSpPr/>
          <p:nvPr/>
        </p:nvSpPr>
        <p:spPr>
          <a:xfrm>
            <a:off x="10084859" y="2151033"/>
            <a:ext cx="467044" cy="525422"/>
          </a:xfrm>
          <a:custGeom>
            <a:avLst/>
            <a:gdLst/>
            <a:ahLst/>
            <a:cxnLst/>
            <a:rect l="l" t="t" r="r" b="b"/>
            <a:pathLst>
              <a:path w="1011509" h="1137948">
                <a:moveTo>
                  <a:pt x="112643" y="947936"/>
                </a:moveTo>
                <a:lnTo>
                  <a:pt x="112643" y="1010346"/>
                </a:lnTo>
                <a:lnTo>
                  <a:pt x="896318" y="1010346"/>
                </a:lnTo>
                <a:lnTo>
                  <a:pt x="896318" y="947936"/>
                </a:lnTo>
                <a:close/>
                <a:moveTo>
                  <a:pt x="112643" y="841749"/>
                </a:moveTo>
                <a:lnTo>
                  <a:pt x="112643" y="904159"/>
                </a:lnTo>
                <a:lnTo>
                  <a:pt x="896318" y="904159"/>
                </a:lnTo>
                <a:lnTo>
                  <a:pt x="896318" y="841749"/>
                </a:lnTo>
                <a:close/>
                <a:moveTo>
                  <a:pt x="112643" y="735562"/>
                </a:moveTo>
                <a:lnTo>
                  <a:pt x="112643" y="797972"/>
                </a:lnTo>
                <a:lnTo>
                  <a:pt x="896318" y="797972"/>
                </a:lnTo>
                <a:lnTo>
                  <a:pt x="896318" y="735562"/>
                </a:lnTo>
                <a:close/>
                <a:moveTo>
                  <a:pt x="112643" y="629375"/>
                </a:moveTo>
                <a:lnTo>
                  <a:pt x="112643" y="691785"/>
                </a:lnTo>
                <a:lnTo>
                  <a:pt x="896318" y="691785"/>
                </a:lnTo>
                <a:lnTo>
                  <a:pt x="896318" y="629375"/>
                </a:lnTo>
                <a:close/>
                <a:moveTo>
                  <a:pt x="619708" y="490200"/>
                </a:moveTo>
                <a:lnTo>
                  <a:pt x="619708" y="552609"/>
                </a:lnTo>
                <a:lnTo>
                  <a:pt x="896318" y="552609"/>
                </a:lnTo>
                <a:lnTo>
                  <a:pt x="896318" y="490200"/>
                </a:lnTo>
                <a:close/>
                <a:moveTo>
                  <a:pt x="619708" y="404670"/>
                </a:moveTo>
                <a:lnTo>
                  <a:pt x="619708" y="467080"/>
                </a:lnTo>
                <a:lnTo>
                  <a:pt x="896318" y="467080"/>
                </a:lnTo>
                <a:lnTo>
                  <a:pt x="896318" y="404670"/>
                </a:lnTo>
                <a:close/>
                <a:moveTo>
                  <a:pt x="619708" y="319140"/>
                </a:moveTo>
                <a:lnTo>
                  <a:pt x="619708" y="381550"/>
                </a:lnTo>
                <a:lnTo>
                  <a:pt x="896318" y="381550"/>
                </a:lnTo>
                <a:lnTo>
                  <a:pt x="896318" y="319140"/>
                </a:lnTo>
                <a:close/>
                <a:moveTo>
                  <a:pt x="112643" y="289241"/>
                </a:moveTo>
                <a:lnTo>
                  <a:pt x="112643" y="552609"/>
                </a:lnTo>
                <a:lnTo>
                  <a:pt x="576937" y="552609"/>
                </a:lnTo>
                <a:lnTo>
                  <a:pt x="576937" y="289241"/>
                </a:lnTo>
                <a:close/>
                <a:moveTo>
                  <a:pt x="67028" y="231111"/>
                </a:moveTo>
                <a:lnTo>
                  <a:pt x="941933" y="231111"/>
                </a:lnTo>
                <a:lnTo>
                  <a:pt x="941933" y="1059048"/>
                </a:lnTo>
                <a:lnTo>
                  <a:pt x="67028" y="1059048"/>
                </a:lnTo>
                <a:close/>
                <a:moveTo>
                  <a:pt x="47317" y="202983"/>
                </a:moveTo>
                <a:lnTo>
                  <a:pt x="47317" y="1091189"/>
                </a:lnTo>
                <a:lnTo>
                  <a:pt x="964192" y="1091189"/>
                </a:lnTo>
                <a:lnTo>
                  <a:pt x="964192" y="202983"/>
                </a:lnTo>
                <a:close/>
                <a:moveTo>
                  <a:pt x="530810" y="86507"/>
                </a:moveTo>
                <a:lnTo>
                  <a:pt x="615612" y="86507"/>
                </a:lnTo>
                <a:lnTo>
                  <a:pt x="615612" y="116179"/>
                </a:lnTo>
                <a:lnTo>
                  <a:pt x="530810" y="116179"/>
                </a:lnTo>
                <a:close/>
                <a:moveTo>
                  <a:pt x="862242" y="57370"/>
                </a:moveTo>
                <a:lnTo>
                  <a:pt x="886879" y="82007"/>
                </a:lnTo>
                <a:lnTo>
                  <a:pt x="911517" y="57370"/>
                </a:lnTo>
                <a:lnTo>
                  <a:pt x="930853" y="76706"/>
                </a:lnTo>
                <a:lnTo>
                  <a:pt x="906215" y="101344"/>
                </a:lnTo>
                <a:lnTo>
                  <a:pt x="930853" y="125981"/>
                </a:lnTo>
                <a:lnTo>
                  <a:pt x="911517" y="145317"/>
                </a:lnTo>
                <a:lnTo>
                  <a:pt x="886879" y="120680"/>
                </a:lnTo>
                <a:lnTo>
                  <a:pt x="862242" y="145317"/>
                </a:lnTo>
                <a:lnTo>
                  <a:pt x="842905" y="125981"/>
                </a:lnTo>
                <a:lnTo>
                  <a:pt x="867543" y="101344"/>
                </a:lnTo>
                <a:lnTo>
                  <a:pt x="842905" y="76706"/>
                </a:lnTo>
                <a:close/>
                <a:moveTo>
                  <a:pt x="711433" y="56188"/>
                </a:moveTo>
                <a:lnTo>
                  <a:pt x="740336" y="56188"/>
                </a:lnTo>
                <a:lnTo>
                  <a:pt x="740336" y="86891"/>
                </a:lnTo>
                <a:lnTo>
                  <a:pt x="771040" y="86891"/>
                </a:lnTo>
                <a:lnTo>
                  <a:pt x="771040" y="115795"/>
                </a:lnTo>
                <a:lnTo>
                  <a:pt x="740336" y="115795"/>
                </a:lnTo>
                <a:lnTo>
                  <a:pt x="740336" y="146498"/>
                </a:lnTo>
                <a:lnTo>
                  <a:pt x="711433" y="146498"/>
                </a:lnTo>
                <a:lnTo>
                  <a:pt x="711433" y="115795"/>
                </a:lnTo>
                <a:lnTo>
                  <a:pt x="680729" y="115795"/>
                </a:lnTo>
                <a:lnTo>
                  <a:pt x="680729" y="86891"/>
                </a:lnTo>
                <a:lnTo>
                  <a:pt x="711433" y="86891"/>
                </a:lnTo>
                <a:close/>
                <a:moveTo>
                  <a:pt x="842073" y="35666"/>
                </a:moveTo>
                <a:cubicBezTo>
                  <a:pt x="829833" y="35666"/>
                  <a:pt x="819910" y="45589"/>
                  <a:pt x="819910" y="57829"/>
                </a:cubicBezTo>
                <a:lnTo>
                  <a:pt x="819910" y="146481"/>
                </a:lnTo>
                <a:cubicBezTo>
                  <a:pt x="819910" y="158722"/>
                  <a:pt x="829833" y="168645"/>
                  <a:pt x="842073" y="168645"/>
                </a:cubicBezTo>
                <a:lnTo>
                  <a:pt x="930726" y="168645"/>
                </a:lnTo>
                <a:cubicBezTo>
                  <a:pt x="942967" y="168645"/>
                  <a:pt x="952889" y="158722"/>
                  <a:pt x="952889" y="146481"/>
                </a:cubicBezTo>
                <a:lnTo>
                  <a:pt x="952889" y="57829"/>
                </a:lnTo>
                <a:cubicBezTo>
                  <a:pt x="952889" y="45589"/>
                  <a:pt x="942967" y="35666"/>
                  <a:pt x="930726" y="35666"/>
                </a:cubicBezTo>
                <a:close/>
                <a:moveTo>
                  <a:pt x="681559" y="35666"/>
                </a:moveTo>
                <a:cubicBezTo>
                  <a:pt x="669318" y="35666"/>
                  <a:pt x="659395" y="45589"/>
                  <a:pt x="659395" y="57829"/>
                </a:cubicBezTo>
                <a:lnTo>
                  <a:pt x="659395" y="146481"/>
                </a:lnTo>
                <a:cubicBezTo>
                  <a:pt x="659395" y="158722"/>
                  <a:pt x="669318" y="168645"/>
                  <a:pt x="681559" y="168645"/>
                </a:cubicBezTo>
                <a:lnTo>
                  <a:pt x="770211" y="168645"/>
                </a:lnTo>
                <a:cubicBezTo>
                  <a:pt x="782452" y="168645"/>
                  <a:pt x="792374" y="158722"/>
                  <a:pt x="792374" y="146481"/>
                </a:cubicBezTo>
                <a:lnTo>
                  <a:pt x="792374" y="57829"/>
                </a:lnTo>
                <a:cubicBezTo>
                  <a:pt x="792374" y="45589"/>
                  <a:pt x="782452" y="35666"/>
                  <a:pt x="770211" y="35666"/>
                </a:cubicBezTo>
                <a:close/>
                <a:moveTo>
                  <a:pt x="528885" y="35666"/>
                </a:moveTo>
                <a:cubicBezTo>
                  <a:pt x="516644" y="35666"/>
                  <a:pt x="506721" y="45589"/>
                  <a:pt x="506721" y="57829"/>
                </a:cubicBezTo>
                <a:lnTo>
                  <a:pt x="506721" y="146481"/>
                </a:lnTo>
                <a:cubicBezTo>
                  <a:pt x="506721" y="158722"/>
                  <a:pt x="516644" y="168645"/>
                  <a:pt x="528885" y="168645"/>
                </a:cubicBezTo>
                <a:lnTo>
                  <a:pt x="617537" y="168645"/>
                </a:lnTo>
                <a:cubicBezTo>
                  <a:pt x="629778" y="168645"/>
                  <a:pt x="639701" y="158722"/>
                  <a:pt x="639701" y="146481"/>
                </a:cubicBezTo>
                <a:lnTo>
                  <a:pt x="639701" y="57829"/>
                </a:lnTo>
                <a:cubicBezTo>
                  <a:pt x="639701" y="45589"/>
                  <a:pt x="629778" y="35666"/>
                  <a:pt x="617537" y="35666"/>
                </a:cubicBezTo>
                <a:close/>
                <a:moveTo>
                  <a:pt x="72680" y="0"/>
                </a:moveTo>
                <a:lnTo>
                  <a:pt x="75469" y="0"/>
                </a:lnTo>
                <a:lnTo>
                  <a:pt x="139348" y="0"/>
                </a:lnTo>
                <a:lnTo>
                  <a:pt x="936041" y="0"/>
                </a:lnTo>
                <a:cubicBezTo>
                  <a:pt x="977721" y="0"/>
                  <a:pt x="1011509" y="33789"/>
                  <a:pt x="1011509" y="75469"/>
                </a:cubicBezTo>
                <a:lnTo>
                  <a:pt x="1011509" y="1137948"/>
                </a:lnTo>
                <a:lnTo>
                  <a:pt x="72680" y="1137948"/>
                </a:lnTo>
                <a:lnTo>
                  <a:pt x="26636" y="1137948"/>
                </a:lnTo>
                <a:lnTo>
                  <a:pt x="0" y="1137948"/>
                </a:lnTo>
                <a:lnTo>
                  <a:pt x="0" y="75469"/>
                </a:lnTo>
                <a:cubicBezTo>
                  <a:pt x="0" y="34729"/>
                  <a:pt x="32282" y="1528"/>
                  <a:pt x="72680" y="5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b="1"/>
          </a:p>
        </p:txBody>
      </p:sp>
      <p:sp>
        <p:nvSpPr>
          <p:cNvPr id="85" name="Freeform: Shape 84">
            <a:extLst>
              <a:ext uri="{FF2B5EF4-FFF2-40B4-BE49-F238E27FC236}">
                <a16:creationId xmlns:a16="http://schemas.microsoft.com/office/drawing/2014/main" id="{5C91E0C5-25A0-41A7-A99E-FC475C925AB7}"/>
              </a:ext>
            </a:extLst>
          </p:cNvPr>
          <p:cNvSpPr/>
          <p:nvPr/>
        </p:nvSpPr>
        <p:spPr>
          <a:xfrm>
            <a:off x="2139191" y="2138045"/>
            <a:ext cx="289083" cy="551398"/>
          </a:xfrm>
          <a:custGeom>
            <a:avLst/>
            <a:gdLst>
              <a:gd name="connsiteX0" fmla="*/ 57432 w 441908"/>
              <a:gd name="connsiteY0" fmla="*/ 746893 h 842896"/>
              <a:gd name="connsiteX1" fmla="*/ 57432 w 441908"/>
              <a:gd name="connsiteY1" fmla="*/ 776385 h 842896"/>
              <a:gd name="connsiteX2" fmla="*/ 384477 w 441908"/>
              <a:gd name="connsiteY2" fmla="*/ 776385 h 842896"/>
              <a:gd name="connsiteX3" fmla="*/ 384477 w 441908"/>
              <a:gd name="connsiteY3" fmla="*/ 746893 h 842896"/>
              <a:gd name="connsiteX4" fmla="*/ 57432 w 441908"/>
              <a:gd name="connsiteY4" fmla="*/ 691024 h 842896"/>
              <a:gd name="connsiteX5" fmla="*/ 57432 w 441908"/>
              <a:gd name="connsiteY5" fmla="*/ 720515 h 842896"/>
              <a:gd name="connsiteX6" fmla="*/ 109043 w 441908"/>
              <a:gd name="connsiteY6" fmla="*/ 720515 h 842896"/>
              <a:gd name="connsiteX7" fmla="*/ 109043 w 441908"/>
              <a:gd name="connsiteY7" fmla="*/ 691024 h 842896"/>
              <a:gd name="connsiteX8" fmla="*/ 57432 w 441908"/>
              <a:gd name="connsiteY8" fmla="*/ 635148 h 842896"/>
              <a:gd name="connsiteX9" fmla="*/ 57432 w 441908"/>
              <a:gd name="connsiteY9" fmla="*/ 664640 h 842896"/>
              <a:gd name="connsiteX10" fmla="*/ 109043 w 441908"/>
              <a:gd name="connsiteY10" fmla="*/ 664640 h 842896"/>
              <a:gd name="connsiteX11" fmla="*/ 109043 w 441908"/>
              <a:gd name="connsiteY11" fmla="*/ 635148 h 842896"/>
              <a:gd name="connsiteX12" fmla="*/ 57432 w 441908"/>
              <a:gd name="connsiteY12" fmla="*/ 151777 h 842896"/>
              <a:gd name="connsiteX13" fmla="*/ 57432 w 441908"/>
              <a:gd name="connsiteY13" fmla="*/ 190083 h 842896"/>
              <a:gd name="connsiteX14" fmla="*/ 384477 w 441908"/>
              <a:gd name="connsiteY14" fmla="*/ 190083 h 842896"/>
              <a:gd name="connsiteX15" fmla="*/ 384477 w 441908"/>
              <a:gd name="connsiteY15" fmla="*/ 151777 h 842896"/>
              <a:gd name="connsiteX16" fmla="*/ 57432 w 441908"/>
              <a:gd name="connsiteY16" fmla="*/ 86447 h 842896"/>
              <a:gd name="connsiteX17" fmla="*/ 57432 w 441908"/>
              <a:gd name="connsiteY17" fmla="*/ 123311 h 842896"/>
              <a:gd name="connsiteX18" fmla="*/ 384477 w 441908"/>
              <a:gd name="connsiteY18" fmla="*/ 123311 h 842896"/>
              <a:gd name="connsiteX19" fmla="*/ 384477 w 441908"/>
              <a:gd name="connsiteY19" fmla="*/ 86447 h 842896"/>
              <a:gd name="connsiteX20" fmla="*/ 35551 w 441908"/>
              <a:gd name="connsiteY20" fmla="*/ 0 h 842896"/>
              <a:gd name="connsiteX21" fmla="*/ 406357 w 441908"/>
              <a:gd name="connsiteY21" fmla="*/ 0 h 842896"/>
              <a:gd name="connsiteX22" fmla="*/ 441908 w 441908"/>
              <a:gd name="connsiteY22" fmla="*/ 35551 h 842896"/>
              <a:gd name="connsiteX23" fmla="*/ 441908 w 441908"/>
              <a:gd name="connsiteY23" fmla="*/ 807345 h 842896"/>
              <a:gd name="connsiteX24" fmla="*/ 406357 w 441908"/>
              <a:gd name="connsiteY24" fmla="*/ 842896 h 842896"/>
              <a:gd name="connsiteX25" fmla="*/ 35551 w 441908"/>
              <a:gd name="connsiteY25" fmla="*/ 842896 h 842896"/>
              <a:gd name="connsiteX26" fmla="*/ 0 w 441908"/>
              <a:gd name="connsiteY26" fmla="*/ 807345 h 842896"/>
              <a:gd name="connsiteX27" fmla="*/ 0 w 441908"/>
              <a:gd name="connsiteY27" fmla="*/ 35551 h 842896"/>
              <a:gd name="connsiteX28" fmla="*/ 35551 w 441908"/>
              <a:gd name="connsiteY28" fmla="*/ 0 h 842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1908" h="842896">
                <a:moveTo>
                  <a:pt x="57432" y="746893"/>
                </a:moveTo>
                <a:lnTo>
                  <a:pt x="57432" y="776385"/>
                </a:lnTo>
                <a:lnTo>
                  <a:pt x="384477" y="776385"/>
                </a:lnTo>
                <a:lnTo>
                  <a:pt x="384477" y="746893"/>
                </a:lnTo>
                <a:close/>
                <a:moveTo>
                  <a:pt x="57432" y="691024"/>
                </a:moveTo>
                <a:lnTo>
                  <a:pt x="57432" y="720515"/>
                </a:lnTo>
                <a:lnTo>
                  <a:pt x="109043" y="720515"/>
                </a:lnTo>
                <a:lnTo>
                  <a:pt x="109043" y="691024"/>
                </a:lnTo>
                <a:close/>
                <a:moveTo>
                  <a:pt x="57432" y="635148"/>
                </a:moveTo>
                <a:lnTo>
                  <a:pt x="57432" y="664640"/>
                </a:lnTo>
                <a:lnTo>
                  <a:pt x="109043" y="664640"/>
                </a:lnTo>
                <a:lnTo>
                  <a:pt x="109043" y="635148"/>
                </a:lnTo>
                <a:close/>
                <a:moveTo>
                  <a:pt x="57432" y="151777"/>
                </a:moveTo>
                <a:lnTo>
                  <a:pt x="57432" y="190083"/>
                </a:lnTo>
                <a:lnTo>
                  <a:pt x="384477" y="190083"/>
                </a:lnTo>
                <a:lnTo>
                  <a:pt x="384477" y="151777"/>
                </a:lnTo>
                <a:close/>
                <a:moveTo>
                  <a:pt x="57432" y="86447"/>
                </a:moveTo>
                <a:lnTo>
                  <a:pt x="57432" y="123311"/>
                </a:lnTo>
                <a:lnTo>
                  <a:pt x="384477" y="123311"/>
                </a:lnTo>
                <a:lnTo>
                  <a:pt x="384477" y="86447"/>
                </a:lnTo>
                <a:close/>
                <a:moveTo>
                  <a:pt x="35551" y="0"/>
                </a:moveTo>
                <a:lnTo>
                  <a:pt x="406357" y="0"/>
                </a:lnTo>
                <a:cubicBezTo>
                  <a:pt x="425991" y="0"/>
                  <a:pt x="441908" y="15917"/>
                  <a:pt x="441908" y="35551"/>
                </a:cubicBezTo>
                <a:lnTo>
                  <a:pt x="441908" y="807345"/>
                </a:lnTo>
                <a:cubicBezTo>
                  <a:pt x="441908" y="826979"/>
                  <a:pt x="425991" y="842896"/>
                  <a:pt x="406357" y="842896"/>
                </a:cubicBezTo>
                <a:lnTo>
                  <a:pt x="35551" y="842896"/>
                </a:lnTo>
                <a:cubicBezTo>
                  <a:pt x="15917" y="842896"/>
                  <a:pt x="0" y="826979"/>
                  <a:pt x="0" y="807345"/>
                </a:cubicBezTo>
                <a:lnTo>
                  <a:pt x="0" y="35551"/>
                </a:lnTo>
                <a:cubicBezTo>
                  <a:pt x="0" y="15917"/>
                  <a:pt x="15917" y="0"/>
                  <a:pt x="3555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b="1"/>
          </a:p>
        </p:txBody>
      </p:sp>
      <p:sp>
        <p:nvSpPr>
          <p:cNvPr id="86" name="Freeform 44">
            <a:extLst>
              <a:ext uri="{FF2B5EF4-FFF2-40B4-BE49-F238E27FC236}">
                <a16:creationId xmlns:a16="http://schemas.microsoft.com/office/drawing/2014/main" id="{156E24B2-6069-474E-8EDC-FF664CBA4CD9}"/>
              </a:ext>
            </a:extLst>
          </p:cNvPr>
          <p:cNvSpPr/>
          <p:nvPr/>
        </p:nvSpPr>
        <p:spPr>
          <a:xfrm>
            <a:off x="5865676" y="5536622"/>
            <a:ext cx="705122" cy="39186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24" name="binary" title="Icon of binary code, ones and zeros">
            <a:extLst>
              <a:ext uri="{FF2B5EF4-FFF2-40B4-BE49-F238E27FC236}">
                <a16:creationId xmlns:a16="http://schemas.microsoft.com/office/drawing/2014/main" id="{89F5DD3D-F598-4B96-836D-C44B0A1BECF5}"/>
              </a:ext>
            </a:extLst>
          </p:cNvPr>
          <p:cNvSpPr>
            <a:spLocks noChangeAspect="1" noEditPoints="1"/>
          </p:cNvSpPr>
          <p:nvPr/>
        </p:nvSpPr>
        <p:spPr bwMode="auto">
          <a:xfrm>
            <a:off x="7398938" y="2205446"/>
            <a:ext cx="482453" cy="416596"/>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8575" cap="sq">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b="1">
              <a:solidFill>
                <a:schemeClr val="tx2"/>
              </a:solidFill>
            </a:endParaRPr>
          </a:p>
        </p:txBody>
      </p:sp>
    </p:spTree>
    <p:extLst>
      <p:ext uri="{BB962C8B-B14F-4D97-AF65-F5344CB8AC3E}">
        <p14:creationId xmlns:p14="http://schemas.microsoft.com/office/powerpoint/2010/main" val="145287507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67AF1F9-CAFD-4F11-B1D4-81CD8812627B}"/>
              </a:ext>
            </a:extLst>
          </p:cNvPr>
          <p:cNvSpPr/>
          <p:nvPr/>
        </p:nvSpPr>
        <p:spPr>
          <a:xfrm>
            <a:off x="465136" y="4312001"/>
            <a:ext cx="11506201" cy="1100698"/>
          </a:xfrm>
          <a:prstGeom prst="rect">
            <a:avLst/>
          </a:prstGeom>
          <a:solidFill>
            <a:schemeClr val="tx1"/>
          </a:solidFill>
          <a:ln w="6350" cap="flat" cmpd="sng" algn="ctr">
            <a:solidFill>
              <a:schemeClr val="accent1"/>
            </a:solidFill>
            <a:prstDash val="solid"/>
          </a:ln>
          <a:effectLst/>
        </p:spPr>
        <p:txBody>
          <a:bodyPr rtlCol="0" anchor="ctr"/>
          <a:lstStyle/>
          <a:p>
            <a:pPr algn="ctr" defTabSz="932597">
              <a:defRPr/>
            </a:pPr>
            <a:endParaRPr lang="en-US" sz="2400" kern="0" dirty="0">
              <a:solidFill>
                <a:srgbClr val="FFFFFF"/>
              </a:solidFill>
              <a:latin typeface="Segoe UI"/>
              <a:cs typeface="Segoe UI" panose="020B0502040204020203" pitchFamily="34" charset="0"/>
            </a:endParaRPr>
          </a:p>
        </p:txBody>
      </p:sp>
      <p:sp>
        <p:nvSpPr>
          <p:cNvPr id="24" name="Rectangle 23">
            <a:extLst>
              <a:ext uri="{FF2B5EF4-FFF2-40B4-BE49-F238E27FC236}">
                <a16:creationId xmlns:a16="http://schemas.microsoft.com/office/drawing/2014/main" id="{904E6277-C863-4BB5-84C5-FB75E74CE9EA}"/>
              </a:ext>
            </a:extLst>
          </p:cNvPr>
          <p:cNvSpPr/>
          <p:nvPr/>
        </p:nvSpPr>
        <p:spPr>
          <a:xfrm>
            <a:off x="465136" y="3079426"/>
            <a:ext cx="11506201" cy="1100698"/>
          </a:xfrm>
          <a:prstGeom prst="rect">
            <a:avLst/>
          </a:prstGeom>
          <a:solidFill>
            <a:schemeClr val="tx1"/>
          </a:solidFill>
          <a:ln w="6350" cap="flat" cmpd="sng" algn="ctr">
            <a:solidFill>
              <a:schemeClr val="accent1"/>
            </a:solidFill>
            <a:prstDash val="solid"/>
          </a:ln>
          <a:effectLst/>
        </p:spPr>
        <p:txBody>
          <a:bodyPr rtlCol="0" anchor="ctr"/>
          <a:lstStyle/>
          <a:p>
            <a:pPr algn="ctr" defTabSz="932597">
              <a:defRPr/>
            </a:pPr>
            <a:endParaRPr lang="en-US" sz="2400" kern="0" dirty="0">
              <a:solidFill>
                <a:srgbClr val="FFFFFF"/>
              </a:solidFill>
              <a:latin typeface="Segoe UI"/>
              <a:cs typeface="Segoe UI" panose="020B0502040204020203" pitchFamily="34" charset="0"/>
            </a:endParaRPr>
          </a:p>
        </p:txBody>
      </p:sp>
      <p:sp>
        <p:nvSpPr>
          <p:cNvPr id="46" name="Rectangle 45">
            <a:extLst>
              <a:ext uri="{FF2B5EF4-FFF2-40B4-BE49-F238E27FC236}">
                <a16:creationId xmlns:a16="http://schemas.microsoft.com/office/drawing/2014/main" id="{C3D9B62F-0DBE-4E65-A69C-8CAE67EFE2DE}"/>
              </a:ext>
            </a:extLst>
          </p:cNvPr>
          <p:cNvSpPr/>
          <p:nvPr/>
        </p:nvSpPr>
        <p:spPr bwMode="auto">
          <a:xfrm>
            <a:off x="465136" y="5544577"/>
            <a:ext cx="11506201" cy="1100698"/>
          </a:xfrm>
          <a:prstGeom prst="rect">
            <a:avLst/>
          </a:prstGeom>
          <a:solidFill>
            <a:schemeClr val="tx1"/>
          </a:solidFill>
          <a:ln w="6350" cap="flat" cmpd="sng" algn="ctr">
            <a:solidFill>
              <a:schemeClr val="accent1"/>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defRPr/>
            </a:pPr>
            <a:endParaRPr lang="en-US" sz="2800" kern="0" spc="-51" dirty="0">
              <a:solidFill>
                <a:srgbClr val="FFFFFF"/>
              </a:solidFill>
              <a:latin typeface="Segoe UI"/>
              <a:cs typeface="Segoe UI" panose="020B0502040204020203" pitchFamily="34" charset="0"/>
            </a:endParaRPr>
          </a:p>
        </p:txBody>
      </p:sp>
      <p:sp>
        <p:nvSpPr>
          <p:cNvPr id="51" name="Rectangle 50">
            <a:extLst>
              <a:ext uri="{FF2B5EF4-FFF2-40B4-BE49-F238E27FC236}">
                <a16:creationId xmlns:a16="http://schemas.microsoft.com/office/drawing/2014/main" id="{9C872CB8-0746-4660-9A2D-D003A7805960}"/>
              </a:ext>
            </a:extLst>
          </p:cNvPr>
          <p:cNvSpPr/>
          <p:nvPr/>
        </p:nvSpPr>
        <p:spPr>
          <a:xfrm>
            <a:off x="465136" y="1846851"/>
            <a:ext cx="11506201" cy="1100698"/>
          </a:xfrm>
          <a:prstGeom prst="rect">
            <a:avLst/>
          </a:prstGeom>
          <a:solidFill>
            <a:schemeClr val="tx1"/>
          </a:solidFill>
          <a:ln w="6350" cap="flat" cmpd="sng" algn="ctr">
            <a:solidFill>
              <a:schemeClr val="accent1"/>
            </a:solidFill>
            <a:prstDash val="solid"/>
          </a:ln>
          <a:effectLst/>
        </p:spPr>
        <p:txBody>
          <a:bodyPr rtlCol="0" anchor="ctr"/>
          <a:lstStyle/>
          <a:p>
            <a:pPr algn="ctr" defTabSz="932597">
              <a:defRPr/>
            </a:pPr>
            <a:endParaRPr lang="en-US" sz="2400" kern="0" dirty="0">
              <a:solidFill>
                <a:srgbClr val="FFFFFF"/>
              </a:solidFill>
              <a:latin typeface="Segoe UI"/>
              <a:cs typeface="Segoe UI" panose="020B0502040204020203" pitchFamily="34" charset="0"/>
            </a:endParaRPr>
          </a:p>
        </p:txBody>
      </p:sp>
      <p:sp>
        <p:nvSpPr>
          <p:cNvPr id="4" name="Title 3">
            <a:extLst>
              <a:ext uri="{FF2B5EF4-FFF2-40B4-BE49-F238E27FC236}">
                <a16:creationId xmlns:a16="http://schemas.microsoft.com/office/drawing/2014/main" id="{991E05C6-DF4F-4FE0-8511-7198D8495816}"/>
              </a:ext>
            </a:extLst>
          </p:cNvPr>
          <p:cNvSpPr>
            <a:spLocks noGrp="1"/>
          </p:cNvSpPr>
          <p:nvPr>
            <p:ph type="title"/>
          </p:nvPr>
        </p:nvSpPr>
        <p:spPr/>
        <p:txBody>
          <a:bodyPr/>
          <a:lstStyle/>
          <a:p>
            <a:r>
              <a:rPr lang="en-US"/>
              <a:t>Connectivity to Azure</a:t>
            </a:r>
            <a:endParaRPr lang="en-US" dirty="0"/>
          </a:p>
        </p:txBody>
      </p:sp>
      <p:sp>
        <p:nvSpPr>
          <p:cNvPr id="6" name="Rectangle 14">
            <a:extLst>
              <a:ext uri="{FF2B5EF4-FFF2-40B4-BE49-F238E27FC236}">
                <a16:creationId xmlns:a16="http://schemas.microsoft.com/office/drawing/2014/main" id="{B7A66912-BE1F-4114-8F7C-3DE75FB041E4}"/>
              </a:ext>
            </a:extLst>
          </p:cNvPr>
          <p:cNvSpPr/>
          <p:nvPr/>
        </p:nvSpPr>
        <p:spPr bwMode="auto">
          <a:xfrm>
            <a:off x="465136" y="1248212"/>
            <a:ext cx="1828800" cy="457200"/>
          </a:xfrm>
          <a:prstGeom prst="rect">
            <a:avLst/>
          </a:prstGeom>
          <a:solidFill>
            <a:schemeClr val="bg1">
              <a:lumMod val="85000"/>
              <a:alpha val="40000"/>
            </a:schemeClr>
          </a:solidFill>
          <a:ln>
            <a:solidFill>
              <a:schemeClr val="bg1">
                <a:lumMod val="85000"/>
              </a:schemeClr>
            </a:solidFill>
            <a:headEnd type="none" w="med" len="med"/>
            <a:tailEnd type="none" w="med" len="med"/>
          </a:ln>
          <a:effectLst/>
          <a:scene3d>
            <a:camera prst="orthographicFront">
              <a:rot lat="0" lon="0" rev="0"/>
            </a:camera>
            <a:lightRig rig="twoPt" dir="tl"/>
          </a:scene3d>
          <a:sp3d prstMaterial="flat">
            <a:bevelT w="19050" h="31750" prst="coolSlant"/>
          </a:sp3d>
        </p:spPr>
        <p:txBody>
          <a:bodyPr vert="horz" wrap="square" lIns="149217" tIns="93260" rIns="93260" bIns="93260" numCol="1" rtlCol="0" anchor="ctr" anchorCtr="0" compatLnSpc="1">
            <a:prstTxWarp prst="textNoShape">
              <a:avLst/>
            </a:prstTxWarp>
          </a:bodyPr>
          <a:lstStyle/>
          <a:p>
            <a:pPr algn="ctr" defTabSz="1267820" fontAlgn="base">
              <a:spcBef>
                <a:spcPct val="0"/>
              </a:spcBef>
              <a:spcAft>
                <a:spcPct val="0"/>
              </a:spcAft>
              <a:defRPr/>
            </a:pPr>
            <a:r>
              <a:rPr lang="en-US" b="1" kern="0" dirty="0">
                <a:solidFill>
                  <a:schemeClr val="tx2"/>
                </a:solidFill>
                <a:latin typeface="Segoe UI"/>
                <a:cs typeface="Segoe UI" panose="020B0502040204020203" pitchFamily="34" charset="0"/>
              </a:rPr>
              <a:t>CLOUD</a:t>
            </a:r>
          </a:p>
        </p:txBody>
      </p:sp>
      <p:sp>
        <p:nvSpPr>
          <p:cNvPr id="7" name="Rectangle 17">
            <a:extLst>
              <a:ext uri="{FF2B5EF4-FFF2-40B4-BE49-F238E27FC236}">
                <a16:creationId xmlns:a16="http://schemas.microsoft.com/office/drawing/2014/main" id="{9F9ADB3D-A09E-4BC4-BE9E-65DC738D4259}"/>
              </a:ext>
            </a:extLst>
          </p:cNvPr>
          <p:cNvSpPr/>
          <p:nvPr/>
        </p:nvSpPr>
        <p:spPr bwMode="auto">
          <a:xfrm>
            <a:off x="6264066" y="1248212"/>
            <a:ext cx="1828800" cy="457200"/>
          </a:xfrm>
          <a:prstGeom prst="rect">
            <a:avLst/>
          </a:prstGeom>
          <a:solidFill>
            <a:schemeClr val="bg1">
              <a:lumMod val="85000"/>
              <a:alpha val="40000"/>
            </a:schemeClr>
          </a:solidFill>
          <a:ln>
            <a:solidFill>
              <a:schemeClr val="bg1">
                <a:lumMod val="85000"/>
              </a:schemeClr>
            </a:solidFill>
            <a:headEnd type="none" w="med" len="med"/>
            <a:tailEnd type="none" w="med" len="med"/>
          </a:ln>
          <a:effectLst/>
          <a:scene3d>
            <a:camera prst="orthographicFront">
              <a:rot lat="0" lon="0" rev="0"/>
            </a:camera>
            <a:lightRig rig="twoPt" dir="tl"/>
          </a:scene3d>
          <a:sp3d prstMaterial="flat">
            <a:bevelT w="19050" h="31750" prst="coolSlant"/>
          </a:sp3d>
        </p:spPr>
        <p:txBody>
          <a:bodyPr vert="horz" wrap="square" lIns="149217" tIns="93260" rIns="93260" bIns="93260" numCol="1" rtlCol="0" anchor="ctr" anchorCtr="0" compatLnSpc="1">
            <a:prstTxWarp prst="textNoShape">
              <a:avLst/>
            </a:prstTxWarp>
          </a:bodyPr>
          <a:lstStyle/>
          <a:p>
            <a:pPr algn="ctr" defTabSz="1267820" fontAlgn="base">
              <a:spcBef>
                <a:spcPct val="0"/>
              </a:spcBef>
              <a:spcAft>
                <a:spcPct val="0"/>
              </a:spcAft>
              <a:defRPr/>
            </a:pPr>
            <a:r>
              <a:rPr lang="en-US" b="1" kern="0" dirty="0">
                <a:solidFill>
                  <a:schemeClr val="tx2"/>
                </a:solidFill>
                <a:latin typeface="Segoe UI"/>
                <a:cs typeface="Segoe UI" panose="020B0502040204020203" pitchFamily="34" charset="0"/>
              </a:rPr>
              <a:t>CUSTOMER</a:t>
            </a:r>
          </a:p>
        </p:txBody>
      </p:sp>
      <p:sp>
        <p:nvSpPr>
          <p:cNvPr id="8" name="Rectangle 7">
            <a:extLst>
              <a:ext uri="{FF2B5EF4-FFF2-40B4-BE49-F238E27FC236}">
                <a16:creationId xmlns:a16="http://schemas.microsoft.com/office/drawing/2014/main" id="{28826B50-9E7A-4D0C-B0D6-FDF42754129E}"/>
              </a:ext>
            </a:extLst>
          </p:cNvPr>
          <p:cNvSpPr/>
          <p:nvPr/>
        </p:nvSpPr>
        <p:spPr bwMode="auto">
          <a:xfrm>
            <a:off x="8369086" y="1248212"/>
            <a:ext cx="3602251" cy="457200"/>
          </a:xfrm>
          <a:prstGeom prst="rect">
            <a:avLst/>
          </a:prstGeom>
          <a:solidFill>
            <a:schemeClr val="bg1">
              <a:lumMod val="85000"/>
              <a:alpha val="40000"/>
            </a:schemeClr>
          </a:solidFill>
          <a:ln>
            <a:solidFill>
              <a:schemeClr val="bg1">
                <a:lumMod val="85000"/>
              </a:schemeClr>
            </a:solidFill>
            <a:headEnd type="none" w="med" len="med"/>
            <a:tailEnd type="none" w="med" len="med"/>
          </a:ln>
          <a:effectLst/>
          <a:scene3d>
            <a:camera prst="orthographicFront">
              <a:rot lat="0" lon="0" rev="0"/>
            </a:camera>
            <a:lightRig rig="twoPt" dir="tl"/>
          </a:scene3d>
          <a:sp3d prstMaterial="flat">
            <a:bevelT w="19050" h="31750" prst="coolSlant"/>
          </a:sp3d>
        </p:spPr>
        <p:txBody>
          <a:bodyPr vert="horz" wrap="square" lIns="149217" tIns="93260" rIns="93260" bIns="93260" numCol="1" rtlCol="0" anchor="ctr" anchorCtr="0" compatLnSpc="1">
            <a:prstTxWarp prst="textNoShape">
              <a:avLst/>
            </a:prstTxWarp>
          </a:bodyPr>
          <a:lstStyle/>
          <a:p>
            <a:pPr defTabSz="1267820" fontAlgn="base">
              <a:spcBef>
                <a:spcPct val="0"/>
              </a:spcBef>
              <a:spcAft>
                <a:spcPct val="0"/>
              </a:spcAft>
              <a:defRPr/>
            </a:pPr>
            <a:r>
              <a:rPr lang="en-US" b="1" kern="0" dirty="0">
                <a:solidFill>
                  <a:schemeClr val="tx2"/>
                </a:solidFill>
                <a:latin typeface="Segoe UI"/>
                <a:cs typeface="Segoe UI" panose="020B0502040204020203" pitchFamily="34" charset="0"/>
              </a:rPr>
              <a:t>CHARACTERISTICS</a:t>
            </a:r>
          </a:p>
        </p:txBody>
      </p:sp>
      <p:sp>
        <p:nvSpPr>
          <p:cNvPr id="13" name="Freeform 52">
            <a:extLst>
              <a:ext uri="{FF2B5EF4-FFF2-40B4-BE49-F238E27FC236}">
                <a16:creationId xmlns:a16="http://schemas.microsoft.com/office/drawing/2014/main" id="{75F1AFCF-32BC-4B8C-94A3-A3BBCC00276D}"/>
              </a:ext>
            </a:extLst>
          </p:cNvPr>
          <p:cNvSpPr/>
          <p:nvPr/>
        </p:nvSpPr>
        <p:spPr>
          <a:xfrm>
            <a:off x="6264066" y="4313710"/>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6350" cap="flat" cmpd="thickThin" algn="ctr">
            <a:solidFill>
              <a:schemeClr val="bg1">
                <a:lumMod val="50000"/>
              </a:schemeClr>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sp>
        <p:nvSpPr>
          <p:cNvPr id="14" name="Freeform 53">
            <a:extLst>
              <a:ext uri="{FF2B5EF4-FFF2-40B4-BE49-F238E27FC236}">
                <a16:creationId xmlns:a16="http://schemas.microsoft.com/office/drawing/2014/main" id="{064AAB73-0BCF-4DD8-9FE8-FAAA29F0057D}"/>
              </a:ext>
            </a:extLst>
          </p:cNvPr>
          <p:cNvSpPr/>
          <p:nvPr/>
        </p:nvSpPr>
        <p:spPr>
          <a:xfrm>
            <a:off x="465136" y="4313710"/>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6350" cap="flat" cmpd="thickThin" algn="ctr">
            <a:solidFill>
              <a:schemeClr val="accent2"/>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sp>
        <p:nvSpPr>
          <p:cNvPr id="19" name="Rectangle 77">
            <a:extLst>
              <a:ext uri="{FF2B5EF4-FFF2-40B4-BE49-F238E27FC236}">
                <a16:creationId xmlns:a16="http://schemas.microsoft.com/office/drawing/2014/main" id="{D0D59F69-577B-43A5-B712-7CE8199ACF14}"/>
              </a:ext>
            </a:extLst>
          </p:cNvPr>
          <p:cNvSpPr/>
          <p:nvPr/>
        </p:nvSpPr>
        <p:spPr>
          <a:xfrm>
            <a:off x="8241403" y="4419152"/>
            <a:ext cx="3602251" cy="886397"/>
          </a:xfrm>
          <a:prstGeom prst="rect">
            <a:avLst/>
          </a:prstGeom>
          <a:noFill/>
          <a:effectLst/>
        </p:spPr>
        <p:txBody>
          <a:bodyPr wrap="square" lIns="0" tIns="0" rIns="0" bIns="0">
            <a:spAutoFit/>
          </a:bodyPr>
          <a:lstStyle/>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High throughput, secure cross-premises connectivity</a:t>
            </a:r>
          </a:p>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BGP, active-active for high availability &amp; transit routing</a:t>
            </a:r>
          </a:p>
        </p:txBody>
      </p:sp>
      <p:grpSp>
        <p:nvGrpSpPr>
          <p:cNvPr id="64" name="Group 63">
            <a:extLst>
              <a:ext uri="{FF2B5EF4-FFF2-40B4-BE49-F238E27FC236}">
                <a16:creationId xmlns:a16="http://schemas.microsoft.com/office/drawing/2014/main" id="{DF2C5A2A-7D52-4E30-9CFA-5C049D65A1F2}"/>
              </a:ext>
            </a:extLst>
          </p:cNvPr>
          <p:cNvGrpSpPr/>
          <p:nvPr/>
        </p:nvGrpSpPr>
        <p:grpSpPr>
          <a:xfrm>
            <a:off x="993939" y="4453694"/>
            <a:ext cx="771194" cy="817312"/>
            <a:chOff x="1045091" y="4424454"/>
            <a:chExt cx="771194" cy="817312"/>
          </a:xfrm>
        </p:grpSpPr>
        <p:grpSp>
          <p:nvGrpSpPr>
            <p:cNvPr id="15" name="Group 14">
              <a:extLst>
                <a:ext uri="{FF2B5EF4-FFF2-40B4-BE49-F238E27FC236}">
                  <a16:creationId xmlns:a16="http://schemas.microsoft.com/office/drawing/2014/main" id="{C611F20F-5603-44F1-A5CC-2FEDB21D2133}"/>
                </a:ext>
              </a:extLst>
            </p:cNvPr>
            <p:cNvGrpSpPr/>
            <p:nvPr/>
          </p:nvGrpSpPr>
          <p:grpSpPr>
            <a:xfrm>
              <a:off x="1045091" y="4424454"/>
              <a:ext cx="560405" cy="765223"/>
              <a:chOff x="5293615" y="2178868"/>
              <a:chExt cx="1189325" cy="1488408"/>
            </a:xfrm>
            <a:effectLst/>
          </p:grpSpPr>
          <p:pic>
            <p:nvPicPr>
              <p:cNvPr id="21" name="Picture 2">
                <a:extLst>
                  <a:ext uri="{FF2B5EF4-FFF2-40B4-BE49-F238E27FC236}">
                    <a16:creationId xmlns:a16="http://schemas.microsoft.com/office/drawing/2014/main" id="{1CC6DAE3-4B3B-4BB9-8E07-EFD8CC736E64}"/>
                  </a:ext>
                </a:extLst>
              </p:cNvPr>
              <p:cNvPicPr>
                <a:picLocks noChangeAspect="1" noChangeArrowheads="1"/>
              </p:cNvPicPr>
              <p:nvPr/>
            </p:nvPicPr>
            <p:blipFill>
              <a:blip r:embed="rId3"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22" name="Isosceles Triangle 21">
                <a:extLst>
                  <a:ext uri="{FF2B5EF4-FFF2-40B4-BE49-F238E27FC236}">
                    <a16:creationId xmlns:a16="http://schemas.microsoft.com/office/drawing/2014/main" id="{89306DAC-30E9-42CC-B286-97385DA2160A}"/>
                  </a:ext>
                </a:extLst>
              </p:cNvPr>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582595">
                  <a:defRPr/>
                </a:pPr>
                <a:endParaRPr lang="en-US" sz="1400" kern="0" dirty="0">
                  <a:solidFill>
                    <a:srgbClr val="FFFFFF"/>
                  </a:solidFill>
                  <a:latin typeface="Segoe UI"/>
                  <a:cs typeface="Segoe UI" panose="020B0502040204020203" pitchFamily="34" charset="0"/>
                </a:endParaRPr>
              </a:p>
            </p:txBody>
          </p:sp>
        </p:grpSp>
        <p:sp>
          <p:nvSpPr>
            <p:cNvPr id="20" name="Freeform 539">
              <a:extLst>
                <a:ext uri="{FF2B5EF4-FFF2-40B4-BE49-F238E27FC236}">
                  <a16:creationId xmlns:a16="http://schemas.microsoft.com/office/drawing/2014/main" id="{63D26591-1FB4-4E0C-9EA1-7BB4DCC67447}"/>
                </a:ext>
              </a:extLst>
            </p:cNvPr>
            <p:cNvSpPr>
              <a:spLocks noChangeAspect="1"/>
            </p:cNvSpPr>
            <p:nvPr/>
          </p:nvSpPr>
          <p:spPr bwMode="auto">
            <a:xfrm>
              <a:off x="1351029" y="4985974"/>
              <a:ext cx="465256" cy="25579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ffectLst/>
            <a:extLst/>
          </p:spPr>
          <p:txBody>
            <a:bodyPr vert="horz" wrap="square" lIns="93260" tIns="46630" rIns="93260" bIns="46630" numCol="1" anchor="t" anchorCtr="0" compatLnSpc="1">
              <a:prstTxWarp prst="textNoShape">
                <a:avLst/>
              </a:prstTxWarp>
            </a:bodyPr>
            <a:lstStyle/>
            <a:p>
              <a:pPr defTabSz="951060">
                <a:defRPr/>
              </a:pPr>
              <a:endParaRPr lang="en-US" sz="2400" kern="0">
                <a:solidFill>
                  <a:srgbClr val="FFFFFF"/>
                </a:solidFill>
                <a:latin typeface="Segoe UI"/>
                <a:cs typeface="Segoe UI" panose="020B0502040204020203" pitchFamily="34" charset="0"/>
              </a:endParaRPr>
            </a:p>
          </p:txBody>
        </p:sp>
      </p:grpSp>
      <p:pic>
        <p:nvPicPr>
          <p:cNvPr id="11" name="Picture 2">
            <a:extLst>
              <a:ext uri="{FF2B5EF4-FFF2-40B4-BE49-F238E27FC236}">
                <a16:creationId xmlns:a16="http://schemas.microsoft.com/office/drawing/2014/main" id="{C93C3838-A54A-4F4B-BF3F-7EF1AD82752D}"/>
              </a:ext>
            </a:extLst>
          </p:cNvPr>
          <p:cNvPicPr>
            <a:picLocks noChangeAspect="1" noChangeArrowheads="1"/>
          </p:cNvPicPr>
          <p:nvPr/>
        </p:nvPicPr>
        <p:blipFill>
          <a:blip r:embed="rId3" cstate="print">
            <a:lum bright="100000" contrast="100000"/>
          </a:blip>
          <a:srcRect/>
          <a:stretch>
            <a:fillRect/>
          </a:stretch>
        </p:blipFill>
        <p:spPr bwMode="auto">
          <a:xfrm>
            <a:off x="6665586" y="4293513"/>
            <a:ext cx="1025761" cy="1253162"/>
          </a:xfrm>
          <a:prstGeom prst="rect">
            <a:avLst/>
          </a:prstGeom>
          <a:noFill/>
          <a:ln w="9525">
            <a:noFill/>
            <a:miter lim="800000"/>
            <a:headEnd/>
            <a:tailEnd/>
          </a:ln>
          <a:effectLst/>
        </p:spPr>
      </p:pic>
      <p:sp>
        <p:nvSpPr>
          <p:cNvPr id="30" name="Freeform 97">
            <a:extLst>
              <a:ext uri="{FF2B5EF4-FFF2-40B4-BE49-F238E27FC236}">
                <a16:creationId xmlns:a16="http://schemas.microsoft.com/office/drawing/2014/main" id="{D61C0F55-629F-4143-A3AD-ACA1DD722D98}"/>
              </a:ext>
            </a:extLst>
          </p:cNvPr>
          <p:cNvSpPr/>
          <p:nvPr/>
        </p:nvSpPr>
        <p:spPr>
          <a:xfrm>
            <a:off x="6264066" y="3081135"/>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6350" cap="flat" cmpd="thickThin" algn="ctr">
            <a:solidFill>
              <a:schemeClr val="bg1">
                <a:lumMod val="50000"/>
              </a:schemeClr>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sp>
        <p:nvSpPr>
          <p:cNvPr id="31" name="Freeform 100">
            <a:extLst>
              <a:ext uri="{FF2B5EF4-FFF2-40B4-BE49-F238E27FC236}">
                <a16:creationId xmlns:a16="http://schemas.microsoft.com/office/drawing/2014/main" id="{98146AF6-1FC7-497B-A939-63C31B624ECC}"/>
              </a:ext>
            </a:extLst>
          </p:cNvPr>
          <p:cNvSpPr/>
          <p:nvPr/>
        </p:nvSpPr>
        <p:spPr>
          <a:xfrm>
            <a:off x="465136" y="3081135"/>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6350" cap="flat" cmpd="thickThin" algn="ctr">
            <a:solidFill>
              <a:schemeClr val="accent2"/>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sp>
        <p:nvSpPr>
          <p:cNvPr id="28" name="Rectangle 77">
            <a:extLst>
              <a:ext uri="{FF2B5EF4-FFF2-40B4-BE49-F238E27FC236}">
                <a16:creationId xmlns:a16="http://schemas.microsoft.com/office/drawing/2014/main" id="{2B440DF9-55EF-453E-8CC3-7227EDF8DA8C}"/>
              </a:ext>
            </a:extLst>
          </p:cNvPr>
          <p:cNvSpPr/>
          <p:nvPr/>
        </p:nvSpPr>
        <p:spPr>
          <a:xfrm>
            <a:off x="8241403" y="3186577"/>
            <a:ext cx="3602251" cy="886397"/>
          </a:xfrm>
          <a:prstGeom prst="rect">
            <a:avLst/>
          </a:prstGeom>
          <a:noFill/>
          <a:effectLst/>
        </p:spPr>
        <p:txBody>
          <a:bodyPr wrap="square" lIns="0" tIns="0" rIns="0" bIns="0">
            <a:spAutoFit/>
          </a:bodyPr>
          <a:lstStyle/>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Remote Access to VNet/On-</a:t>
            </a:r>
            <a:r>
              <a:rPr lang="en-US" sz="1600" kern="0" dirty="0" err="1">
                <a:solidFill>
                  <a:srgbClr val="FFFFFF"/>
                </a:solidFill>
                <a:latin typeface="Segoe UI"/>
                <a:cs typeface="Segoe UI" panose="020B0502040204020203" pitchFamily="34" charset="0"/>
              </a:rPr>
              <a:t>prem</a:t>
            </a:r>
            <a:endParaRPr lang="en-US" sz="1600" kern="0" dirty="0">
              <a:solidFill>
                <a:srgbClr val="FFFFFF"/>
              </a:solidFill>
              <a:latin typeface="Segoe UI"/>
              <a:cs typeface="Segoe UI" panose="020B0502040204020203" pitchFamily="34" charset="0"/>
            </a:endParaRPr>
          </a:p>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Connect from anywhere</a:t>
            </a:r>
          </a:p>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Mac, Linux, Windows</a:t>
            </a:r>
          </a:p>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Radius/AD authentication</a:t>
            </a:r>
          </a:p>
        </p:txBody>
      </p:sp>
      <p:grpSp>
        <p:nvGrpSpPr>
          <p:cNvPr id="5" name="Group 4">
            <a:extLst>
              <a:ext uri="{FF2B5EF4-FFF2-40B4-BE49-F238E27FC236}">
                <a16:creationId xmlns:a16="http://schemas.microsoft.com/office/drawing/2014/main" id="{BE77138B-7129-497D-8D8B-BAD95A70ACBE}"/>
              </a:ext>
            </a:extLst>
          </p:cNvPr>
          <p:cNvGrpSpPr/>
          <p:nvPr/>
        </p:nvGrpSpPr>
        <p:grpSpPr>
          <a:xfrm>
            <a:off x="993940" y="3226245"/>
            <a:ext cx="771193" cy="807060"/>
            <a:chOff x="1045091" y="3225691"/>
            <a:chExt cx="771193" cy="807060"/>
          </a:xfrm>
        </p:grpSpPr>
        <p:pic>
          <p:nvPicPr>
            <p:cNvPr id="26" name="Picture 2">
              <a:extLst>
                <a:ext uri="{FF2B5EF4-FFF2-40B4-BE49-F238E27FC236}">
                  <a16:creationId xmlns:a16="http://schemas.microsoft.com/office/drawing/2014/main" id="{D6A8A35F-908A-4068-B21E-11B6DC1DE20D}"/>
                </a:ext>
              </a:extLst>
            </p:cNvPr>
            <p:cNvPicPr>
              <a:picLocks noChangeAspect="1" noChangeArrowheads="1"/>
            </p:cNvPicPr>
            <p:nvPr/>
          </p:nvPicPr>
          <p:blipFill>
            <a:blip r:embed="rId3" cstate="print">
              <a:lum bright="100000" contrast="100000"/>
            </a:blip>
            <a:srcRect/>
            <a:stretch>
              <a:fillRect/>
            </a:stretch>
          </p:blipFill>
          <p:spPr bwMode="auto">
            <a:xfrm>
              <a:off x="1045091" y="3225691"/>
              <a:ext cx="555251" cy="555105"/>
            </a:xfrm>
            <a:prstGeom prst="rect">
              <a:avLst/>
            </a:prstGeom>
            <a:noFill/>
            <a:ln w="9525">
              <a:noFill/>
              <a:miter lim="800000"/>
              <a:headEnd/>
              <a:tailEnd/>
            </a:ln>
            <a:effectLst/>
          </p:spPr>
        </p:pic>
        <p:sp>
          <p:nvSpPr>
            <p:cNvPr id="27" name="Isosceles Triangle 26">
              <a:extLst>
                <a:ext uri="{FF2B5EF4-FFF2-40B4-BE49-F238E27FC236}">
                  <a16:creationId xmlns:a16="http://schemas.microsoft.com/office/drawing/2014/main" id="{DB32AEAC-1D63-4254-AC54-D87241D48DBB}"/>
                </a:ext>
              </a:extLst>
            </p:cNvPr>
            <p:cNvSpPr/>
            <p:nvPr/>
          </p:nvSpPr>
          <p:spPr bwMode="auto">
            <a:xfrm rot="9180217">
              <a:off x="1331183" y="3615995"/>
              <a:ext cx="274312" cy="374918"/>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582595">
                <a:defRPr/>
              </a:pPr>
              <a:endParaRPr lang="en-US" sz="1400" kern="0" dirty="0">
                <a:solidFill>
                  <a:srgbClr val="FFFFFF"/>
                </a:solidFill>
                <a:latin typeface="Segoe UI"/>
                <a:cs typeface="Segoe UI" panose="020B0502040204020203" pitchFamily="34" charset="0"/>
              </a:endParaRPr>
            </a:p>
          </p:txBody>
        </p:sp>
        <p:sp>
          <p:nvSpPr>
            <p:cNvPr id="29" name="Freeform 539">
              <a:extLst>
                <a:ext uri="{FF2B5EF4-FFF2-40B4-BE49-F238E27FC236}">
                  <a16:creationId xmlns:a16="http://schemas.microsoft.com/office/drawing/2014/main" id="{911671DC-6708-42C3-9AF5-E693575E3688}"/>
                </a:ext>
              </a:extLst>
            </p:cNvPr>
            <p:cNvSpPr>
              <a:spLocks noChangeAspect="1"/>
            </p:cNvSpPr>
            <p:nvPr/>
          </p:nvSpPr>
          <p:spPr bwMode="auto">
            <a:xfrm>
              <a:off x="1351028" y="3776959"/>
              <a:ext cx="465256" cy="25579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ffectLst/>
            <a:extLst/>
          </p:spPr>
          <p:txBody>
            <a:bodyPr vert="horz" wrap="square" lIns="93260" tIns="46630" rIns="93260" bIns="46630" numCol="1" anchor="t" anchorCtr="0" compatLnSpc="1">
              <a:prstTxWarp prst="textNoShape">
                <a:avLst/>
              </a:prstTxWarp>
            </a:bodyPr>
            <a:lstStyle/>
            <a:p>
              <a:pPr defTabSz="951060">
                <a:defRPr/>
              </a:pPr>
              <a:endParaRPr lang="en-US" sz="2400" kern="0">
                <a:solidFill>
                  <a:srgbClr val="FFFFFF"/>
                </a:solidFill>
                <a:latin typeface="Segoe UI"/>
                <a:cs typeface="Segoe UI" panose="020B0502040204020203" pitchFamily="34" charset="0"/>
              </a:endParaRPr>
            </a:p>
          </p:txBody>
        </p:sp>
      </p:grpSp>
      <p:sp>
        <p:nvSpPr>
          <p:cNvPr id="38" name="Freeform 45">
            <a:extLst>
              <a:ext uri="{FF2B5EF4-FFF2-40B4-BE49-F238E27FC236}">
                <a16:creationId xmlns:a16="http://schemas.microsoft.com/office/drawing/2014/main" id="{9C3847EE-9859-49F6-B7F7-DB9929635AAB}"/>
              </a:ext>
            </a:extLst>
          </p:cNvPr>
          <p:cNvSpPr/>
          <p:nvPr/>
        </p:nvSpPr>
        <p:spPr>
          <a:xfrm>
            <a:off x="6264066" y="5546286"/>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6350" cap="flat" cmpd="thickThin" algn="ctr">
            <a:solidFill>
              <a:schemeClr val="bg1">
                <a:lumMod val="50000"/>
              </a:schemeClr>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sp>
        <p:nvSpPr>
          <p:cNvPr id="39" name="Freeform 46">
            <a:extLst>
              <a:ext uri="{FF2B5EF4-FFF2-40B4-BE49-F238E27FC236}">
                <a16:creationId xmlns:a16="http://schemas.microsoft.com/office/drawing/2014/main" id="{2EDD2EE3-E229-49A8-BE1F-700BD9112158}"/>
              </a:ext>
            </a:extLst>
          </p:cNvPr>
          <p:cNvSpPr/>
          <p:nvPr/>
        </p:nvSpPr>
        <p:spPr>
          <a:xfrm>
            <a:off x="465136" y="5546286"/>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6350" cap="flat" cmpd="thickThin" algn="ctr">
            <a:solidFill>
              <a:schemeClr val="accent2"/>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pic>
        <p:nvPicPr>
          <p:cNvPr id="41" name="Picture 2">
            <a:extLst>
              <a:ext uri="{FF2B5EF4-FFF2-40B4-BE49-F238E27FC236}">
                <a16:creationId xmlns:a16="http://schemas.microsoft.com/office/drawing/2014/main" id="{C2C0BEDD-EE7E-459F-949E-6191F2666929}"/>
              </a:ext>
            </a:extLst>
          </p:cNvPr>
          <p:cNvPicPr>
            <a:picLocks noChangeAspect="1" noChangeArrowheads="1"/>
          </p:cNvPicPr>
          <p:nvPr/>
        </p:nvPicPr>
        <p:blipFill>
          <a:blip r:embed="rId3" cstate="print">
            <a:lum bright="100000" contrast="100000"/>
          </a:blip>
          <a:srcRect/>
          <a:stretch>
            <a:fillRect/>
          </a:stretch>
        </p:blipFill>
        <p:spPr bwMode="auto">
          <a:xfrm>
            <a:off x="6665586" y="5541569"/>
            <a:ext cx="1025761" cy="1243705"/>
          </a:xfrm>
          <a:prstGeom prst="rect">
            <a:avLst/>
          </a:prstGeom>
          <a:noFill/>
          <a:ln w="9525">
            <a:noFill/>
            <a:miter lim="800000"/>
            <a:headEnd/>
            <a:tailEnd/>
          </a:ln>
          <a:effectLst/>
        </p:spPr>
      </p:pic>
      <p:sp>
        <p:nvSpPr>
          <p:cNvPr id="45" name="Rectangle 77">
            <a:extLst>
              <a:ext uri="{FF2B5EF4-FFF2-40B4-BE49-F238E27FC236}">
                <a16:creationId xmlns:a16="http://schemas.microsoft.com/office/drawing/2014/main" id="{949A8BAA-D164-4FB2-BF83-3DDC93F650C7}"/>
              </a:ext>
            </a:extLst>
          </p:cNvPr>
          <p:cNvSpPr/>
          <p:nvPr/>
        </p:nvSpPr>
        <p:spPr>
          <a:xfrm>
            <a:off x="8241404" y="5762528"/>
            <a:ext cx="3602250" cy="664797"/>
          </a:xfrm>
          <a:prstGeom prst="rect">
            <a:avLst/>
          </a:prstGeom>
          <a:noFill/>
          <a:effectLst/>
        </p:spPr>
        <p:txBody>
          <a:bodyPr wrap="square" lIns="0" tIns="0" rIns="0" bIns="0">
            <a:spAutoFit/>
          </a:bodyPr>
          <a:lstStyle/>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Private connectivity to Microsoft services (O365, Azure PaaS services)</a:t>
            </a:r>
          </a:p>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Mission critical workloads</a:t>
            </a:r>
          </a:p>
        </p:txBody>
      </p:sp>
      <p:grpSp>
        <p:nvGrpSpPr>
          <p:cNvPr id="65" name="Group 64">
            <a:extLst>
              <a:ext uri="{FF2B5EF4-FFF2-40B4-BE49-F238E27FC236}">
                <a16:creationId xmlns:a16="http://schemas.microsoft.com/office/drawing/2014/main" id="{EB0BE645-AF94-4B6F-B204-756516A1C459}"/>
              </a:ext>
            </a:extLst>
          </p:cNvPr>
          <p:cNvGrpSpPr/>
          <p:nvPr/>
        </p:nvGrpSpPr>
        <p:grpSpPr>
          <a:xfrm>
            <a:off x="993940" y="5684080"/>
            <a:ext cx="771193" cy="821693"/>
            <a:chOff x="1045091" y="5683249"/>
            <a:chExt cx="771193" cy="821693"/>
          </a:xfrm>
        </p:grpSpPr>
        <p:grpSp>
          <p:nvGrpSpPr>
            <p:cNvPr id="40" name="Group 39">
              <a:extLst>
                <a:ext uri="{FF2B5EF4-FFF2-40B4-BE49-F238E27FC236}">
                  <a16:creationId xmlns:a16="http://schemas.microsoft.com/office/drawing/2014/main" id="{770ACE08-B853-4A2B-9AED-8D6CADE13C26}"/>
                </a:ext>
              </a:extLst>
            </p:cNvPr>
            <p:cNvGrpSpPr/>
            <p:nvPr/>
          </p:nvGrpSpPr>
          <p:grpSpPr>
            <a:xfrm>
              <a:off x="1045091" y="5683249"/>
              <a:ext cx="560405" cy="765223"/>
              <a:chOff x="5293615" y="2293499"/>
              <a:chExt cx="1189325" cy="1488408"/>
            </a:xfrm>
            <a:effectLst/>
          </p:grpSpPr>
          <p:pic>
            <p:nvPicPr>
              <p:cNvPr id="48" name="Picture 2">
                <a:extLst>
                  <a:ext uri="{FF2B5EF4-FFF2-40B4-BE49-F238E27FC236}">
                    <a16:creationId xmlns:a16="http://schemas.microsoft.com/office/drawing/2014/main" id="{64497296-8A9F-4153-9C83-D91253E67D5D}"/>
                  </a:ext>
                </a:extLst>
              </p:cNvPr>
              <p:cNvPicPr>
                <a:picLocks noChangeAspect="1" noChangeArrowheads="1"/>
              </p:cNvPicPr>
              <p:nvPr/>
            </p:nvPicPr>
            <p:blipFill>
              <a:blip r:embed="rId3" cstate="print">
                <a:lum bright="100000" contrast="100000"/>
              </a:blip>
              <a:srcRect/>
              <a:stretch>
                <a:fillRect/>
              </a:stretch>
            </p:blipFill>
            <p:spPr bwMode="auto">
              <a:xfrm>
                <a:off x="5293615" y="2293499"/>
                <a:ext cx="1178386" cy="1079717"/>
              </a:xfrm>
              <a:prstGeom prst="rect">
                <a:avLst/>
              </a:prstGeom>
              <a:noFill/>
              <a:ln w="9525">
                <a:noFill/>
                <a:miter lim="800000"/>
                <a:headEnd/>
                <a:tailEnd/>
              </a:ln>
              <a:effectLst/>
            </p:spPr>
          </p:pic>
          <p:sp>
            <p:nvSpPr>
              <p:cNvPr id="49" name="Isosceles Triangle 48">
                <a:extLst>
                  <a:ext uri="{FF2B5EF4-FFF2-40B4-BE49-F238E27FC236}">
                    <a16:creationId xmlns:a16="http://schemas.microsoft.com/office/drawing/2014/main" id="{8794408B-2D2A-4EAE-9068-8EAD40A487C4}"/>
                  </a:ext>
                </a:extLst>
              </p:cNvPr>
              <p:cNvSpPr/>
              <p:nvPr/>
            </p:nvSpPr>
            <p:spPr bwMode="auto">
              <a:xfrm rot="9180217">
                <a:off x="5900776" y="3052666"/>
                <a:ext cx="582164" cy="729241"/>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582595">
                  <a:defRPr/>
                </a:pPr>
                <a:endParaRPr lang="en-US" sz="1400" kern="0" dirty="0">
                  <a:solidFill>
                    <a:srgbClr val="FFFFFF"/>
                  </a:solidFill>
                  <a:latin typeface="Segoe UI"/>
                  <a:cs typeface="Segoe UI" panose="020B0502040204020203" pitchFamily="34" charset="0"/>
                </a:endParaRPr>
              </a:p>
            </p:txBody>
          </p:sp>
        </p:grpSp>
        <p:sp>
          <p:nvSpPr>
            <p:cNvPr id="47" name="Freeform 539">
              <a:extLst>
                <a:ext uri="{FF2B5EF4-FFF2-40B4-BE49-F238E27FC236}">
                  <a16:creationId xmlns:a16="http://schemas.microsoft.com/office/drawing/2014/main" id="{2D821220-FF31-438F-BDDD-8E1E0CAAB5CA}"/>
                </a:ext>
              </a:extLst>
            </p:cNvPr>
            <p:cNvSpPr>
              <a:spLocks noChangeAspect="1"/>
            </p:cNvSpPr>
            <p:nvPr/>
          </p:nvSpPr>
          <p:spPr bwMode="auto">
            <a:xfrm>
              <a:off x="1351028" y="6249150"/>
              <a:ext cx="465256" cy="25579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ffectLst/>
            <a:extLst/>
          </p:spPr>
          <p:txBody>
            <a:bodyPr vert="horz" wrap="square" lIns="93260" tIns="46630" rIns="93260" bIns="46630" numCol="1" anchor="t" anchorCtr="0" compatLnSpc="1">
              <a:prstTxWarp prst="textNoShape">
                <a:avLst/>
              </a:prstTxWarp>
            </a:bodyPr>
            <a:lstStyle/>
            <a:p>
              <a:pPr defTabSz="951060">
                <a:defRPr/>
              </a:pPr>
              <a:endParaRPr lang="en-US" sz="2400" kern="0">
                <a:solidFill>
                  <a:srgbClr val="FFFFFF"/>
                </a:solidFill>
                <a:latin typeface="Segoe UI"/>
                <a:cs typeface="Segoe UI" panose="020B0502040204020203" pitchFamily="34" charset="0"/>
              </a:endParaRPr>
            </a:p>
          </p:txBody>
        </p:sp>
      </p:grpSp>
      <p:sp>
        <p:nvSpPr>
          <p:cNvPr id="57" name="Freeform 59">
            <a:extLst>
              <a:ext uri="{FF2B5EF4-FFF2-40B4-BE49-F238E27FC236}">
                <a16:creationId xmlns:a16="http://schemas.microsoft.com/office/drawing/2014/main" id="{81FECA9C-9DF1-4F6C-A24F-D77526B6CA96}"/>
              </a:ext>
            </a:extLst>
          </p:cNvPr>
          <p:cNvSpPr/>
          <p:nvPr/>
        </p:nvSpPr>
        <p:spPr>
          <a:xfrm>
            <a:off x="6264066" y="1848560"/>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6350" cap="flat" cmpd="thickThin" algn="ctr">
            <a:solidFill>
              <a:schemeClr val="bg1">
                <a:lumMod val="50000"/>
              </a:schemeClr>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sp>
        <p:nvSpPr>
          <p:cNvPr id="58" name="Freeform 68">
            <a:extLst>
              <a:ext uri="{FF2B5EF4-FFF2-40B4-BE49-F238E27FC236}">
                <a16:creationId xmlns:a16="http://schemas.microsoft.com/office/drawing/2014/main" id="{134817C5-0FD1-45DE-9907-D4016EC84ECD}"/>
              </a:ext>
            </a:extLst>
          </p:cNvPr>
          <p:cNvSpPr/>
          <p:nvPr/>
        </p:nvSpPr>
        <p:spPr>
          <a:xfrm>
            <a:off x="465136" y="1848560"/>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6350" cap="flat" cmpd="thickThin" algn="ctr">
            <a:solidFill>
              <a:schemeClr val="accent2"/>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pic>
        <p:nvPicPr>
          <p:cNvPr id="59" name="Picture 6" descr="\\magnum\Projects\Microsoft\Cloud Power FY12\Design\Icons\PNGs\Server_2.png">
            <a:extLst>
              <a:ext uri="{FF2B5EF4-FFF2-40B4-BE49-F238E27FC236}">
                <a16:creationId xmlns:a16="http://schemas.microsoft.com/office/drawing/2014/main" id="{4F4BD536-DEDC-4A77-BE31-4C6CC0D43E9B}"/>
              </a:ext>
            </a:extLst>
          </p:cNvPr>
          <p:cNvPicPr>
            <a:picLocks noChangeAspect="1" noChangeArrowheads="1"/>
          </p:cNvPicPr>
          <p:nvPr/>
        </p:nvPicPr>
        <p:blipFill>
          <a:blip r:embed="rId4" cstate="print">
            <a:lum bright="100000"/>
          </a:blip>
          <a:srcRect/>
          <a:stretch>
            <a:fillRect/>
          </a:stretch>
        </p:blipFill>
        <p:spPr bwMode="auto">
          <a:xfrm>
            <a:off x="6746819" y="1978056"/>
            <a:ext cx="863294" cy="838288"/>
          </a:xfrm>
          <a:prstGeom prst="rect">
            <a:avLst/>
          </a:prstGeom>
          <a:noFill/>
          <a:effectLst/>
        </p:spPr>
      </p:pic>
      <p:cxnSp>
        <p:nvCxnSpPr>
          <p:cNvPr id="16" name="Straight Connector 15">
            <a:extLst>
              <a:ext uri="{FF2B5EF4-FFF2-40B4-BE49-F238E27FC236}">
                <a16:creationId xmlns:a16="http://schemas.microsoft.com/office/drawing/2014/main" id="{4E2CFED5-ECA0-420B-B89F-455D7495EE24}"/>
              </a:ext>
            </a:extLst>
          </p:cNvPr>
          <p:cNvCxnSpPr/>
          <p:nvPr/>
        </p:nvCxnSpPr>
        <p:spPr>
          <a:xfrm flipH="1">
            <a:off x="2393763" y="4862350"/>
            <a:ext cx="919746"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cxnSp>
        <p:nvCxnSpPr>
          <p:cNvPr id="18" name="Straight Connector 17">
            <a:extLst>
              <a:ext uri="{FF2B5EF4-FFF2-40B4-BE49-F238E27FC236}">
                <a16:creationId xmlns:a16="http://schemas.microsoft.com/office/drawing/2014/main" id="{D1DC6CD8-C306-49FE-8784-BC732D25FE85}"/>
              </a:ext>
            </a:extLst>
          </p:cNvPr>
          <p:cNvCxnSpPr/>
          <p:nvPr/>
        </p:nvCxnSpPr>
        <p:spPr>
          <a:xfrm>
            <a:off x="5273951" y="4862350"/>
            <a:ext cx="908883"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cxnSp>
        <p:nvCxnSpPr>
          <p:cNvPr id="34" name="Straight Connector 33">
            <a:extLst>
              <a:ext uri="{FF2B5EF4-FFF2-40B4-BE49-F238E27FC236}">
                <a16:creationId xmlns:a16="http://schemas.microsoft.com/office/drawing/2014/main" id="{87173870-08E1-4C59-A032-27885A62CD12}"/>
              </a:ext>
            </a:extLst>
          </p:cNvPr>
          <p:cNvCxnSpPr/>
          <p:nvPr/>
        </p:nvCxnSpPr>
        <p:spPr>
          <a:xfrm>
            <a:off x="5273951" y="3629775"/>
            <a:ext cx="894751"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cxnSp>
        <p:nvCxnSpPr>
          <p:cNvPr id="35" name="Straight Connector 34">
            <a:extLst>
              <a:ext uri="{FF2B5EF4-FFF2-40B4-BE49-F238E27FC236}">
                <a16:creationId xmlns:a16="http://schemas.microsoft.com/office/drawing/2014/main" id="{D77DC36D-7F14-45A4-8338-94282F9A074A}"/>
              </a:ext>
            </a:extLst>
          </p:cNvPr>
          <p:cNvCxnSpPr/>
          <p:nvPr/>
        </p:nvCxnSpPr>
        <p:spPr>
          <a:xfrm flipH="1">
            <a:off x="2379632" y="3629775"/>
            <a:ext cx="933878"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cxnSp>
        <p:nvCxnSpPr>
          <p:cNvPr id="42" name="Straight Connector 41">
            <a:extLst>
              <a:ext uri="{FF2B5EF4-FFF2-40B4-BE49-F238E27FC236}">
                <a16:creationId xmlns:a16="http://schemas.microsoft.com/office/drawing/2014/main" id="{FB523EA3-AAD7-4B9A-AE8E-7651D8B17C1C}"/>
              </a:ext>
            </a:extLst>
          </p:cNvPr>
          <p:cNvCxnSpPr/>
          <p:nvPr/>
        </p:nvCxnSpPr>
        <p:spPr>
          <a:xfrm flipH="1">
            <a:off x="2393763" y="6094926"/>
            <a:ext cx="919746"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cxnSp>
        <p:nvCxnSpPr>
          <p:cNvPr id="44" name="Straight Connector 43">
            <a:extLst>
              <a:ext uri="{FF2B5EF4-FFF2-40B4-BE49-F238E27FC236}">
                <a16:creationId xmlns:a16="http://schemas.microsoft.com/office/drawing/2014/main" id="{7045EFED-8111-4049-8A2C-781CE9E3A800}"/>
              </a:ext>
            </a:extLst>
          </p:cNvPr>
          <p:cNvCxnSpPr/>
          <p:nvPr/>
        </p:nvCxnSpPr>
        <p:spPr>
          <a:xfrm>
            <a:off x="5273951" y="6094926"/>
            <a:ext cx="908883"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sp>
        <p:nvSpPr>
          <p:cNvPr id="17" name="Rectangle 16">
            <a:extLst>
              <a:ext uri="{FF2B5EF4-FFF2-40B4-BE49-F238E27FC236}">
                <a16:creationId xmlns:a16="http://schemas.microsoft.com/office/drawing/2014/main" id="{5BD7F66E-5B2D-4ACA-BCDF-F432494E7F56}"/>
              </a:ext>
            </a:extLst>
          </p:cNvPr>
          <p:cNvSpPr/>
          <p:nvPr/>
        </p:nvSpPr>
        <p:spPr>
          <a:xfrm>
            <a:off x="3175216" y="4640751"/>
            <a:ext cx="2205002" cy="443198"/>
          </a:xfrm>
          <a:prstGeom prst="rect">
            <a:avLst/>
          </a:prstGeom>
          <a:effectLst/>
        </p:spPr>
        <p:txBody>
          <a:bodyPr wrap="square" lIns="0" tIns="0" rIns="0" bIns="0">
            <a:spAutoFit/>
          </a:bodyPr>
          <a:lstStyle/>
          <a:p>
            <a:pPr algn="ctr" defTabSz="485501" fontAlgn="base">
              <a:lnSpc>
                <a:spcPct val="80000"/>
              </a:lnSpc>
              <a:defRPr/>
            </a:pPr>
            <a:r>
              <a:rPr lang="en-US" kern="0" dirty="0">
                <a:solidFill>
                  <a:srgbClr val="FFFFFF"/>
                </a:solidFill>
                <a:latin typeface="Segoe UI"/>
                <a:cs typeface="Segoe UI" panose="020B0502040204020203" pitchFamily="34" charset="0"/>
              </a:rPr>
              <a:t>Site-to-site </a:t>
            </a:r>
          </a:p>
          <a:p>
            <a:pPr algn="ctr" defTabSz="485501" fontAlgn="base">
              <a:lnSpc>
                <a:spcPct val="80000"/>
              </a:lnSpc>
              <a:defRPr/>
            </a:pPr>
            <a:r>
              <a:rPr lang="en-US" kern="0" dirty="0">
                <a:solidFill>
                  <a:srgbClr val="FFFFFF"/>
                </a:solidFill>
                <a:latin typeface="Segoe UI"/>
                <a:cs typeface="Segoe UI" panose="020B0502040204020203" pitchFamily="34" charset="0"/>
              </a:rPr>
              <a:t>VPN connectivity</a:t>
            </a:r>
          </a:p>
        </p:txBody>
      </p:sp>
      <p:sp>
        <p:nvSpPr>
          <p:cNvPr id="33" name="Rectangle 32">
            <a:extLst>
              <a:ext uri="{FF2B5EF4-FFF2-40B4-BE49-F238E27FC236}">
                <a16:creationId xmlns:a16="http://schemas.microsoft.com/office/drawing/2014/main" id="{1DB7FB3F-72AE-4C24-BCFE-82ECBF0D9C0F}"/>
              </a:ext>
            </a:extLst>
          </p:cNvPr>
          <p:cNvSpPr/>
          <p:nvPr/>
        </p:nvSpPr>
        <p:spPr>
          <a:xfrm>
            <a:off x="3157981" y="3408176"/>
            <a:ext cx="2205002" cy="443198"/>
          </a:xfrm>
          <a:prstGeom prst="rect">
            <a:avLst/>
          </a:prstGeom>
          <a:effectLst/>
        </p:spPr>
        <p:txBody>
          <a:bodyPr wrap="square" lIns="0" tIns="0" rIns="0" bIns="0">
            <a:spAutoFit/>
          </a:bodyPr>
          <a:lstStyle/>
          <a:p>
            <a:pPr algn="ctr" defTabSz="485501" fontAlgn="base">
              <a:lnSpc>
                <a:spcPct val="80000"/>
              </a:lnSpc>
              <a:defRPr/>
            </a:pPr>
            <a:r>
              <a:rPr lang="en-US" kern="0" dirty="0">
                <a:solidFill>
                  <a:srgbClr val="FFFFFF"/>
                </a:solidFill>
                <a:latin typeface="Segoe UI"/>
                <a:cs typeface="Segoe UI" panose="020B0502040204020203" pitchFamily="34" charset="0"/>
              </a:rPr>
              <a:t>Remote access point-to-site connectivity</a:t>
            </a:r>
            <a:endParaRPr lang="en-US" sz="1200" kern="0" dirty="0">
              <a:solidFill>
                <a:srgbClr val="FFFFFF"/>
              </a:solidFill>
              <a:latin typeface="Segoe UI"/>
              <a:cs typeface="Segoe UI" panose="020B0502040204020203" pitchFamily="34" charset="0"/>
            </a:endParaRPr>
          </a:p>
        </p:txBody>
      </p:sp>
      <p:sp>
        <p:nvSpPr>
          <p:cNvPr id="43" name="Rectangle 42">
            <a:extLst>
              <a:ext uri="{FF2B5EF4-FFF2-40B4-BE49-F238E27FC236}">
                <a16:creationId xmlns:a16="http://schemas.microsoft.com/office/drawing/2014/main" id="{F0F1D129-8AFD-4EF4-9AEF-09EB6CE96EC4}"/>
              </a:ext>
            </a:extLst>
          </p:cNvPr>
          <p:cNvSpPr/>
          <p:nvPr/>
        </p:nvSpPr>
        <p:spPr>
          <a:xfrm>
            <a:off x="3175216" y="5873327"/>
            <a:ext cx="2212913" cy="443198"/>
          </a:xfrm>
          <a:prstGeom prst="rect">
            <a:avLst/>
          </a:prstGeom>
          <a:effectLst/>
        </p:spPr>
        <p:txBody>
          <a:bodyPr wrap="square" lIns="0" tIns="0" rIns="0" bIns="0">
            <a:spAutoFit/>
          </a:bodyPr>
          <a:lstStyle/>
          <a:p>
            <a:pPr algn="ctr" defTabSz="485501" fontAlgn="base">
              <a:lnSpc>
                <a:spcPct val="80000"/>
              </a:lnSpc>
              <a:defRPr/>
            </a:pPr>
            <a:r>
              <a:rPr lang="en-US" kern="0" dirty="0" err="1">
                <a:solidFill>
                  <a:srgbClr val="FFFFFF"/>
                </a:solidFill>
                <a:latin typeface="Segoe UI"/>
                <a:cs typeface="Segoe UI" panose="020B0502040204020203" pitchFamily="34" charset="0"/>
              </a:rPr>
              <a:t>ExpressRoute</a:t>
            </a:r>
            <a:r>
              <a:rPr lang="en-US" kern="0" dirty="0">
                <a:solidFill>
                  <a:srgbClr val="FFFFFF"/>
                </a:solidFill>
                <a:latin typeface="Segoe UI"/>
                <a:cs typeface="Segoe UI" panose="020B0502040204020203" pitchFamily="34" charset="0"/>
              </a:rPr>
              <a:t> private connectivity</a:t>
            </a:r>
          </a:p>
        </p:txBody>
      </p:sp>
      <p:sp>
        <p:nvSpPr>
          <p:cNvPr id="60" name="Rectangle 59">
            <a:extLst>
              <a:ext uri="{FF2B5EF4-FFF2-40B4-BE49-F238E27FC236}">
                <a16:creationId xmlns:a16="http://schemas.microsoft.com/office/drawing/2014/main" id="{C610589F-D6F5-4B5C-ADB8-4ED5559CAA27}"/>
              </a:ext>
            </a:extLst>
          </p:cNvPr>
          <p:cNvSpPr/>
          <p:nvPr/>
        </p:nvSpPr>
        <p:spPr>
          <a:xfrm>
            <a:off x="3159341" y="2286401"/>
            <a:ext cx="2206361" cy="221599"/>
          </a:xfrm>
          <a:prstGeom prst="rect">
            <a:avLst/>
          </a:prstGeom>
          <a:effectLst/>
        </p:spPr>
        <p:txBody>
          <a:bodyPr wrap="square" lIns="0" tIns="0" rIns="0" bIns="0">
            <a:spAutoFit/>
          </a:bodyPr>
          <a:lstStyle/>
          <a:p>
            <a:pPr algn="ctr" defTabSz="485501" fontAlgn="base">
              <a:lnSpc>
                <a:spcPct val="80000"/>
              </a:lnSpc>
              <a:defRPr/>
            </a:pPr>
            <a:r>
              <a:rPr lang="en-US" kern="0" dirty="0">
                <a:solidFill>
                  <a:srgbClr val="FFFFFF"/>
                </a:solidFill>
                <a:latin typeface="Segoe UI"/>
                <a:cs typeface="Segoe UI" panose="020B0502040204020203" pitchFamily="34" charset="0"/>
              </a:rPr>
              <a:t>Internet Connectivity</a:t>
            </a:r>
            <a:endParaRPr lang="en-US" sz="1200" kern="0" dirty="0">
              <a:solidFill>
                <a:srgbClr val="FFFFFF"/>
              </a:solidFill>
              <a:latin typeface="Segoe UI"/>
              <a:cs typeface="Segoe UI" panose="020B0502040204020203" pitchFamily="34" charset="0"/>
            </a:endParaRPr>
          </a:p>
        </p:txBody>
      </p:sp>
      <p:cxnSp>
        <p:nvCxnSpPr>
          <p:cNvPr id="61" name="Straight Connector 60">
            <a:extLst>
              <a:ext uri="{FF2B5EF4-FFF2-40B4-BE49-F238E27FC236}">
                <a16:creationId xmlns:a16="http://schemas.microsoft.com/office/drawing/2014/main" id="{EA3AD252-1B7B-4E1D-A847-D03A4431D5A6}"/>
              </a:ext>
            </a:extLst>
          </p:cNvPr>
          <p:cNvCxnSpPr/>
          <p:nvPr/>
        </p:nvCxnSpPr>
        <p:spPr>
          <a:xfrm>
            <a:off x="5273951" y="2397200"/>
            <a:ext cx="895303"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cxnSp>
        <p:nvCxnSpPr>
          <p:cNvPr id="62" name="Straight Connector 61">
            <a:extLst>
              <a:ext uri="{FF2B5EF4-FFF2-40B4-BE49-F238E27FC236}">
                <a16:creationId xmlns:a16="http://schemas.microsoft.com/office/drawing/2014/main" id="{F2BCF50B-0AF7-4AD2-8B28-4955DFF56377}"/>
              </a:ext>
            </a:extLst>
          </p:cNvPr>
          <p:cNvCxnSpPr/>
          <p:nvPr/>
        </p:nvCxnSpPr>
        <p:spPr>
          <a:xfrm flipH="1">
            <a:off x="2380764" y="2397200"/>
            <a:ext cx="934453"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sp>
        <p:nvSpPr>
          <p:cNvPr id="55" name="Rectangle 77">
            <a:extLst>
              <a:ext uri="{FF2B5EF4-FFF2-40B4-BE49-F238E27FC236}">
                <a16:creationId xmlns:a16="http://schemas.microsoft.com/office/drawing/2014/main" id="{770F0133-CF90-4714-B575-3EE487DF0FE4}"/>
              </a:ext>
            </a:extLst>
          </p:cNvPr>
          <p:cNvSpPr/>
          <p:nvPr/>
        </p:nvSpPr>
        <p:spPr>
          <a:xfrm>
            <a:off x="8246198" y="1954002"/>
            <a:ext cx="3604471" cy="886397"/>
          </a:xfrm>
          <a:prstGeom prst="rect">
            <a:avLst/>
          </a:prstGeom>
          <a:noFill/>
          <a:effectLst/>
        </p:spPr>
        <p:txBody>
          <a:bodyPr wrap="square" lIns="0" tIns="0" rIns="0" bIns="0">
            <a:spAutoFit/>
          </a:bodyPr>
          <a:lstStyle/>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Internet facing with public IP addresses in Azure</a:t>
            </a:r>
          </a:p>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DNS, load balancing, DDoS protection, WAF</a:t>
            </a:r>
          </a:p>
        </p:txBody>
      </p:sp>
      <p:grpSp>
        <p:nvGrpSpPr>
          <p:cNvPr id="3" name="Group 2">
            <a:extLst>
              <a:ext uri="{FF2B5EF4-FFF2-40B4-BE49-F238E27FC236}">
                <a16:creationId xmlns:a16="http://schemas.microsoft.com/office/drawing/2014/main" id="{6A879FFE-ED7B-4D73-AFD4-F9197A54A704}"/>
              </a:ext>
            </a:extLst>
          </p:cNvPr>
          <p:cNvGrpSpPr/>
          <p:nvPr/>
        </p:nvGrpSpPr>
        <p:grpSpPr>
          <a:xfrm>
            <a:off x="993701" y="1993671"/>
            <a:ext cx="771670" cy="807058"/>
            <a:chOff x="1045450" y="2050830"/>
            <a:chExt cx="771670" cy="807058"/>
          </a:xfrm>
        </p:grpSpPr>
        <p:pic>
          <p:nvPicPr>
            <p:cNvPr id="53" name="Picture 2">
              <a:extLst>
                <a:ext uri="{FF2B5EF4-FFF2-40B4-BE49-F238E27FC236}">
                  <a16:creationId xmlns:a16="http://schemas.microsoft.com/office/drawing/2014/main" id="{FFADCBCE-E75A-439E-8093-7F9E5E14D8C3}"/>
                </a:ext>
              </a:extLst>
            </p:cNvPr>
            <p:cNvPicPr>
              <a:picLocks noChangeAspect="1" noChangeArrowheads="1"/>
            </p:cNvPicPr>
            <p:nvPr/>
          </p:nvPicPr>
          <p:blipFill>
            <a:blip r:embed="rId3" cstate="print">
              <a:lum bright="100000" contrast="100000"/>
            </a:blip>
            <a:srcRect/>
            <a:stretch>
              <a:fillRect/>
            </a:stretch>
          </p:blipFill>
          <p:spPr bwMode="auto">
            <a:xfrm>
              <a:off x="1045450" y="2050830"/>
              <a:ext cx="555593" cy="555105"/>
            </a:xfrm>
            <a:prstGeom prst="rect">
              <a:avLst/>
            </a:prstGeom>
            <a:noFill/>
            <a:ln w="9525">
              <a:noFill/>
              <a:miter lim="800000"/>
              <a:headEnd/>
              <a:tailEnd/>
            </a:ln>
            <a:effectLst/>
          </p:spPr>
        </p:pic>
        <p:sp>
          <p:nvSpPr>
            <p:cNvPr id="54" name="Isosceles Triangle 53">
              <a:extLst>
                <a:ext uri="{FF2B5EF4-FFF2-40B4-BE49-F238E27FC236}">
                  <a16:creationId xmlns:a16="http://schemas.microsoft.com/office/drawing/2014/main" id="{6B349355-5B77-4A44-A0A4-F398FFD1907E}"/>
                </a:ext>
              </a:extLst>
            </p:cNvPr>
            <p:cNvSpPr/>
            <p:nvPr/>
          </p:nvSpPr>
          <p:spPr bwMode="auto">
            <a:xfrm rot="9180217">
              <a:off x="1331719" y="2441134"/>
              <a:ext cx="274481" cy="374918"/>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582595">
                <a:defRPr/>
              </a:pPr>
              <a:endParaRPr lang="en-US" sz="1400" kern="0" dirty="0">
                <a:solidFill>
                  <a:srgbClr val="FFFFFF"/>
                </a:solidFill>
                <a:latin typeface="Segoe UI"/>
                <a:cs typeface="Segoe UI" panose="020B0502040204020203" pitchFamily="34" charset="0"/>
              </a:endParaRPr>
            </a:p>
          </p:txBody>
        </p:sp>
        <p:sp>
          <p:nvSpPr>
            <p:cNvPr id="56" name="Freeform 539">
              <a:extLst>
                <a:ext uri="{FF2B5EF4-FFF2-40B4-BE49-F238E27FC236}">
                  <a16:creationId xmlns:a16="http://schemas.microsoft.com/office/drawing/2014/main" id="{1078046B-2AAE-45D1-855A-5C5A1817EE6B}"/>
                </a:ext>
              </a:extLst>
            </p:cNvPr>
            <p:cNvSpPr>
              <a:spLocks noChangeAspect="1"/>
            </p:cNvSpPr>
            <p:nvPr/>
          </p:nvSpPr>
          <p:spPr bwMode="auto">
            <a:xfrm>
              <a:off x="1351577" y="2602096"/>
              <a:ext cx="465543" cy="25579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ffectLst/>
            <a:extLst/>
          </p:spPr>
          <p:txBody>
            <a:bodyPr vert="horz" wrap="square" lIns="93260" tIns="46630" rIns="93260" bIns="46630" numCol="1" anchor="t" anchorCtr="0" compatLnSpc="1">
              <a:prstTxWarp prst="textNoShape">
                <a:avLst/>
              </a:prstTxWarp>
            </a:bodyPr>
            <a:lstStyle/>
            <a:p>
              <a:pPr defTabSz="951060">
                <a:defRPr/>
              </a:pPr>
              <a:endParaRPr lang="en-US" sz="2400" kern="0">
                <a:solidFill>
                  <a:srgbClr val="FFFFFF"/>
                </a:solidFill>
                <a:latin typeface="Segoe UI"/>
                <a:cs typeface="Segoe UI" panose="020B0502040204020203" pitchFamily="34" charset="0"/>
              </a:endParaRPr>
            </a:p>
          </p:txBody>
        </p:sp>
      </p:grpSp>
      <p:pic>
        <p:nvPicPr>
          <p:cNvPr id="63" name="Picture 6" descr="\\magnum\Projects\Microsoft\Cloud Power FY12\Design\Icons\PNGs\Server_2.png">
            <a:extLst>
              <a:ext uri="{FF2B5EF4-FFF2-40B4-BE49-F238E27FC236}">
                <a16:creationId xmlns:a16="http://schemas.microsoft.com/office/drawing/2014/main" id="{A0361934-43C4-47FB-8D81-6B18DF8A18A9}"/>
              </a:ext>
            </a:extLst>
          </p:cNvPr>
          <p:cNvPicPr>
            <a:picLocks noChangeAspect="1" noChangeArrowheads="1"/>
          </p:cNvPicPr>
          <p:nvPr/>
        </p:nvPicPr>
        <p:blipFill>
          <a:blip r:embed="rId4" cstate="print">
            <a:lum bright="100000"/>
          </a:blip>
          <a:srcRect/>
          <a:stretch>
            <a:fillRect/>
          </a:stretch>
        </p:blipFill>
        <p:spPr bwMode="auto">
          <a:xfrm>
            <a:off x="6746819" y="3210631"/>
            <a:ext cx="863294" cy="838288"/>
          </a:xfrm>
          <a:prstGeom prst="rect">
            <a:avLst/>
          </a:prstGeom>
          <a:noFill/>
          <a:effectLst/>
        </p:spPr>
      </p:pic>
    </p:spTree>
    <p:extLst>
      <p:ext uri="{BB962C8B-B14F-4D97-AF65-F5344CB8AC3E}">
        <p14:creationId xmlns:p14="http://schemas.microsoft.com/office/powerpoint/2010/main" val="192836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9C083B-5CF9-4E78-9DA3-D0434450C885}"/>
              </a:ext>
            </a:extLst>
          </p:cNvPr>
          <p:cNvSpPr>
            <a:spLocks noGrp="1"/>
          </p:cNvSpPr>
          <p:nvPr>
            <p:ph type="title"/>
          </p:nvPr>
        </p:nvSpPr>
        <p:spPr/>
        <p:txBody>
          <a:bodyPr/>
          <a:lstStyle/>
          <a:p>
            <a:r>
              <a:rPr lang="en-US"/>
              <a:t>Connectivity within Azure</a:t>
            </a:r>
            <a:endParaRPr lang="en-US" dirty="0"/>
          </a:p>
        </p:txBody>
      </p:sp>
      <p:sp>
        <p:nvSpPr>
          <p:cNvPr id="33" name="Rectangle 32">
            <a:extLst>
              <a:ext uri="{FF2B5EF4-FFF2-40B4-BE49-F238E27FC236}">
                <a16:creationId xmlns:a16="http://schemas.microsoft.com/office/drawing/2014/main" id="{E11AE724-A51A-42F3-AEBC-829CFF1854C7}"/>
              </a:ext>
            </a:extLst>
          </p:cNvPr>
          <p:cNvSpPr/>
          <p:nvPr/>
        </p:nvSpPr>
        <p:spPr>
          <a:xfrm>
            <a:off x="465136" y="3079426"/>
            <a:ext cx="11506201" cy="1100698"/>
          </a:xfrm>
          <a:prstGeom prst="rect">
            <a:avLst/>
          </a:prstGeom>
          <a:solidFill>
            <a:schemeClr val="tx1"/>
          </a:solidFill>
          <a:ln w="6350" cap="flat" cmpd="sng" algn="ctr">
            <a:solidFill>
              <a:schemeClr val="accent1"/>
            </a:solidFill>
            <a:prstDash val="solid"/>
          </a:ln>
          <a:effectLst/>
        </p:spPr>
        <p:txBody>
          <a:bodyPr rtlCol="0" anchor="ctr"/>
          <a:lstStyle/>
          <a:p>
            <a:pPr algn="ctr" defTabSz="932597">
              <a:defRPr/>
            </a:pPr>
            <a:endParaRPr lang="en-US" sz="2400" kern="0" dirty="0">
              <a:solidFill>
                <a:srgbClr val="FFFFFF"/>
              </a:solidFill>
              <a:latin typeface="Segoe UI"/>
              <a:cs typeface="Segoe UI" panose="020B0502040204020203" pitchFamily="34" charset="0"/>
            </a:endParaRPr>
          </a:p>
        </p:txBody>
      </p:sp>
      <p:sp>
        <p:nvSpPr>
          <p:cNvPr id="35" name="Rectangle 34">
            <a:extLst>
              <a:ext uri="{FF2B5EF4-FFF2-40B4-BE49-F238E27FC236}">
                <a16:creationId xmlns:a16="http://schemas.microsoft.com/office/drawing/2014/main" id="{9C511553-3051-4CD6-9D64-EEB469528699}"/>
              </a:ext>
            </a:extLst>
          </p:cNvPr>
          <p:cNvSpPr/>
          <p:nvPr/>
        </p:nvSpPr>
        <p:spPr>
          <a:xfrm>
            <a:off x="465136" y="1846851"/>
            <a:ext cx="11506201" cy="1100698"/>
          </a:xfrm>
          <a:prstGeom prst="rect">
            <a:avLst/>
          </a:prstGeom>
          <a:solidFill>
            <a:schemeClr val="tx1"/>
          </a:solidFill>
          <a:ln w="6350" cap="flat" cmpd="sng" algn="ctr">
            <a:solidFill>
              <a:schemeClr val="accent1"/>
            </a:solidFill>
            <a:prstDash val="solid"/>
          </a:ln>
          <a:effectLst/>
        </p:spPr>
        <p:txBody>
          <a:bodyPr rtlCol="0" anchor="ctr"/>
          <a:lstStyle/>
          <a:p>
            <a:pPr algn="ctr" defTabSz="932597">
              <a:defRPr/>
            </a:pPr>
            <a:endParaRPr lang="en-US" sz="2400" kern="0" dirty="0">
              <a:solidFill>
                <a:srgbClr val="FFFFFF"/>
              </a:solidFill>
              <a:latin typeface="Segoe UI"/>
              <a:cs typeface="Segoe UI" panose="020B0502040204020203" pitchFamily="34" charset="0"/>
            </a:endParaRPr>
          </a:p>
        </p:txBody>
      </p:sp>
      <p:sp>
        <p:nvSpPr>
          <p:cNvPr id="36" name="Rectangle 14">
            <a:extLst>
              <a:ext uri="{FF2B5EF4-FFF2-40B4-BE49-F238E27FC236}">
                <a16:creationId xmlns:a16="http://schemas.microsoft.com/office/drawing/2014/main" id="{13411EF6-F2B9-4082-B04A-AC0471C5F7B2}"/>
              </a:ext>
            </a:extLst>
          </p:cNvPr>
          <p:cNvSpPr/>
          <p:nvPr/>
        </p:nvSpPr>
        <p:spPr bwMode="auto">
          <a:xfrm>
            <a:off x="465136" y="1248212"/>
            <a:ext cx="1828800" cy="457200"/>
          </a:xfrm>
          <a:prstGeom prst="rect">
            <a:avLst/>
          </a:prstGeom>
          <a:solidFill>
            <a:schemeClr val="bg1">
              <a:lumMod val="85000"/>
              <a:alpha val="40000"/>
            </a:schemeClr>
          </a:solidFill>
          <a:ln>
            <a:solidFill>
              <a:schemeClr val="bg1">
                <a:lumMod val="85000"/>
              </a:schemeClr>
            </a:solidFill>
            <a:headEnd type="none" w="med" len="med"/>
            <a:tailEnd type="none" w="med" len="med"/>
          </a:ln>
          <a:effectLst/>
          <a:scene3d>
            <a:camera prst="orthographicFront">
              <a:rot lat="0" lon="0" rev="0"/>
            </a:camera>
            <a:lightRig rig="twoPt" dir="tl"/>
          </a:scene3d>
          <a:sp3d prstMaterial="flat">
            <a:bevelT w="19050" h="31750" prst="coolSlant"/>
          </a:sp3d>
        </p:spPr>
        <p:txBody>
          <a:bodyPr vert="horz" wrap="square" lIns="149217" tIns="93260" rIns="93260" bIns="93260" numCol="1" rtlCol="0" anchor="ctr" anchorCtr="0" compatLnSpc="1">
            <a:prstTxWarp prst="textNoShape">
              <a:avLst/>
            </a:prstTxWarp>
          </a:bodyPr>
          <a:lstStyle/>
          <a:p>
            <a:pPr algn="ctr" defTabSz="1267820" fontAlgn="base">
              <a:spcBef>
                <a:spcPct val="0"/>
              </a:spcBef>
              <a:spcAft>
                <a:spcPct val="0"/>
              </a:spcAft>
              <a:defRPr/>
            </a:pPr>
            <a:r>
              <a:rPr lang="en-US" b="1" kern="0" dirty="0">
                <a:solidFill>
                  <a:schemeClr val="tx2"/>
                </a:solidFill>
                <a:latin typeface="Segoe UI"/>
                <a:cs typeface="Segoe UI" panose="020B0502040204020203" pitchFamily="34" charset="0"/>
              </a:rPr>
              <a:t>CLOUD</a:t>
            </a:r>
          </a:p>
        </p:txBody>
      </p:sp>
      <p:sp>
        <p:nvSpPr>
          <p:cNvPr id="37" name="Rectangle 17">
            <a:extLst>
              <a:ext uri="{FF2B5EF4-FFF2-40B4-BE49-F238E27FC236}">
                <a16:creationId xmlns:a16="http://schemas.microsoft.com/office/drawing/2014/main" id="{625277BD-D52B-4990-8CCC-0C9EFEB8963D}"/>
              </a:ext>
            </a:extLst>
          </p:cNvPr>
          <p:cNvSpPr/>
          <p:nvPr/>
        </p:nvSpPr>
        <p:spPr bwMode="auto">
          <a:xfrm>
            <a:off x="6264066" y="1248212"/>
            <a:ext cx="1828800" cy="457200"/>
          </a:xfrm>
          <a:prstGeom prst="rect">
            <a:avLst/>
          </a:prstGeom>
          <a:solidFill>
            <a:schemeClr val="bg1">
              <a:lumMod val="85000"/>
              <a:alpha val="40000"/>
            </a:schemeClr>
          </a:solidFill>
          <a:ln>
            <a:solidFill>
              <a:schemeClr val="bg1">
                <a:lumMod val="85000"/>
              </a:schemeClr>
            </a:solidFill>
            <a:headEnd type="none" w="med" len="med"/>
            <a:tailEnd type="none" w="med" len="med"/>
          </a:ln>
          <a:effectLst/>
          <a:scene3d>
            <a:camera prst="orthographicFront">
              <a:rot lat="0" lon="0" rev="0"/>
            </a:camera>
            <a:lightRig rig="twoPt" dir="tl"/>
          </a:scene3d>
          <a:sp3d prstMaterial="flat">
            <a:bevelT w="19050" h="31750" prst="coolSlant"/>
          </a:sp3d>
        </p:spPr>
        <p:txBody>
          <a:bodyPr vert="horz" wrap="square" lIns="149217" tIns="93260" rIns="93260" bIns="93260" numCol="1" rtlCol="0" anchor="ctr" anchorCtr="0" compatLnSpc="1">
            <a:prstTxWarp prst="textNoShape">
              <a:avLst/>
            </a:prstTxWarp>
          </a:bodyPr>
          <a:lstStyle/>
          <a:p>
            <a:pPr algn="ctr" defTabSz="1267820" fontAlgn="base">
              <a:spcBef>
                <a:spcPct val="0"/>
              </a:spcBef>
              <a:spcAft>
                <a:spcPct val="0"/>
              </a:spcAft>
              <a:defRPr/>
            </a:pPr>
            <a:r>
              <a:rPr lang="en-US" b="1" kern="0" dirty="0">
                <a:solidFill>
                  <a:schemeClr val="tx2"/>
                </a:solidFill>
                <a:cs typeface="Segoe UI" panose="020B0502040204020203" pitchFamily="34" charset="0"/>
              </a:rPr>
              <a:t>CLOUD</a:t>
            </a:r>
          </a:p>
        </p:txBody>
      </p:sp>
      <p:sp>
        <p:nvSpPr>
          <p:cNvPr id="38" name="Rectangle 37">
            <a:extLst>
              <a:ext uri="{FF2B5EF4-FFF2-40B4-BE49-F238E27FC236}">
                <a16:creationId xmlns:a16="http://schemas.microsoft.com/office/drawing/2014/main" id="{683DEE72-025B-44CA-AF88-D070F5968C24}"/>
              </a:ext>
            </a:extLst>
          </p:cNvPr>
          <p:cNvSpPr/>
          <p:nvPr/>
        </p:nvSpPr>
        <p:spPr bwMode="auto">
          <a:xfrm>
            <a:off x="8369086" y="1248212"/>
            <a:ext cx="3602251" cy="457200"/>
          </a:xfrm>
          <a:prstGeom prst="rect">
            <a:avLst/>
          </a:prstGeom>
          <a:solidFill>
            <a:schemeClr val="bg1">
              <a:lumMod val="85000"/>
              <a:alpha val="40000"/>
            </a:schemeClr>
          </a:solidFill>
          <a:ln>
            <a:solidFill>
              <a:schemeClr val="bg1">
                <a:lumMod val="85000"/>
              </a:schemeClr>
            </a:solidFill>
            <a:headEnd type="none" w="med" len="med"/>
            <a:tailEnd type="none" w="med" len="med"/>
          </a:ln>
          <a:effectLst/>
          <a:scene3d>
            <a:camera prst="orthographicFront">
              <a:rot lat="0" lon="0" rev="0"/>
            </a:camera>
            <a:lightRig rig="twoPt" dir="tl"/>
          </a:scene3d>
          <a:sp3d prstMaterial="flat">
            <a:bevelT w="19050" h="31750" prst="coolSlant"/>
          </a:sp3d>
        </p:spPr>
        <p:txBody>
          <a:bodyPr vert="horz" wrap="square" lIns="149217" tIns="93260" rIns="93260" bIns="93260" numCol="1" rtlCol="0" anchor="ctr" anchorCtr="0" compatLnSpc="1">
            <a:prstTxWarp prst="textNoShape">
              <a:avLst/>
            </a:prstTxWarp>
          </a:bodyPr>
          <a:lstStyle/>
          <a:p>
            <a:pPr defTabSz="1267820" fontAlgn="base">
              <a:spcBef>
                <a:spcPct val="0"/>
              </a:spcBef>
              <a:spcAft>
                <a:spcPct val="0"/>
              </a:spcAft>
              <a:defRPr/>
            </a:pPr>
            <a:r>
              <a:rPr lang="en-US" b="1" kern="0" dirty="0">
                <a:solidFill>
                  <a:schemeClr val="tx2"/>
                </a:solidFill>
                <a:latin typeface="Segoe UI"/>
                <a:cs typeface="Segoe UI" panose="020B0502040204020203" pitchFamily="34" charset="0"/>
              </a:rPr>
              <a:t>CHARACTERISTICS</a:t>
            </a:r>
          </a:p>
        </p:txBody>
      </p:sp>
      <p:sp>
        <p:nvSpPr>
          <p:cNvPr id="48" name="Freeform 97">
            <a:extLst>
              <a:ext uri="{FF2B5EF4-FFF2-40B4-BE49-F238E27FC236}">
                <a16:creationId xmlns:a16="http://schemas.microsoft.com/office/drawing/2014/main" id="{D61FF489-47E9-4D2C-A464-C737706783EF}"/>
              </a:ext>
            </a:extLst>
          </p:cNvPr>
          <p:cNvSpPr/>
          <p:nvPr/>
        </p:nvSpPr>
        <p:spPr>
          <a:xfrm>
            <a:off x="6264066" y="3081135"/>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6350" cap="flat" cmpd="thickThin" algn="ctr">
            <a:solidFill>
              <a:schemeClr val="bg1">
                <a:lumMod val="50000"/>
              </a:schemeClr>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sp>
        <p:nvSpPr>
          <p:cNvPr id="49" name="Freeform 100">
            <a:extLst>
              <a:ext uri="{FF2B5EF4-FFF2-40B4-BE49-F238E27FC236}">
                <a16:creationId xmlns:a16="http://schemas.microsoft.com/office/drawing/2014/main" id="{21F564B8-86CD-4AC1-9E50-5276AB76BEB4}"/>
              </a:ext>
            </a:extLst>
          </p:cNvPr>
          <p:cNvSpPr/>
          <p:nvPr/>
        </p:nvSpPr>
        <p:spPr>
          <a:xfrm>
            <a:off x="465136" y="3081135"/>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6350" cap="flat" cmpd="thickThin" algn="ctr">
            <a:solidFill>
              <a:schemeClr val="accent2"/>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sp>
        <p:nvSpPr>
          <p:cNvPr id="50" name="Rectangle 77">
            <a:extLst>
              <a:ext uri="{FF2B5EF4-FFF2-40B4-BE49-F238E27FC236}">
                <a16:creationId xmlns:a16="http://schemas.microsoft.com/office/drawing/2014/main" id="{2D0C9352-B1DD-4CB5-A60A-85330C023857}"/>
              </a:ext>
            </a:extLst>
          </p:cNvPr>
          <p:cNvSpPr/>
          <p:nvPr/>
        </p:nvSpPr>
        <p:spPr>
          <a:xfrm>
            <a:off x="8241403" y="3186577"/>
            <a:ext cx="3602251" cy="886397"/>
          </a:xfrm>
          <a:prstGeom prst="rect">
            <a:avLst/>
          </a:prstGeom>
          <a:noFill/>
          <a:effectLst/>
        </p:spPr>
        <p:txBody>
          <a:bodyPr wrap="square" lIns="0" tIns="0" rIns="0" bIns="0">
            <a:spAutoFit/>
          </a:bodyPr>
          <a:lstStyle/>
          <a:p>
            <a:pPr marL="174862" indent="-174862" defTabSz="485501" fontAlgn="base">
              <a:lnSpc>
                <a:spcPct val="90000"/>
              </a:lnSpc>
              <a:buFont typeface="Arial" pitchFamily="34" charset="0"/>
              <a:buChar char="•"/>
              <a:defRPr/>
            </a:pPr>
            <a:r>
              <a:rPr lang="en-US" sz="1600" kern="0" dirty="0">
                <a:solidFill>
                  <a:srgbClr val="FFFFFF"/>
                </a:solidFill>
                <a:cs typeface="Segoe UI" panose="020B0502040204020203" pitchFamily="34" charset="0"/>
              </a:rPr>
              <a:t>Transitive routing via BGP and VPN gateways</a:t>
            </a:r>
          </a:p>
          <a:p>
            <a:pPr marL="174862" indent="-174862" defTabSz="485501" fontAlgn="base">
              <a:lnSpc>
                <a:spcPct val="90000"/>
              </a:lnSpc>
              <a:buFont typeface="Arial" pitchFamily="34" charset="0"/>
              <a:buChar char="•"/>
              <a:defRPr/>
            </a:pPr>
            <a:r>
              <a:rPr lang="en-US" sz="1600" kern="0" dirty="0">
                <a:solidFill>
                  <a:srgbClr val="FFFFFF"/>
                </a:solidFill>
                <a:cs typeface="Segoe UI" panose="020B0502040204020203" pitchFamily="34" charset="0"/>
              </a:rPr>
              <a:t>Secure connectivity via IPsec/IKE across Azure WAN links</a:t>
            </a:r>
          </a:p>
        </p:txBody>
      </p:sp>
      <p:grpSp>
        <p:nvGrpSpPr>
          <p:cNvPr id="51" name="Group 50">
            <a:extLst>
              <a:ext uri="{FF2B5EF4-FFF2-40B4-BE49-F238E27FC236}">
                <a16:creationId xmlns:a16="http://schemas.microsoft.com/office/drawing/2014/main" id="{9B544FCC-D67C-482F-8B4C-8FBA681F4857}"/>
              </a:ext>
            </a:extLst>
          </p:cNvPr>
          <p:cNvGrpSpPr/>
          <p:nvPr/>
        </p:nvGrpSpPr>
        <p:grpSpPr>
          <a:xfrm>
            <a:off x="993940" y="3226245"/>
            <a:ext cx="771193" cy="807060"/>
            <a:chOff x="1045091" y="3225691"/>
            <a:chExt cx="771193" cy="807060"/>
          </a:xfrm>
        </p:grpSpPr>
        <p:pic>
          <p:nvPicPr>
            <p:cNvPr id="52" name="Picture 2">
              <a:extLst>
                <a:ext uri="{FF2B5EF4-FFF2-40B4-BE49-F238E27FC236}">
                  <a16:creationId xmlns:a16="http://schemas.microsoft.com/office/drawing/2014/main" id="{D0713CF6-CB7A-43E1-B955-38D52D90DAA8}"/>
                </a:ext>
              </a:extLst>
            </p:cNvPr>
            <p:cNvPicPr>
              <a:picLocks noChangeAspect="1" noChangeArrowheads="1"/>
            </p:cNvPicPr>
            <p:nvPr/>
          </p:nvPicPr>
          <p:blipFill>
            <a:blip r:embed="rId3" cstate="print">
              <a:lum bright="100000" contrast="100000"/>
            </a:blip>
            <a:srcRect/>
            <a:stretch>
              <a:fillRect/>
            </a:stretch>
          </p:blipFill>
          <p:spPr bwMode="auto">
            <a:xfrm>
              <a:off x="1045091" y="3225691"/>
              <a:ext cx="555251" cy="555105"/>
            </a:xfrm>
            <a:prstGeom prst="rect">
              <a:avLst/>
            </a:prstGeom>
            <a:noFill/>
            <a:ln w="9525">
              <a:noFill/>
              <a:miter lim="800000"/>
              <a:headEnd/>
              <a:tailEnd/>
            </a:ln>
            <a:effectLst/>
          </p:spPr>
        </p:pic>
        <p:sp>
          <p:nvSpPr>
            <p:cNvPr id="53" name="Isosceles Triangle 52">
              <a:extLst>
                <a:ext uri="{FF2B5EF4-FFF2-40B4-BE49-F238E27FC236}">
                  <a16:creationId xmlns:a16="http://schemas.microsoft.com/office/drawing/2014/main" id="{785FEF6B-8693-456E-9E0E-E3ECD266D164}"/>
                </a:ext>
              </a:extLst>
            </p:cNvPr>
            <p:cNvSpPr/>
            <p:nvPr/>
          </p:nvSpPr>
          <p:spPr bwMode="auto">
            <a:xfrm rot="9180217">
              <a:off x="1331183" y="3615995"/>
              <a:ext cx="274312" cy="374918"/>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582595">
                <a:defRPr/>
              </a:pPr>
              <a:endParaRPr lang="en-US" sz="1400" kern="0" dirty="0">
                <a:solidFill>
                  <a:srgbClr val="FFFFFF"/>
                </a:solidFill>
                <a:latin typeface="Segoe UI"/>
                <a:cs typeface="Segoe UI" panose="020B0502040204020203" pitchFamily="34" charset="0"/>
              </a:endParaRPr>
            </a:p>
          </p:txBody>
        </p:sp>
        <p:sp>
          <p:nvSpPr>
            <p:cNvPr id="54" name="Freeform 539">
              <a:extLst>
                <a:ext uri="{FF2B5EF4-FFF2-40B4-BE49-F238E27FC236}">
                  <a16:creationId xmlns:a16="http://schemas.microsoft.com/office/drawing/2014/main" id="{D76B4AED-4CD6-4010-B84C-0290004C9804}"/>
                </a:ext>
              </a:extLst>
            </p:cNvPr>
            <p:cNvSpPr>
              <a:spLocks noChangeAspect="1"/>
            </p:cNvSpPr>
            <p:nvPr/>
          </p:nvSpPr>
          <p:spPr bwMode="auto">
            <a:xfrm>
              <a:off x="1351028" y="3776959"/>
              <a:ext cx="465256" cy="25579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ffectLst/>
            <a:extLst/>
          </p:spPr>
          <p:txBody>
            <a:bodyPr vert="horz" wrap="square" lIns="93260" tIns="46630" rIns="93260" bIns="46630" numCol="1" anchor="t" anchorCtr="0" compatLnSpc="1">
              <a:prstTxWarp prst="textNoShape">
                <a:avLst/>
              </a:prstTxWarp>
            </a:bodyPr>
            <a:lstStyle/>
            <a:p>
              <a:pPr defTabSz="951060">
                <a:defRPr/>
              </a:pPr>
              <a:endParaRPr lang="en-US" sz="2400" kern="0">
                <a:solidFill>
                  <a:srgbClr val="FFFFFF"/>
                </a:solidFill>
                <a:latin typeface="Segoe UI"/>
                <a:cs typeface="Segoe UI" panose="020B0502040204020203" pitchFamily="34" charset="0"/>
              </a:endParaRPr>
            </a:p>
          </p:txBody>
        </p:sp>
      </p:grpSp>
      <p:sp>
        <p:nvSpPr>
          <p:cNvPr id="64" name="Freeform 59">
            <a:extLst>
              <a:ext uri="{FF2B5EF4-FFF2-40B4-BE49-F238E27FC236}">
                <a16:creationId xmlns:a16="http://schemas.microsoft.com/office/drawing/2014/main" id="{1A24ECE3-2861-4E4B-A695-6DA48C050CA4}"/>
              </a:ext>
            </a:extLst>
          </p:cNvPr>
          <p:cNvSpPr/>
          <p:nvPr/>
        </p:nvSpPr>
        <p:spPr>
          <a:xfrm>
            <a:off x="6264066" y="1848560"/>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6350" cap="flat" cmpd="thickThin" algn="ctr">
            <a:solidFill>
              <a:schemeClr val="bg1">
                <a:lumMod val="50000"/>
              </a:schemeClr>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sp>
        <p:nvSpPr>
          <p:cNvPr id="65" name="Freeform 68">
            <a:extLst>
              <a:ext uri="{FF2B5EF4-FFF2-40B4-BE49-F238E27FC236}">
                <a16:creationId xmlns:a16="http://schemas.microsoft.com/office/drawing/2014/main" id="{0A883F45-6F46-4A7B-BAC4-4EC5CEF300B0}"/>
              </a:ext>
            </a:extLst>
          </p:cNvPr>
          <p:cNvSpPr/>
          <p:nvPr/>
        </p:nvSpPr>
        <p:spPr>
          <a:xfrm>
            <a:off x="465136" y="1848560"/>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6350" cap="flat" cmpd="thickThin" algn="ctr">
            <a:solidFill>
              <a:schemeClr val="accent2"/>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cxnSp>
        <p:nvCxnSpPr>
          <p:cNvPr id="69" name="Straight Connector 68">
            <a:extLst>
              <a:ext uri="{FF2B5EF4-FFF2-40B4-BE49-F238E27FC236}">
                <a16:creationId xmlns:a16="http://schemas.microsoft.com/office/drawing/2014/main" id="{8332F64A-D6F4-453B-B58C-EC87E5156584}"/>
              </a:ext>
            </a:extLst>
          </p:cNvPr>
          <p:cNvCxnSpPr/>
          <p:nvPr/>
        </p:nvCxnSpPr>
        <p:spPr>
          <a:xfrm>
            <a:off x="5273951" y="3629775"/>
            <a:ext cx="894751"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cxnSp>
        <p:nvCxnSpPr>
          <p:cNvPr id="70" name="Straight Connector 69">
            <a:extLst>
              <a:ext uri="{FF2B5EF4-FFF2-40B4-BE49-F238E27FC236}">
                <a16:creationId xmlns:a16="http://schemas.microsoft.com/office/drawing/2014/main" id="{3E4AFA68-EB6B-41F4-B394-1D3DE6124036}"/>
              </a:ext>
            </a:extLst>
          </p:cNvPr>
          <p:cNvCxnSpPr/>
          <p:nvPr/>
        </p:nvCxnSpPr>
        <p:spPr>
          <a:xfrm flipH="1">
            <a:off x="2379632" y="3629775"/>
            <a:ext cx="933878"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sp>
        <p:nvSpPr>
          <p:cNvPr id="74" name="Rectangle 73">
            <a:extLst>
              <a:ext uri="{FF2B5EF4-FFF2-40B4-BE49-F238E27FC236}">
                <a16:creationId xmlns:a16="http://schemas.microsoft.com/office/drawing/2014/main" id="{BE4F6736-348B-406B-BA74-407C68766DD5}"/>
              </a:ext>
            </a:extLst>
          </p:cNvPr>
          <p:cNvSpPr/>
          <p:nvPr/>
        </p:nvSpPr>
        <p:spPr>
          <a:xfrm>
            <a:off x="3157981" y="3408176"/>
            <a:ext cx="2205002" cy="443198"/>
          </a:xfrm>
          <a:prstGeom prst="rect">
            <a:avLst/>
          </a:prstGeom>
          <a:effectLst/>
        </p:spPr>
        <p:txBody>
          <a:bodyPr wrap="square" lIns="0" tIns="0" rIns="0" bIns="0">
            <a:spAutoFit/>
          </a:bodyPr>
          <a:lstStyle/>
          <a:p>
            <a:pPr algn="ctr" defTabSz="485501" fontAlgn="base">
              <a:lnSpc>
                <a:spcPct val="80000"/>
              </a:lnSpc>
              <a:defRPr/>
            </a:pPr>
            <a:r>
              <a:rPr lang="en-US" kern="0" dirty="0" err="1">
                <a:solidFill>
                  <a:srgbClr val="FFFFFF"/>
                </a:solidFill>
                <a:cs typeface="Segoe UI" panose="020B0502040204020203" pitchFamily="34" charset="0"/>
              </a:rPr>
              <a:t>VNet</a:t>
            </a:r>
            <a:r>
              <a:rPr lang="en-US" kern="0" dirty="0">
                <a:solidFill>
                  <a:srgbClr val="FFFFFF"/>
                </a:solidFill>
                <a:cs typeface="Segoe UI" panose="020B0502040204020203" pitchFamily="34" charset="0"/>
              </a:rPr>
              <a:t>-to-</a:t>
            </a:r>
            <a:r>
              <a:rPr lang="en-US" kern="0" dirty="0" err="1">
                <a:solidFill>
                  <a:srgbClr val="FFFFFF"/>
                </a:solidFill>
                <a:cs typeface="Segoe UI" panose="020B0502040204020203" pitchFamily="34" charset="0"/>
              </a:rPr>
              <a:t>VNet</a:t>
            </a:r>
            <a:r>
              <a:rPr lang="en-US" kern="0" dirty="0">
                <a:solidFill>
                  <a:srgbClr val="FFFFFF"/>
                </a:solidFill>
                <a:cs typeface="Segoe UI" panose="020B0502040204020203" pitchFamily="34" charset="0"/>
              </a:rPr>
              <a:t> via Gateways</a:t>
            </a:r>
          </a:p>
        </p:txBody>
      </p:sp>
      <p:sp>
        <p:nvSpPr>
          <p:cNvPr id="76" name="Rectangle 75">
            <a:extLst>
              <a:ext uri="{FF2B5EF4-FFF2-40B4-BE49-F238E27FC236}">
                <a16:creationId xmlns:a16="http://schemas.microsoft.com/office/drawing/2014/main" id="{E6A87898-AECD-4486-B8B5-85B949161749}"/>
              </a:ext>
            </a:extLst>
          </p:cNvPr>
          <p:cNvSpPr/>
          <p:nvPr/>
        </p:nvSpPr>
        <p:spPr>
          <a:xfrm>
            <a:off x="3159341" y="2286401"/>
            <a:ext cx="2206361" cy="221599"/>
          </a:xfrm>
          <a:prstGeom prst="rect">
            <a:avLst/>
          </a:prstGeom>
          <a:effectLst/>
        </p:spPr>
        <p:txBody>
          <a:bodyPr wrap="square" lIns="0" tIns="0" rIns="0" bIns="0">
            <a:spAutoFit/>
          </a:bodyPr>
          <a:lstStyle/>
          <a:p>
            <a:pPr algn="ctr" defTabSz="485501" fontAlgn="base">
              <a:lnSpc>
                <a:spcPct val="80000"/>
              </a:lnSpc>
              <a:defRPr/>
            </a:pPr>
            <a:r>
              <a:rPr lang="en-US" kern="0" dirty="0" err="1">
                <a:solidFill>
                  <a:srgbClr val="FFFFFF"/>
                </a:solidFill>
                <a:cs typeface="Segoe UI" panose="020B0502040204020203" pitchFamily="34" charset="0"/>
              </a:rPr>
              <a:t>VNet</a:t>
            </a:r>
            <a:r>
              <a:rPr lang="en-US" kern="0" dirty="0">
                <a:solidFill>
                  <a:srgbClr val="FFFFFF"/>
                </a:solidFill>
                <a:cs typeface="Segoe UI" panose="020B0502040204020203" pitchFamily="34" charset="0"/>
              </a:rPr>
              <a:t> Peering</a:t>
            </a:r>
          </a:p>
        </p:txBody>
      </p:sp>
      <p:cxnSp>
        <p:nvCxnSpPr>
          <p:cNvPr id="77" name="Straight Connector 76">
            <a:extLst>
              <a:ext uri="{FF2B5EF4-FFF2-40B4-BE49-F238E27FC236}">
                <a16:creationId xmlns:a16="http://schemas.microsoft.com/office/drawing/2014/main" id="{FE97D6DC-DB47-42FF-BA57-34FF33873122}"/>
              </a:ext>
            </a:extLst>
          </p:cNvPr>
          <p:cNvCxnSpPr/>
          <p:nvPr/>
        </p:nvCxnSpPr>
        <p:spPr>
          <a:xfrm>
            <a:off x="5273951" y="2397200"/>
            <a:ext cx="895303"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cxnSp>
        <p:nvCxnSpPr>
          <p:cNvPr id="78" name="Straight Connector 77">
            <a:extLst>
              <a:ext uri="{FF2B5EF4-FFF2-40B4-BE49-F238E27FC236}">
                <a16:creationId xmlns:a16="http://schemas.microsoft.com/office/drawing/2014/main" id="{C1E0DFF2-FBB1-49D8-93FF-B2F95C21A3B3}"/>
              </a:ext>
            </a:extLst>
          </p:cNvPr>
          <p:cNvCxnSpPr/>
          <p:nvPr/>
        </p:nvCxnSpPr>
        <p:spPr>
          <a:xfrm flipH="1">
            <a:off x="2380764" y="2397200"/>
            <a:ext cx="934453"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sp>
        <p:nvSpPr>
          <p:cNvPr id="79" name="Rectangle 77">
            <a:extLst>
              <a:ext uri="{FF2B5EF4-FFF2-40B4-BE49-F238E27FC236}">
                <a16:creationId xmlns:a16="http://schemas.microsoft.com/office/drawing/2014/main" id="{7684613B-D51E-48B3-9A4E-AE7487DC9DA6}"/>
              </a:ext>
            </a:extLst>
          </p:cNvPr>
          <p:cNvSpPr/>
          <p:nvPr/>
        </p:nvSpPr>
        <p:spPr>
          <a:xfrm>
            <a:off x="8246198" y="1954002"/>
            <a:ext cx="3604471" cy="886397"/>
          </a:xfrm>
          <a:prstGeom prst="rect">
            <a:avLst/>
          </a:prstGeom>
          <a:noFill/>
          <a:effectLst/>
        </p:spPr>
        <p:txBody>
          <a:bodyPr wrap="square" lIns="0" tIns="0" rIns="0" bIns="0">
            <a:spAutoFit/>
          </a:bodyPr>
          <a:lstStyle/>
          <a:p>
            <a:pPr marL="174862" indent="-174862" defTabSz="485501" fontAlgn="base">
              <a:lnSpc>
                <a:spcPct val="90000"/>
              </a:lnSpc>
              <a:buFont typeface="Arial" pitchFamily="34" charset="0"/>
              <a:buChar char="•"/>
              <a:defRPr/>
            </a:pPr>
            <a:r>
              <a:rPr lang="en-US" sz="1600" kern="0" dirty="0">
                <a:solidFill>
                  <a:srgbClr val="FFFFFF"/>
                </a:solidFill>
                <a:cs typeface="Segoe UI" panose="020B0502040204020203" pitchFamily="34" charset="0"/>
              </a:rPr>
              <a:t>Same-/cross-region direct, private VM-to-VM connectivity</a:t>
            </a:r>
          </a:p>
          <a:p>
            <a:pPr marL="174862" indent="-174862" defTabSz="485501" fontAlgn="base">
              <a:lnSpc>
                <a:spcPct val="90000"/>
              </a:lnSpc>
              <a:buFont typeface="Arial" pitchFamily="34" charset="0"/>
              <a:buChar char="•"/>
              <a:defRPr/>
            </a:pPr>
            <a:r>
              <a:rPr lang="en-US" sz="1600" kern="0" dirty="0">
                <a:solidFill>
                  <a:srgbClr val="FFFFFF"/>
                </a:solidFill>
                <a:cs typeface="Segoe UI" panose="020B0502040204020203" pitchFamily="34" charset="0"/>
              </a:rPr>
              <a:t>NSG &amp; UDR across </a:t>
            </a:r>
            <a:r>
              <a:rPr lang="en-US" sz="1600" kern="0" dirty="0" err="1">
                <a:solidFill>
                  <a:srgbClr val="FFFFFF"/>
                </a:solidFill>
                <a:cs typeface="Segoe UI" panose="020B0502040204020203" pitchFamily="34" charset="0"/>
              </a:rPr>
              <a:t>VNets</a:t>
            </a:r>
            <a:endParaRPr lang="en-US" sz="1600" kern="0" dirty="0">
              <a:solidFill>
                <a:srgbClr val="FFFFFF"/>
              </a:solidFill>
              <a:cs typeface="Segoe UI" panose="020B0502040204020203" pitchFamily="34" charset="0"/>
            </a:endParaRPr>
          </a:p>
          <a:p>
            <a:pPr marL="174862" indent="-174862" defTabSz="485501" fontAlgn="base">
              <a:lnSpc>
                <a:spcPct val="90000"/>
              </a:lnSpc>
              <a:buFont typeface="Arial" pitchFamily="34" charset="0"/>
              <a:buChar char="•"/>
              <a:defRPr/>
            </a:pPr>
            <a:r>
              <a:rPr lang="en-US" sz="1600" kern="0" dirty="0" err="1">
                <a:solidFill>
                  <a:srgbClr val="FFFFFF"/>
                </a:solidFill>
                <a:cs typeface="Segoe UI" panose="020B0502040204020203" pitchFamily="34" charset="0"/>
              </a:rPr>
              <a:t>GatewayTransit</a:t>
            </a:r>
            <a:r>
              <a:rPr lang="en-US" sz="1600" kern="0" dirty="0">
                <a:solidFill>
                  <a:srgbClr val="FFFFFF"/>
                </a:solidFill>
                <a:cs typeface="Segoe UI" panose="020B0502040204020203" pitchFamily="34" charset="0"/>
              </a:rPr>
              <a:t> for hub-and-spoke</a:t>
            </a:r>
          </a:p>
        </p:txBody>
      </p:sp>
      <p:grpSp>
        <p:nvGrpSpPr>
          <p:cNvPr id="80" name="Group 79">
            <a:extLst>
              <a:ext uri="{FF2B5EF4-FFF2-40B4-BE49-F238E27FC236}">
                <a16:creationId xmlns:a16="http://schemas.microsoft.com/office/drawing/2014/main" id="{E0BAFBB7-2441-4BC6-8FDF-5ED67FD62C98}"/>
              </a:ext>
            </a:extLst>
          </p:cNvPr>
          <p:cNvGrpSpPr/>
          <p:nvPr/>
        </p:nvGrpSpPr>
        <p:grpSpPr>
          <a:xfrm>
            <a:off x="993701" y="1993671"/>
            <a:ext cx="771670" cy="807058"/>
            <a:chOff x="1045450" y="2050830"/>
            <a:chExt cx="771670" cy="807058"/>
          </a:xfrm>
        </p:grpSpPr>
        <p:pic>
          <p:nvPicPr>
            <p:cNvPr id="81" name="Picture 2">
              <a:extLst>
                <a:ext uri="{FF2B5EF4-FFF2-40B4-BE49-F238E27FC236}">
                  <a16:creationId xmlns:a16="http://schemas.microsoft.com/office/drawing/2014/main" id="{71983444-4E7D-4253-8632-AD5410DC2801}"/>
                </a:ext>
              </a:extLst>
            </p:cNvPr>
            <p:cNvPicPr>
              <a:picLocks noChangeAspect="1" noChangeArrowheads="1"/>
            </p:cNvPicPr>
            <p:nvPr/>
          </p:nvPicPr>
          <p:blipFill>
            <a:blip r:embed="rId3" cstate="print">
              <a:lum bright="100000" contrast="100000"/>
            </a:blip>
            <a:srcRect/>
            <a:stretch>
              <a:fillRect/>
            </a:stretch>
          </p:blipFill>
          <p:spPr bwMode="auto">
            <a:xfrm>
              <a:off x="1045450" y="2050830"/>
              <a:ext cx="555593" cy="555105"/>
            </a:xfrm>
            <a:prstGeom prst="rect">
              <a:avLst/>
            </a:prstGeom>
            <a:noFill/>
            <a:ln w="9525">
              <a:noFill/>
              <a:miter lim="800000"/>
              <a:headEnd/>
              <a:tailEnd/>
            </a:ln>
            <a:effectLst/>
          </p:spPr>
        </p:pic>
        <p:sp>
          <p:nvSpPr>
            <p:cNvPr id="82" name="Isosceles Triangle 81">
              <a:extLst>
                <a:ext uri="{FF2B5EF4-FFF2-40B4-BE49-F238E27FC236}">
                  <a16:creationId xmlns:a16="http://schemas.microsoft.com/office/drawing/2014/main" id="{D1DD1E5C-E7A6-406E-87ED-CF0E19AE01E4}"/>
                </a:ext>
              </a:extLst>
            </p:cNvPr>
            <p:cNvSpPr/>
            <p:nvPr/>
          </p:nvSpPr>
          <p:spPr bwMode="auto">
            <a:xfrm rot="9180217">
              <a:off x="1331719" y="2441134"/>
              <a:ext cx="274481" cy="374918"/>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582595">
                <a:defRPr/>
              </a:pPr>
              <a:endParaRPr lang="en-US" sz="1400" kern="0" dirty="0">
                <a:solidFill>
                  <a:srgbClr val="FFFFFF"/>
                </a:solidFill>
                <a:latin typeface="Segoe UI"/>
                <a:cs typeface="Segoe UI" panose="020B0502040204020203" pitchFamily="34" charset="0"/>
              </a:endParaRPr>
            </a:p>
          </p:txBody>
        </p:sp>
        <p:sp>
          <p:nvSpPr>
            <p:cNvPr id="83" name="Freeform 539">
              <a:extLst>
                <a:ext uri="{FF2B5EF4-FFF2-40B4-BE49-F238E27FC236}">
                  <a16:creationId xmlns:a16="http://schemas.microsoft.com/office/drawing/2014/main" id="{5A42414D-5888-442C-B925-A8585011ABB9}"/>
                </a:ext>
              </a:extLst>
            </p:cNvPr>
            <p:cNvSpPr>
              <a:spLocks noChangeAspect="1"/>
            </p:cNvSpPr>
            <p:nvPr/>
          </p:nvSpPr>
          <p:spPr bwMode="auto">
            <a:xfrm>
              <a:off x="1351577" y="2602096"/>
              <a:ext cx="465543" cy="25579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ffectLst/>
            <a:extLst/>
          </p:spPr>
          <p:txBody>
            <a:bodyPr vert="horz" wrap="square" lIns="93260" tIns="46630" rIns="93260" bIns="46630" numCol="1" anchor="t" anchorCtr="0" compatLnSpc="1">
              <a:prstTxWarp prst="textNoShape">
                <a:avLst/>
              </a:prstTxWarp>
            </a:bodyPr>
            <a:lstStyle/>
            <a:p>
              <a:pPr defTabSz="951060">
                <a:defRPr/>
              </a:pPr>
              <a:endParaRPr lang="en-US" sz="2400" kern="0">
                <a:solidFill>
                  <a:srgbClr val="FFFFFF"/>
                </a:solidFill>
                <a:latin typeface="Segoe UI"/>
                <a:cs typeface="Segoe UI" panose="020B0502040204020203" pitchFamily="34" charset="0"/>
              </a:endParaRPr>
            </a:p>
          </p:txBody>
        </p:sp>
      </p:grpSp>
      <p:sp>
        <p:nvSpPr>
          <p:cNvPr id="86" name="Freeform 539">
            <a:extLst>
              <a:ext uri="{FF2B5EF4-FFF2-40B4-BE49-F238E27FC236}">
                <a16:creationId xmlns:a16="http://schemas.microsoft.com/office/drawing/2014/main" id="{060986DD-2965-41C0-8713-56BFC1AC9D02}"/>
              </a:ext>
            </a:extLst>
          </p:cNvPr>
          <p:cNvSpPr>
            <a:spLocks noChangeAspect="1"/>
          </p:cNvSpPr>
          <p:nvPr/>
        </p:nvSpPr>
        <p:spPr bwMode="auto">
          <a:xfrm>
            <a:off x="6773722" y="3407389"/>
            <a:ext cx="809489" cy="44477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pPr defTabSz="951060">
              <a:defRPr/>
            </a:pPr>
            <a:endParaRPr lang="en-US" sz="2448" kern="0">
              <a:solidFill>
                <a:srgbClr val="FFFFFF"/>
              </a:solidFill>
              <a:latin typeface="Segoe UI"/>
              <a:cs typeface="Segoe UI" panose="020B0502040204020203" pitchFamily="34" charset="0"/>
            </a:endParaRPr>
          </a:p>
        </p:txBody>
      </p:sp>
      <p:sp>
        <p:nvSpPr>
          <p:cNvPr id="87" name="Freeform 539">
            <a:extLst>
              <a:ext uri="{FF2B5EF4-FFF2-40B4-BE49-F238E27FC236}">
                <a16:creationId xmlns:a16="http://schemas.microsoft.com/office/drawing/2014/main" id="{0FB880EC-C63B-4B46-A9EA-4651E6390670}"/>
              </a:ext>
            </a:extLst>
          </p:cNvPr>
          <p:cNvSpPr>
            <a:spLocks noChangeAspect="1"/>
          </p:cNvSpPr>
          <p:nvPr/>
        </p:nvSpPr>
        <p:spPr bwMode="auto">
          <a:xfrm>
            <a:off x="6773722" y="2174814"/>
            <a:ext cx="809489" cy="44477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pPr defTabSz="951060">
              <a:defRPr/>
            </a:pPr>
            <a:endParaRPr lang="en-US" sz="2448" kern="0">
              <a:solidFill>
                <a:srgbClr val="FFFFFF"/>
              </a:solidFill>
              <a:latin typeface="Segoe UI"/>
              <a:cs typeface="Segoe UI" panose="020B0502040204020203" pitchFamily="34" charset="0"/>
            </a:endParaRPr>
          </a:p>
        </p:txBody>
      </p:sp>
    </p:spTree>
    <p:extLst>
      <p:ext uri="{BB962C8B-B14F-4D97-AF65-F5344CB8AC3E}">
        <p14:creationId xmlns:p14="http://schemas.microsoft.com/office/powerpoint/2010/main" val="3944215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Services</a:t>
            </a:r>
          </a:p>
        </p:txBody>
      </p:sp>
      <p:sp>
        <p:nvSpPr>
          <p:cNvPr id="39" name="Rectangle 38">
            <a:extLst>
              <a:ext uri="{FF2B5EF4-FFF2-40B4-BE49-F238E27FC236}">
                <a16:creationId xmlns:a16="http://schemas.microsoft.com/office/drawing/2014/main" id="{52133C35-2D79-4D39-ADFA-8993BD1327F6}"/>
              </a:ext>
            </a:extLst>
          </p:cNvPr>
          <p:cNvSpPr/>
          <p:nvPr/>
        </p:nvSpPr>
        <p:spPr bwMode="auto">
          <a:xfrm>
            <a:off x="2802291" y="2911328"/>
            <a:ext cx="2194560" cy="3136582"/>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defRPr/>
            </a:pPr>
            <a:r>
              <a:rPr lang="en-US" b="1" dirty="0">
                <a:solidFill>
                  <a:schemeClr val="bg1"/>
                </a:solidFill>
                <a:ea typeface="Segoe UI" pitchFamily="34" charset="0"/>
                <a:cs typeface="Segoe UI" pitchFamily="34" charset="0"/>
              </a:rPr>
              <a:t>FILES</a:t>
            </a:r>
          </a:p>
          <a:p>
            <a:pPr defTabSz="856600" fontAlgn="base">
              <a:spcBef>
                <a:spcPts val="300"/>
              </a:spcBef>
              <a:spcAft>
                <a:spcPts val="600"/>
              </a:spcAft>
              <a:defRPr/>
            </a:pPr>
            <a:r>
              <a:rPr lang="en-US" sz="1600" dirty="0">
                <a:solidFill>
                  <a:schemeClr val="bg1"/>
                </a:solidFill>
                <a:ea typeface="Segoe UI" pitchFamily="34" charset="0"/>
                <a:cs typeface="Segoe UI" pitchFamily="34" charset="0"/>
              </a:rPr>
              <a:t>Fully Managed File Shares in the Cloud</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SMB and REST access</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Lift and shift” legacy apps</a:t>
            </a:r>
          </a:p>
        </p:txBody>
      </p:sp>
      <p:sp>
        <p:nvSpPr>
          <p:cNvPr id="40" name="Rectangle 39">
            <a:extLst>
              <a:ext uri="{FF2B5EF4-FFF2-40B4-BE49-F238E27FC236}">
                <a16:creationId xmlns:a16="http://schemas.microsoft.com/office/drawing/2014/main" id="{44C6DDF9-6ADA-4155-BE37-EB6D2E458B3C}"/>
              </a:ext>
            </a:extLst>
          </p:cNvPr>
          <p:cNvSpPr/>
          <p:nvPr/>
        </p:nvSpPr>
        <p:spPr bwMode="auto">
          <a:xfrm>
            <a:off x="475552" y="2911328"/>
            <a:ext cx="2194560" cy="3136582"/>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defRPr/>
            </a:pPr>
            <a:r>
              <a:rPr lang="en-US" b="1" dirty="0">
                <a:solidFill>
                  <a:schemeClr val="bg1"/>
                </a:solidFill>
                <a:ea typeface="Segoe UI" pitchFamily="34" charset="0"/>
                <a:cs typeface="Segoe UI" pitchFamily="34" charset="0"/>
              </a:rPr>
              <a:t>DISKS</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Persistent disks for Azure IaaS VMs</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Premium Storage Disks option: SSD based, high IOPS, low latency</a:t>
            </a:r>
          </a:p>
        </p:txBody>
      </p:sp>
      <p:sp>
        <p:nvSpPr>
          <p:cNvPr id="41" name="Rectangle 40">
            <a:extLst>
              <a:ext uri="{FF2B5EF4-FFF2-40B4-BE49-F238E27FC236}">
                <a16:creationId xmlns:a16="http://schemas.microsoft.com/office/drawing/2014/main" id="{681C0BE8-4F0D-404A-B50E-92C6C978EA83}"/>
              </a:ext>
            </a:extLst>
          </p:cNvPr>
          <p:cNvSpPr/>
          <p:nvPr/>
        </p:nvSpPr>
        <p:spPr bwMode="auto">
          <a:xfrm>
            <a:off x="5129030" y="2911328"/>
            <a:ext cx="2194560" cy="3136582"/>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defRPr/>
            </a:pPr>
            <a:r>
              <a:rPr lang="en-US" b="1" dirty="0">
                <a:solidFill>
                  <a:schemeClr val="bg1"/>
                </a:solidFill>
                <a:ea typeface="Segoe UI" pitchFamily="34" charset="0"/>
                <a:cs typeface="Segoe UI" pitchFamily="34" charset="0"/>
              </a:rPr>
              <a:t>BLOBS</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Highly scalable, REST based cloud </a:t>
            </a:r>
            <a:r>
              <a:rPr lang="en-US" sz="1600" b="1" dirty="0">
                <a:solidFill>
                  <a:schemeClr val="bg1"/>
                </a:solidFill>
                <a:ea typeface="Segoe UI" pitchFamily="34" charset="0"/>
                <a:cs typeface="Segoe UI" pitchFamily="34" charset="0"/>
              </a:rPr>
              <a:t>object</a:t>
            </a:r>
            <a:r>
              <a:rPr lang="en-US" sz="1600" dirty="0">
                <a:solidFill>
                  <a:schemeClr val="bg1"/>
                </a:solidFill>
                <a:ea typeface="Segoe UI" pitchFamily="34" charset="0"/>
                <a:cs typeface="Segoe UI" pitchFamily="34" charset="0"/>
              </a:rPr>
              <a:t> store</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Block Blobs: Sequential file I/O</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Cool Tier Available</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Page Blobs: Random-write pattern data</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Append Blobs</a:t>
            </a:r>
          </a:p>
        </p:txBody>
      </p:sp>
      <p:sp>
        <p:nvSpPr>
          <p:cNvPr id="42" name="Rectangle 41">
            <a:extLst>
              <a:ext uri="{FF2B5EF4-FFF2-40B4-BE49-F238E27FC236}">
                <a16:creationId xmlns:a16="http://schemas.microsoft.com/office/drawing/2014/main" id="{03B32859-A6C0-4106-826C-E78543A4221F}"/>
              </a:ext>
            </a:extLst>
          </p:cNvPr>
          <p:cNvSpPr/>
          <p:nvPr/>
        </p:nvSpPr>
        <p:spPr bwMode="auto">
          <a:xfrm>
            <a:off x="9782508" y="2911328"/>
            <a:ext cx="2194560" cy="3136582"/>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defRPr/>
            </a:pPr>
            <a:r>
              <a:rPr lang="en-US" b="1" dirty="0">
                <a:solidFill>
                  <a:schemeClr val="bg1"/>
                </a:solidFill>
                <a:ea typeface="Segoe UI" pitchFamily="34" charset="0"/>
                <a:cs typeface="Segoe UI" pitchFamily="34" charset="0"/>
              </a:rPr>
              <a:t>QUEUES</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Reliable queues at scale for cloud services</a:t>
            </a:r>
          </a:p>
          <a:p>
            <a:pPr defTabSz="856695" fontAlgn="base">
              <a:spcBef>
                <a:spcPts val="300"/>
              </a:spcBef>
              <a:spcAft>
                <a:spcPts val="600"/>
              </a:spcAft>
              <a:defRPr/>
            </a:pPr>
            <a:r>
              <a:rPr lang="en-US" sz="1600" dirty="0">
                <a:solidFill>
                  <a:schemeClr val="bg1"/>
                </a:solidFill>
                <a:cs typeface="Segoe UI" pitchFamily="34" charset="0"/>
              </a:rPr>
              <a:t>Decouple and scale components</a:t>
            </a:r>
          </a:p>
          <a:p>
            <a:pPr defTabSz="856695" fontAlgn="base">
              <a:spcBef>
                <a:spcPts val="300"/>
              </a:spcBef>
              <a:spcAft>
                <a:spcPts val="600"/>
              </a:spcAft>
              <a:defRPr/>
            </a:pPr>
            <a:r>
              <a:rPr lang="en-US" sz="1600" dirty="0">
                <a:solidFill>
                  <a:schemeClr val="bg1"/>
                </a:solidFill>
                <a:cs typeface="Segoe UI" pitchFamily="34" charset="0"/>
              </a:rPr>
              <a:t>Message visibility timeout and update message to protect against unreliable dequeuers </a:t>
            </a:r>
          </a:p>
        </p:txBody>
      </p:sp>
      <p:sp>
        <p:nvSpPr>
          <p:cNvPr id="43" name="Rectangle 42">
            <a:extLst>
              <a:ext uri="{FF2B5EF4-FFF2-40B4-BE49-F238E27FC236}">
                <a16:creationId xmlns:a16="http://schemas.microsoft.com/office/drawing/2014/main" id="{C6010DDD-4A40-44FE-A902-103BB9136C61}"/>
              </a:ext>
            </a:extLst>
          </p:cNvPr>
          <p:cNvSpPr/>
          <p:nvPr/>
        </p:nvSpPr>
        <p:spPr bwMode="auto">
          <a:xfrm>
            <a:off x="7455769" y="2911328"/>
            <a:ext cx="2194560" cy="3136582"/>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defRPr/>
            </a:pPr>
            <a:r>
              <a:rPr lang="en-US" b="1" dirty="0">
                <a:solidFill>
                  <a:schemeClr val="bg1"/>
                </a:solidFill>
                <a:ea typeface="Segoe UI" pitchFamily="34" charset="0"/>
                <a:cs typeface="Segoe UI" pitchFamily="34" charset="0"/>
              </a:rPr>
              <a:t>TABLES</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Massive auto-scaling NoSQL store</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Dynamic scaling based on load</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Scale to PBs of table data </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Fast key/value lookups</a:t>
            </a:r>
          </a:p>
        </p:txBody>
      </p:sp>
      <p:sp>
        <p:nvSpPr>
          <p:cNvPr id="5" name="Rectangle 4">
            <a:extLst>
              <a:ext uri="{FF2B5EF4-FFF2-40B4-BE49-F238E27FC236}">
                <a16:creationId xmlns:a16="http://schemas.microsoft.com/office/drawing/2014/main" id="{B6519B25-F38B-47A0-9B12-F457B44ACAA8}"/>
              </a:ext>
            </a:extLst>
          </p:cNvPr>
          <p:cNvSpPr/>
          <p:nvPr/>
        </p:nvSpPr>
        <p:spPr>
          <a:xfrm>
            <a:off x="0" y="6174432"/>
            <a:ext cx="12436475" cy="820092"/>
          </a:xfrm>
          <a:prstGeom prst="rect">
            <a:avLst/>
          </a:prstGeom>
          <a:solidFill>
            <a:schemeClr val="bg1">
              <a:lumMod val="85000"/>
            </a:schemeClr>
          </a:solidFill>
        </p:spPr>
        <p:txBody>
          <a:bodyPr wrap="square" lIns="91440" tIns="91440" rIns="91440" bIns="91440" anchor="ctr">
            <a:noAutofit/>
          </a:bodyPr>
          <a:lstStyle/>
          <a:p>
            <a:pPr algn="ctr" defTabSz="856695" fontAlgn="base">
              <a:spcBef>
                <a:spcPct val="0"/>
              </a:spcBef>
              <a:spcAft>
                <a:spcPct val="0"/>
              </a:spcAft>
              <a:defRPr/>
            </a:pPr>
            <a:r>
              <a:rPr lang="en-US" b="1" dirty="0">
                <a:solidFill>
                  <a:schemeClr val="tx2"/>
                </a:solidFill>
                <a:ea typeface="Segoe UI" pitchFamily="34" charset="0"/>
                <a:cs typeface="Segoe UI" pitchFamily="34" charset="0"/>
              </a:rPr>
              <a:t>Built on a unified Distributed Storage System</a:t>
            </a:r>
          </a:p>
          <a:p>
            <a:pPr algn="ctr" defTabSz="856695" fontAlgn="base">
              <a:spcBef>
                <a:spcPct val="0"/>
              </a:spcBef>
              <a:spcAft>
                <a:spcPct val="0"/>
              </a:spcAft>
              <a:defRPr/>
            </a:pPr>
            <a:r>
              <a:rPr lang="en-US" dirty="0">
                <a:solidFill>
                  <a:schemeClr val="tx2"/>
                </a:solidFill>
                <a:ea typeface="Segoe UI" pitchFamily="34" charset="0"/>
                <a:cs typeface="Segoe UI" pitchFamily="34" charset="0"/>
              </a:rPr>
              <a:t>Durability, Encryption at Rest, Strongly Consistent Replication, Fault Tolerance, Auto Load-Balancing</a:t>
            </a:r>
          </a:p>
        </p:txBody>
      </p:sp>
      <p:sp>
        <p:nvSpPr>
          <p:cNvPr id="52" name="Rectangle 51">
            <a:extLst>
              <a:ext uri="{FF2B5EF4-FFF2-40B4-BE49-F238E27FC236}">
                <a16:creationId xmlns:a16="http://schemas.microsoft.com/office/drawing/2014/main" id="{BD1FC656-9B5C-4544-BEA3-2EC0BBBF23FF}"/>
              </a:ext>
            </a:extLst>
          </p:cNvPr>
          <p:cNvSpPr/>
          <p:nvPr/>
        </p:nvSpPr>
        <p:spPr bwMode="auto">
          <a:xfrm>
            <a:off x="475551" y="1234440"/>
            <a:ext cx="4521299" cy="1550366"/>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18">
              <a:lnSpc>
                <a:spcPct val="90000"/>
              </a:lnSpc>
              <a:defRPr/>
            </a:pPr>
            <a:r>
              <a:rPr lang="en-US" sz="2400" b="1" kern="0" spc="-30">
                <a:ln w="3175">
                  <a:noFill/>
                </a:ln>
                <a:solidFill>
                  <a:schemeClr val="tx2"/>
                </a:solidFill>
                <a:latin typeface="Segoe UI" panose="020B0502040204020203" pitchFamily="34" charset="0"/>
                <a:cs typeface="Segoe UI" panose="020B0502040204020203" pitchFamily="34" charset="0"/>
              </a:rPr>
              <a:t>IaaS</a:t>
            </a:r>
            <a:endParaRPr lang="en-US" sz="2400" b="1" kern="0" spc="-30" dirty="0">
              <a:ln w="3175">
                <a:noFill/>
              </a:ln>
              <a:solidFill>
                <a:schemeClr val="tx2"/>
              </a:soli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DFCA0820-D854-451C-8423-878368E555AE}"/>
              </a:ext>
            </a:extLst>
          </p:cNvPr>
          <p:cNvSpPr/>
          <p:nvPr/>
        </p:nvSpPr>
        <p:spPr bwMode="auto">
          <a:xfrm>
            <a:off x="5129030" y="1234440"/>
            <a:ext cx="6848038" cy="1550366"/>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18">
              <a:lnSpc>
                <a:spcPct val="90000"/>
              </a:lnSpc>
              <a:defRPr/>
            </a:pPr>
            <a:r>
              <a:rPr lang="en-US" sz="2400" b="1" kern="0" spc="-30">
                <a:ln w="3175">
                  <a:noFill/>
                </a:ln>
                <a:solidFill>
                  <a:schemeClr val="tx2"/>
                </a:solidFill>
                <a:latin typeface="Segoe UI" panose="020B0502040204020203" pitchFamily="34" charset="0"/>
                <a:cs typeface="Segoe UI" panose="020B0502040204020203" pitchFamily="34" charset="0"/>
              </a:rPr>
              <a:t>PaaS</a:t>
            </a:r>
            <a:endParaRPr lang="en-US" sz="2400" b="1" kern="0" spc="-30" dirty="0">
              <a:ln w="3175">
                <a:noFill/>
              </a:ln>
              <a:solidFill>
                <a:schemeClr val="tx2"/>
              </a:solidFill>
              <a:latin typeface="Segoe UI" panose="020B0502040204020203" pitchFamily="34" charset="0"/>
              <a:cs typeface="Segoe UI" panose="020B0502040204020203" pitchFamily="34" charset="0"/>
            </a:endParaRPr>
          </a:p>
        </p:txBody>
      </p:sp>
      <p:sp>
        <p:nvSpPr>
          <p:cNvPr id="54" name="Freeform 30">
            <a:extLst>
              <a:ext uri="{FF2B5EF4-FFF2-40B4-BE49-F238E27FC236}">
                <a16:creationId xmlns:a16="http://schemas.microsoft.com/office/drawing/2014/main" id="{A3C57AFB-7CBC-4F80-9823-CD324905417D}"/>
              </a:ext>
            </a:extLst>
          </p:cNvPr>
          <p:cNvSpPr>
            <a:spLocks noChangeAspect="1" noEditPoints="1"/>
          </p:cNvSpPr>
          <p:nvPr/>
        </p:nvSpPr>
        <p:spPr bwMode="auto">
          <a:xfrm>
            <a:off x="2243607" y="1819590"/>
            <a:ext cx="487951" cy="274521"/>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bg1">
              <a:lumMod val="50000"/>
            </a:schemeClr>
          </a:solidFill>
          <a:ln>
            <a:noFill/>
          </a:ln>
        </p:spPr>
        <p:txBody>
          <a:bodyPr vert="horz" wrap="square" lIns="91414" tIns="45706" rIns="91414" bIns="45706" numCol="1" anchor="t" anchorCtr="0" compatLnSpc="1">
            <a:prstTxWarp prst="textNoShape">
              <a:avLst/>
            </a:prstTxWarp>
          </a:bodyPr>
          <a:lstStyle/>
          <a:p>
            <a:pPr defTabSz="932418">
              <a:defRPr/>
            </a:pPr>
            <a:endParaRPr lang="en-US" kern="0" dirty="0">
              <a:gradFill>
                <a:gsLst>
                  <a:gs pos="83772">
                    <a:srgbClr val="353535"/>
                  </a:gs>
                  <a:gs pos="42857">
                    <a:srgbClr val="353535"/>
                  </a:gs>
                </a:gsLst>
                <a:lin ang="5400000" scaled="0"/>
              </a:gradFill>
              <a:latin typeface="Segoe UI Semilight"/>
            </a:endParaRPr>
          </a:p>
        </p:txBody>
      </p:sp>
      <p:sp>
        <p:nvSpPr>
          <p:cNvPr id="58" name="Freeform: Shape 57">
            <a:extLst>
              <a:ext uri="{FF2B5EF4-FFF2-40B4-BE49-F238E27FC236}">
                <a16:creationId xmlns:a16="http://schemas.microsoft.com/office/drawing/2014/main" id="{4CED558A-ECBA-4324-8D9F-1D4E42FD12F2}"/>
              </a:ext>
            </a:extLst>
          </p:cNvPr>
          <p:cNvSpPr>
            <a:spLocks/>
          </p:cNvSpPr>
          <p:nvPr/>
        </p:nvSpPr>
        <p:spPr bwMode="auto">
          <a:xfrm>
            <a:off x="11189759" y="1821412"/>
            <a:ext cx="165946" cy="272699"/>
          </a:xfrm>
          <a:custGeom>
            <a:avLst/>
            <a:gdLst>
              <a:gd name="connsiteX0" fmla="*/ 100152 w 218497"/>
              <a:gd name="connsiteY0" fmla="*/ 63 h 444330"/>
              <a:gd name="connsiteX1" fmla="*/ 103916 w 218497"/>
              <a:gd name="connsiteY1" fmla="*/ 271 h 444330"/>
              <a:gd name="connsiteX2" fmla="*/ 215229 w 218497"/>
              <a:gd name="connsiteY2" fmla="*/ 37246 h 444330"/>
              <a:gd name="connsiteX3" fmla="*/ 216661 w 218497"/>
              <a:gd name="connsiteY3" fmla="*/ 45503 h 444330"/>
              <a:gd name="connsiteX4" fmla="*/ 131476 w 218497"/>
              <a:gd name="connsiteY4" fmla="*/ 197710 h 444330"/>
              <a:gd name="connsiteX5" fmla="*/ 101768 w 218497"/>
              <a:gd name="connsiteY5" fmla="*/ 250839 h 444330"/>
              <a:gd name="connsiteX6" fmla="*/ 106421 w 218497"/>
              <a:gd name="connsiteY6" fmla="*/ 259096 h 444330"/>
              <a:gd name="connsiteX7" fmla="*/ 160825 w 218497"/>
              <a:gd name="connsiteY7" fmla="*/ 259096 h 444330"/>
              <a:gd name="connsiteX8" fmla="*/ 167268 w 218497"/>
              <a:gd name="connsiteY8" fmla="*/ 260532 h 444330"/>
              <a:gd name="connsiteX9" fmla="*/ 164404 w 218497"/>
              <a:gd name="connsiteY9" fmla="*/ 266635 h 444330"/>
              <a:gd name="connsiteX10" fmla="*/ 72419 w 218497"/>
              <a:gd name="connsiteY10" fmla="*/ 370739 h 444330"/>
              <a:gd name="connsiteX11" fmla="*/ 12288 w 218497"/>
              <a:gd name="connsiteY11" fmla="*/ 439305 h 444330"/>
              <a:gd name="connsiteX12" fmla="*/ 6203 w 218497"/>
              <a:gd name="connsiteY12" fmla="*/ 444330 h 444330"/>
              <a:gd name="connsiteX13" fmla="*/ 16583 w 218497"/>
              <a:gd name="connsiteY13" fmla="*/ 418484 h 444330"/>
              <a:gd name="connsiteX14" fmla="*/ 55238 w 218497"/>
              <a:gd name="connsiteY14" fmla="*/ 325508 h 444330"/>
              <a:gd name="connsiteX15" fmla="*/ 47722 w 218497"/>
              <a:gd name="connsiteY15" fmla="*/ 315097 h 444330"/>
              <a:gd name="connsiteX16" fmla="*/ 10498 w 218497"/>
              <a:gd name="connsiteY16" fmla="*/ 315097 h 444330"/>
              <a:gd name="connsiteX17" fmla="*/ 1908 w 218497"/>
              <a:gd name="connsiteY17" fmla="*/ 303251 h 444330"/>
              <a:gd name="connsiteX18" fmla="*/ 37342 w 218497"/>
              <a:gd name="connsiteY18" fmla="*/ 190172 h 444330"/>
              <a:gd name="connsiteX19" fmla="*/ 94968 w 218497"/>
              <a:gd name="connsiteY19" fmla="*/ 6374 h 444330"/>
              <a:gd name="connsiteX20" fmla="*/ 100152 w 218497"/>
              <a:gd name="connsiteY20" fmla="*/ 63 h 44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8497" h="444330">
                <a:moveTo>
                  <a:pt x="100152" y="63"/>
                </a:moveTo>
                <a:cubicBezTo>
                  <a:pt x="101164" y="-66"/>
                  <a:pt x="102394" y="2"/>
                  <a:pt x="103916" y="271"/>
                </a:cubicBezTo>
                <a:cubicBezTo>
                  <a:pt x="143645" y="5656"/>
                  <a:pt x="180153" y="18220"/>
                  <a:pt x="215229" y="37246"/>
                </a:cubicBezTo>
                <a:cubicBezTo>
                  <a:pt x="220240" y="39759"/>
                  <a:pt x="218450" y="42272"/>
                  <a:pt x="216661" y="45503"/>
                </a:cubicBezTo>
                <a:cubicBezTo>
                  <a:pt x="188027" y="96119"/>
                  <a:pt x="159751" y="147094"/>
                  <a:pt x="131476" y="197710"/>
                </a:cubicBezTo>
                <a:cubicBezTo>
                  <a:pt x="121454" y="215659"/>
                  <a:pt x="111432" y="233249"/>
                  <a:pt x="101768" y="250839"/>
                </a:cubicBezTo>
                <a:cubicBezTo>
                  <a:pt x="97831" y="258019"/>
                  <a:pt x="98547" y="259096"/>
                  <a:pt x="106421" y="259096"/>
                </a:cubicBezTo>
                <a:cubicBezTo>
                  <a:pt x="124675" y="259096"/>
                  <a:pt x="142929" y="259096"/>
                  <a:pt x="160825" y="259096"/>
                </a:cubicBezTo>
                <a:cubicBezTo>
                  <a:pt x="162973" y="259096"/>
                  <a:pt x="166194" y="257660"/>
                  <a:pt x="167268" y="260532"/>
                </a:cubicBezTo>
                <a:cubicBezTo>
                  <a:pt x="168342" y="263045"/>
                  <a:pt x="165836" y="264840"/>
                  <a:pt x="164404" y="266635"/>
                </a:cubicBezTo>
                <a:cubicBezTo>
                  <a:pt x="133623" y="301456"/>
                  <a:pt x="103200" y="335918"/>
                  <a:pt x="72419" y="370739"/>
                </a:cubicBezTo>
                <a:cubicBezTo>
                  <a:pt x="52375" y="393714"/>
                  <a:pt x="32331" y="416330"/>
                  <a:pt x="12288" y="439305"/>
                </a:cubicBezTo>
                <a:cubicBezTo>
                  <a:pt x="10856" y="440740"/>
                  <a:pt x="9782" y="443253"/>
                  <a:pt x="6203" y="444330"/>
                </a:cubicBezTo>
                <a:cubicBezTo>
                  <a:pt x="9782" y="434997"/>
                  <a:pt x="13004" y="426740"/>
                  <a:pt x="16583" y="418484"/>
                </a:cubicBezTo>
                <a:cubicBezTo>
                  <a:pt x="29468" y="387611"/>
                  <a:pt x="42353" y="356380"/>
                  <a:pt x="55238" y="325508"/>
                </a:cubicBezTo>
                <a:cubicBezTo>
                  <a:pt x="58818" y="316533"/>
                  <a:pt x="57744" y="315097"/>
                  <a:pt x="47722" y="315097"/>
                </a:cubicBezTo>
                <a:cubicBezTo>
                  <a:pt x="35553" y="314738"/>
                  <a:pt x="23025" y="315097"/>
                  <a:pt x="10498" y="315097"/>
                </a:cubicBezTo>
                <a:cubicBezTo>
                  <a:pt x="-955" y="315097"/>
                  <a:pt x="-1671" y="314020"/>
                  <a:pt x="1908" y="303251"/>
                </a:cubicBezTo>
                <a:cubicBezTo>
                  <a:pt x="13719" y="265558"/>
                  <a:pt x="25531" y="227865"/>
                  <a:pt x="37342" y="190172"/>
                </a:cubicBezTo>
                <a:cubicBezTo>
                  <a:pt x="56670" y="128786"/>
                  <a:pt x="75998" y="67759"/>
                  <a:pt x="94968" y="6374"/>
                </a:cubicBezTo>
                <a:cubicBezTo>
                  <a:pt x="96041" y="2604"/>
                  <a:pt x="97115" y="450"/>
                  <a:pt x="100152" y="63"/>
                </a:cubicBezTo>
                <a:close/>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96C8D655-449D-49D6-89A4-C903DB24C10F}"/>
              </a:ext>
            </a:extLst>
          </p:cNvPr>
          <p:cNvSpPr/>
          <p:nvPr/>
        </p:nvSpPr>
        <p:spPr>
          <a:xfrm rot="5400000">
            <a:off x="9380839" y="1773082"/>
            <a:ext cx="279654" cy="362403"/>
          </a:xfrm>
          <a:custGeom>
            <a:avLst/>
            <a:gdLst>
              <a:gd name="connsiteX0" fmla="*/ 515032 w 661548"/>
              <a:gd name="connsiteY0" fmla="*/ 808185 h 857299"/>
              <a:gd name="connsiteX1" fmla="*/ 536464 w 661548"/>
              <a:gd name="connsiteY1" fmla="*/ 829617 h 857299"/>
              <a:gd name="connsiteX2" fmla="*/ 558192 w 661548"/>
              <a:gd name="connsiteY2" fmla="*/ 808185 h 857299"/>
              <a:gd name="connsiteX3" fmla="*/ 536464 w 661548"/>
              <a:gd name="connsiteY3" fmla="*/ 786457 h 857299"/>
              <a:gd name="connsiteX4" fmla="*/ 515032 w 661548"/>
              <a:gd name="connsiteY4" fmla="*/ 808185 h 857299"/>
              <a:gd name="connsiteX5" fmla="*/ 296850 w 661548"/>
              <a:gd name="connsiteY5" fmla="*/ 567382 h 857299"/>
              <a:gd name="connsiteX6" fmla="*/ 299826 w 661548"/>
              <a:gd name="connsiteY6" fmla="*/ 517971 h 857299"/>
              <a:gd name="connsiteX7" fmla="*/ 306161 w 661548"/>
              <a:gd name="connsiteY7" fmla="*/ 492621 h 857299"/>
              <a:gd name="connsiteX8" fmla="*/ 306161 w 661548"/>
              <a:gd name="connsiteY8" fmla="*/ 480368 h 857299"/>
              <a:gd name="connsiteX9" fmla="*/ 309544 w 661548"/>
              <a:gd name="connsiteY9" fmla="*/ 480368 h 857299"/>
              <a:gd name="connsiteX10" fmla="*/ 322898 w 661548"/>
              <a:gd name="connsiteY10" fmla="*/ 448392 h 857299"/>
              <a:gd name="connsiteX11" fmla="*/ 350428 w 661548"/>
              <a:gd name="connsiteY11" fmla="*/ 380454 h 857299"/>
              <a:gd name="connsiteX12" fmla="*/ 383765 w 661548"/>
              <a:gd name="connsiteY12" fmla="*/ 188168 h 857299"/>
              <a:gd name="connsiteX13" fmla="*/ 395036 w 661548"/>
              <a:gd name="connsiteY13" fmla="*/ 174209 h 857299"/>
              <a:gd name="connsiteX14" fmla="*/ 306161 w 661548"/>
              <a:gd name="connsiteY14" fmla="*/ 174208 h 857299"/>
              <a:gd name="connsiteX15" fmla="*/ 306161 w 661548"/>
              <a:gd name="connsiteY15" fmla="*/ 106172 h 857299"/>
              <a:gd name="connsiteX16" fmla="*/ 408215 w 661548"/>
              <a:gd name="connsiteY16" fmla="*/ 106173 h 857299"/>
              <a:gd name="connsiteX17" fmla="*/ 408215 w 661548"/>
              <a:gd name="connsiteY17" fmla="*/ 162878 h 857299"/>
              <a:gd name="connsiteX18" fmla="*/ 432458 w 661548"/>
              <a:gd name="connsiteY18" fmla="*/ 156846 h 857299"/>
              <a:gd name="connsiteX19" fmla="*/ 476634 w 661548"/>
              <a:gd name="connsiteY19" fmla="*/ 189359 h 857299"/>
              <a:gd name="connsiteX20" fmla="*/ 472467 w 661548"/>
              <a:gd name="connsiteY20" fmla="*/ 313481 h 857299"/>
              <a:gd name="connsiteX21" fmla="*/ 475146 w 661548"/>
              <a:gd name="connsiteY21" fmla="*/ 404266 h 857299"/>
              <a:gd name="connsiteX22" fmla="*/ 501637 w 661548"/>
              <a:gd name="connsiteY22" fmla="*/ 211980 h 857299"/>
              <a:gd name="connsiteX23" fmla="*/ 451036 w 661548"/>
              <a:gd name="connsiteY23" fmla="*/ 106312 h 857299"/>
              <a:gd name="connsiteX24" fmla="*/ 440915 w 661548"/>
              <a:gd name="connsiteY24" fmla="*/ 12551 h 857299"/>
              <a:gd name="connsiteX25" fmla="*/ 529617 w 661548"/>
              <a:gd name="connsiteY25" fmla="*/ 27731 h 857299"/>
              <a:gd name="connsiteX26" fmla="*/ 632904 w 661548"/>
              <a:gd name="connsiteY26" fmla="*/ 178345 h 857299"/>
              <a:gd name="connsiteX27" fmla="*/ 661479 w 661548"/>
              <a:gd name="connsiteY27" fmla="*/ 396229 h 857299"/>
              <a:gd name="connsiteX28" fmla="*/ 614151 w 661548"/>
              <a:gd name="connsiteY28" fmla="*/ 530770 h 857299"/>
              <a:gd name="connsiteX29" fmla="*/ 544203 w 661548"/>
              <a:gd name="connsiteY29" fmla="*/ 680491 h 857299"/>
              <a:gd name="connsiteX30" fmla="*/ 532594 w 661548"/>
              <a:gd name="connsiteY30" fmla="*/ 731688 h 857299"/>
              <a:gd name="connsiteX31" fmla="*/ 322746 w 661548"/>
              <a:gd name="connsiteY31" fmla="*/ 731688 h 857299"/>
              <a:gd name="connsiteX32" fmla="*/ 296850 w 661548"/>
              <a:gd name="connsiteY32" fmla="*/ 567382 h 857299"/>
              <a:gd name="connsiteX33" fmla="*/ 283456 w 661548"/>
              <a:gd name="connsiteY33" fmla="*/ 857299 h 857299"/>
              <a:gd name="connsiteX34" fmla="*/ 283456 w 661548"/>
              <a:gd name="connsiteY34" fmla="*/ 759073 h 857299"/>
              <a:gd name="connsiteX35" fmla="*/ 578433 w 661548"/>
              <a:gd name="connsiteY35" fmla="*/ 759073 h 857299"/>
              <a:gd name="connsiteX36" fmla="*/ 578433 w 661548"/>
              <a:gd name="connsiteY36" fmla="*/ 857299 h 857299"/>
              <a:gd name="connsiteX37" fmla="*/ 136072 w 661548"/>
              <a:gd name="connsiteY37" fmla="*/ 174208 h 857299"/>
              <a:gd name="connsiteX38" fmla="*/ 136072 w 661548"/>
              <a:gd name="connsiteY38" fmla="*/ 106172 h 857299"/>
              <a:gd name="connsiteX39" fmla="*/ 238125 w 661548"/>
              <a:gd name="connsiteY39" fmla="*/ 106172 h 857299"/>
              <a:gd name="connsiteX40" fmla="*/ 238125 w 661548"/>
              <a:gd name="connsiteY40" fmla="*/ 174208 h 857299"/>
              <a:gd name="connsiteX41" fmla="*/ 136071 w 661548"/>
              <a:gd name="connsiteY41" fmla="*/ 548403 h 857299"/>
              <a:gd name="connsiteX42" fmla="*/ 136071 w 661548"/>
              <a:gd name="connsiteY42" fmla="*/ 480368 h 857299"/>
              <a:gd name="connsiteX43" fmla="*/ 238124 w 661548"/>
              <a:gd name="connsiteY43" fmla="*/ 480368 h 857299"/>
              <a:gd name="connsiteX44" fmla="*/ 238124 w 661548"/>
              <a:gd name="connsiteY44" fmla="*/ 548403 h 857299"/>
              <a:gd name="connsiteX45" fmla="*/ 0 w 661548"/>
              <a:gd name="connsiteY45" fmla="*/ 208225 h 857299"/>
              <a:gd name="connsiteX46" fmla="*/ 0 w 661548"/>
              <a:gd name="connsiteY46" fmla="*/ 106172 h 857299"/>
              <a:gd name="connsiteX47" fmla="*/ 68035 w 661548"/>
              <a:gd name="connsiteY47" fmla="*/ 106172 h 857299"/>
              <a:gd name="connsiteX48" fmla="*/ 68035 w 661548"/>
              <a:gd name="connsiteY48" fmla="*/ 208225 h 857299"/>
              <a:gd name="connsiteX49" fmla="*/ 0 w 661548"/>
              <a:gd name="connsiteY49" fmla="*/ 378314 h 857299"/>
              <a:gd name="connsiteX50" fmla="*/ 0 w 661548"/>
              <a:gd name="connsiteY50" fmla="*/ 276261 h 857299"/>
              <a:gd name="connsiteX51" fmla="*/ 68035 w 661548"/>
              <a:gd name="connsiteY51" fmla="*/ 276261 h 857299"/>
              <a:gd name="connsiteX52" fmla="*/ 68035 w 661548"/>
              <a:gd name="connsiteY52" fmla="*/ 378314 h 857299"/>
              <a:gd name="connsiteX53" fmla="*/ 0 w 661548"/>
              <a:gd name="connsiteY53" fmla="*/ 548402 h 857299"/>
              <a:gd name="connsiteX54" fmla="*/ 0 w 661548"/>
              <a:gd name="connsiteY54" fmla="*/ 446349 h 857299"/>
              <a:gd name="connsiteX55" fmla="*/ 68035 w 661548"/>
              <a:gd name="connsiteY55" fmla="*/ 446349 h 857299"/>
              <a:gd name="connsiteX56" fmla="*/ 68035 w 661548"/>
              <a:gd name="connsiteY56" fmla="*/ 548402 h 85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1548" h="857299">
                <a:moveTo>
                  <a:pt x="515032" y="808185"/>
                </a:moveTo>
                <a:cubicBezTo>
                  <a:pt x="515032" y="820092"/>
                  <a:pt x="524557" y="829617"/>
                  <a:pt x="536464" y="829617"/>
                </a:cubicBezTo>
                <a:cubicBezTo>
                  <a:pt x="548369" y="829617"/>
                  <a:pt x="558192" y="820092"/>
                  <a:pt x="558192" y="808185"/>
                </a:cubicBezTo>
                <a:cubicBezTo>
                  <a:pt x="558192" y="796280"/>
                  <a:pt x="548369" y="786457"/>
                  <a:pt x="536464" y="786457"/>
                </a:cubicBezTo>
                <a:cubicBezTo>
                  <a:pt x="524557" y="786457"/>
                  <a:pt x="515032" y="796280"/>
                  <a:pt x="515032" y="808185"/>
                </a:cubicBezTo>
                <a:close/>
                <a:moveTo>
                  <a:pt x="296850" y="567382"/>
                </a:moveTo>
                <a:cubicBezTo>
                  <a:pt x="296865" y="550453"/>
                  <a:pt x="297716" y="533841"/>
                  <a:pt x="299826" y="517971"/>
                </a:cubicBezTo>
                <a:lnTo>
                  <a:pt x="306161" y="492621"/>
                </a:lnTo>
                <a:lnTo>
                  <a:pt x="306161" y="480368"/>
                </a:lnTo>
                <a:lnTo>
                  <a:pt x="309544" y="480368"/>
                </a:lnTo>
                <a:lnTo>
                  <a:pt x="322898" y="448392"/>
                </a:lnTo>
                <a:cubicBezTo>
                  <a:pt x="333163" y="426088"/>
                  <a:pt x="344171" y="404058"/>
                  <a:pt x="350428" y="380454"/>
                </a:cubicBezTo>
                <a:cubicBezTo>
                  <a:pt x="367073" y="317664"/>
                  <a:pt x="363046" y="250874"/>
                  <a:pt x="383765" y="188168"/>
                </a:cubicBezTo>
                <a:lnTo>
                  <a:pt x="395036" y="174209"/>
                </a:lnTo>
                <a:lnTo>
                  <a:pt x="306161" y="174208"/>
                </a:lnTo>
                <a:lnTo>
                  <a:pt x="306161" y="106172"/>
                </a:lnTo>
                <a:lnTo>
                  <a:pt x="408215" y="106173"/>
                </a:lnTo>
                <a:lnTo>
                  <a:pt x="408215" y="162878"/>
                </a:lnTo>
                <a:lnTo>
                  <a:pt x="432458" y="156846"/>
                </a:lnTo>
                <a:cubicBezTo>
                  <a:pt x="452829" y="157396"/>
                  <a:pt x="472448" y="168585"/>
                  <a:pt x="476634" y="189359"/>
                </a:cubicBezTo>
                <a:cubicBezTo>
                  <a:pt x="484804" y="229897"/>
                  <a:pt x="472711" y="272171"/>
                  <a:pt x="472467" y="313481"/>
                </a:cubicBezTo>
                <a:cubicBezTo>
                  <a:pt x="472293" y="342972"/>
                  <a:pt x="462535" y="378718"/>
                  <a:pt x="475146" y="404266"/>
                </a:cubicBezTo>
                <a:cubicBezTo>
                  <a:pt x="511690" y="348117"/>
                  <a:pt x="508498" y="276676"/>
                  <a:pt x="501637" y="211980"/>
                </a:cubicBezTo>
                <a:cubicBezTo>
                  <a:pt x="497321" y="171269"/>
                  <a:pt x="476578" y="135997"/>
                  <a:pt x="451036" y="106312"/>
                </a:cubicBezTo>
                <a:cubicBezTo>
                  <a:pt x="428903" y="80592"/>
                  <a:pt x="411012" y="32152"/>
                  <a:pt x="440915" y="12551"/>
                </a:cubicBezTo>
                <a:cubicBezTo>
                  <a:pt x="467577" y="-4926"/>
                  <a:pt x="491224" y="-7772"/>
                  <a:pt x="529617" y="27731"/>
                </a:cubicBezTo>
                <a:cubicBezTo>
                  <a:pt x="572004" y="66928"/>
                  <a:pt x="623572" y="119874"/>
                  <a:pt x="632904" y="178345"/>
                </a:cubicBezTo>
                <a:cubicBezTo>
                  <a:pt x="644452" y="250705"/>
                  <a:pt x="662819" y="322632"/>
                  <a:pt x="661479" y="396229"/>
                </a:cubicBezTo>
                <a:cubicBezTo>
                  <a:pt x="660601" y="444446"/>
                  <a:pt x="633238" y="487397"/>
                  <a:pt x="614151" y="530770"/>
                </a:cubicBezTo>
                <a:cubicBezTo>
                  <a:pt x="591980" y="581155"/>
                  <a:pt x="555134" y="626424"/>
                  <a:pt x="544203" y="680491"/>
                </a:cubicBezTo>
                <a:cubicBezTo>
                  <a:pt x="540438" y="699107"/>
                  <a:pt x="537841" y="713470"/>
                  <a:pt x="532594" y="731688"/>
                </a:cubicBezTo>
                <a:lnTo>
                  <a:pt x="322746" y="731688"/>
                </a:lnTo>
                <a:cubicBezTo>
                  <a:pt x="307580" y="684873"/>
                  <a:pt x="296798" y="624318"/>
                  <a:pt x="296850" y="567382"/>
                </a:cubicBezTo>
                <a:close/>
                <a:moveTo>
                  <a:pt x="283456" y="857299"/>
                </a:moveTo>
                <a:lnTo>
                  <a:pt x="283456" y="759073"/>
                </a:lnTo>
                <a:lnTo>
                  <a:pt x="578433" y="759073"/>
                </a:lnTo>
                <a:lnTo>
                  <a:pt x="578433" y="857299"/>
                </a:lnTo>
                <a:close/>
                <a:moveTo>
                  <a:pt x="136072" y="174208"/>
                </a:moveTo>
                <a:lnTo>
                  <a:pt x="136072" y="106172"/>
                </a:lnTo>
                <a:lnTo>
                  <a:pt x="238125" y="106172"/>
                </a:lnTo>
                <a:lnTo>
                  <a:pt x="238125" y="174208"/>
                </a:lnTo>
                <a:close/>
                <a:moveTo>
                  <a:pt x="136071" y="548403"/>
                </a:moveTo>
                <a:lnTo>
                  <a:pt x="136071" y="480368"/>
                </a:lnTo>
                <a:lnTo>
                  <a:pt x="238124" y="480368"/>
                </a:lnTo>
                <a:lnTo>
                  <a:pt x="238124" y="548403"/>
                </a:lnTo>
                <a:close/>
                <a:moveTo>
                  <a:pt x="0" y="208225"/>
                </a:moveTo>
                <a:lnTo>
                  <a:pt x="0" y="106172"/>
                </a:lnTo>
                <a:lnTo>
                  <a:pt x="68035" y="106172"/>
                </a:lnTo>
                <a:lnTo>
                  <a:pt x="68035" y="208225"/>
                </a:lnTo>
                <a:close/>
                <a:moveTo>
                  <a:pt x="0" y="378314"/>
                </a:moveTo>
                <a:lnTo>
                  <a:pt x="0" y="276261"/>
                </a:lnTo>
                <a:lnTo>
                  <a:pt x="68035" y="276261"/>
                </a:lnTo>
                <a:lnTo>
                  <a:pt x="68035" y="378314"/>
                </a:lnTo>
                <a:close/>
                <a:moveTo>
                  <a:pt x="0" y="548402"/>
                </a:moveTo>
                <a:lnTo>
                  <a:pt x="0" y="446349"/>
                </a:lnTo>
                <a:lnTo>
                  <a:pt x="68035" y="446349"/>
                </a:lnTo>
                <a:lnTo>
                  <a:pt x="68035" y="548402"/>
                </a:lnTo>
                <a:close/>
              </a:path>
            </a:pathLst>
          </a:custGeom>
          <a:solidFill>
            <a:schemeClr val="bg1">
              <a:lumMod val="50000"/>
            </a:schemeClr>
          </a:solidFill>
          <a:ln w="1905" cap="flat">
            <a:noFill/>
            <a:prstDash val="solid"/>
            <a:round/>
          </a:ln>
        </p:spPr>
        <p:txBody>
          <a:bodyPr rtlCol="0" anchor="ctr"/>
          <a:lstStyle/>
          <a:p>
            <a:endParaRPr lang="en-IN"/>
          </a:p>
        </p:txBody>
      </p:sp>
      <p:sp>
        <p:nvSpPr>
          <p:cNvPr id="81" name="Freeform 96">
            <a:extLst>
              <a:ext uri="{FF2B5EF4-FFF2-40B4-BE49-F238E27FC236}">
                <a16:creationId xmlns:a16="http://schemas.microsoft.com/office/drawing/2014/main" id="{C6CF39BE-F596-45C8-8FCC-1C147533FC60}"/>
              </a:ext>
            </a:extLst>
          </p:cNvPr>
          <p:cNvSpPr>
            <a:spLocks/>
          </p:cNvSpPr>
          <p:nvPr/>
        </p:nvSpPr>
        <p:spPr bwMode="auto">
          <a:xfrm>
            <a:off x="7574155" y="1821412"/>
            <a:ext cx="272484" cy="272699"/>
          </a:xfrm>
          <a:custGeom>
            <a:avLst/>
            <a:gdLst>
              <a:gd name="connsiteX0" fmla="*/ 57509 w 6174255"/>
              <a:gd name="connsiteY0" fmla="*/ 3267663 h 6179138"/>
              <a:gd name="connsiteX1" fmla="*/ 711296 w 6174255"/>
              <a:gd name="connsiteY1" fmla="*/ 3267663 h 6179138"/>
              <a:gd name="connsiteX2" fmla="*/ 768805 w 6174255"/>
              <a:gd name="connsiteY2" fmla="*/ 3322313 h 6179138"/>
              <a:gd name="connsiteX3" fmla="*/ 829341 w 6174255"/>
              <a:gd name="connsiteY3" fmla="*/ 3665392 h 6179138"/>
              <a:gd name="connsiteX4" fmla="*/ 799073 w 6174255"/>
              <a:gd name="connsiteY4" fmla="*/ 3707897 h 6179138"/>
              <a:gd name="connsiteX5" fmla="*/ 490340 w 6174255"/>
              <a:gd name="connsiteY5" fmla="*/ 3704861 h 6179138"/>
              <a:gd name="connsiteX6" fmla="*/ 435858 w 6174255"/>
              <a:gd name="connsiteY6" fmla="*/ 3756474 h 6179138"/>
              <a:gd name="connsiteX7" fmla="*/ 435858 w 6174255"/>
              <a:gd name="connsiteY7" fmla="*/ 5705646 h 6179138"/>
              <a:gd name="connsiteX8" fmla="*/ 484286 w 6174255"/>
              <a:gd name="connsiteY8" fmla="*/ 5757260 h 6179138"/>
              <a:gd name="connsiteX9" fmla="*/ 2445646 w 6174255"/>
              <a:gd name="connsiteY9" fmla="*/ 5757260 h 6179138"/>
              <a:gd name="connsiteX10" fmla="*/ 2494075 w 6174255"/>
              <a:gd name="connsiteY10" fmla="*/ 5699574 h 6179138"/>
              <a:gd name="connsiteX11" fmla="*/ 2494075 w 6174255"/>
              <a:gd name="connsiteY11" fmla="*/ 4521570 h 6179138"/>
              <a:gd name="connsiteX12" fmla="*/ 2554610 w 6174255"/>
              <a:gd name="connsiteY12" fmla="*/ 4457812 h 6179138"/>
              <a:gd name="connsiteX13" fmla="*/ 2869396 w 6174255"/>
              <a:gd name="connsiteY13" fmla="*/ 4457812 h 6179138"/>
              <a:gd name="connsiteX14" fmla="*/ 2917825 w 6174255"/>
              <a:gd name="connsiteY14" fmla="*/ 4506389 h 6179138"/>
              <a:gd name="connsiteX15" fmla="*/ 2917825 w 6174255"/>
              <a:gd name="connsiteY15" fmla="*/ 6127663 h 6179138"/>
              <a:gd name="connsiteX16" fmla="*/ 2851236 w 6174255"/>
              <a:gd name="connsiteY16" fmla="*/ 6176241 h 6179138"/>
              <a:gd name="connsiteX17" fmla="*/ 1452859 w 6174255"/>
              <a:gd name="connsiteY17" fmla="*/ 6176241 h 6179138"/>
              <a:gd name="connsiteX18" fmla="*/ 63563 w 6174255"/>
              <a:gd name="connsiteY18" fmla="*/ 6176241 h 6179138"/>
              <a:gd name="connsiteX19" fmla="*/ 0 w 6174255"/>
              <a:gd name="connsiteY19" fmla="*/ 6115519 h 6179138"/>
              <a:gd name="connsiteX20" fmla="*/ 0 w 6174255"/>
              <a:gd name="connsiteY20" fmla="*/ 3328385 h 6179138"/>
              <a:gd name="connsiteX21" fmla="*/ 57509 w 6174255"/>
              <a:gd name="connsiteY21" fmla="*/ 3267663 h 6179138"/>
              <a:gd name="connsiteX22" fmla="*/ 6122334 w 6174255"/>
              <a:gd name="connsiteY22" fmla="*/ 3267524 h 6179138"/>
              <a:gd name="connsiteX23" fmla="*/ 6173787 w 6174255"/>
              <a:gd name="connsiteY23" fmla="*/ 3322174 h 6179138"/>
              <a:gd name="connsiteX24" fmla="*/ 6173787 w 6174255"/>
              <a:gd name="connsiteY24" fmla="*/ 4032620 h 6179138"/>
              <a:gd name="connsiteX25" fmla="*/ 6173787 w 6174255"/>
              <a:gd name="connsiteY25" fmla="*/ 6109308 h 6179138"/>
              <a:gd name="connsiteX26" fmla="*/ 6110228 w 6174255"/>
              <a:gd name="connsiteY26" fmla="*/ 6179138 h 6179138"/>
              <a:gd name="connsiteX27" fmla="*/ 3325723 w 6174255"/>
              <a:gd name="connsiteY27" fmla="*/ 6176102 h 6179138"/>
              <a:gd name="connsiteX28" fmla="*/ 3259137 w 6174255"/>
              <a:gd name="connsiteY28" fmla="*/ 6112344 h 6179138"/>
              <a:gd name="connsiteX29" fmla="*/ 3259137 w 6174255"/>
              <a:gd name="connsiteY29" fmla="*/ 4521431 h 6179138"/>
              <a:gd name="connsiteX30" fmla="*/ 3322697 w 6174255"/>
              <a:gd name="connsiteY30" fmla="*/ 4457673 h 6179138"/>
              <a:gd name="connsiteX31" fmla="*/ 3625360 w 6174255"/>
              <a:gd name="connsiteY31" fmla="*/ 4457673 h 6179138"/>
              <a:gd name="connsiteX32" fmla="*/ 3682866 w 6174255"/>
              <a:gd name="connsiteY32" fmla="*/ 4515359 h 6179138"/>
              <a:gd name="connsiteX33" fmla="*/ 3679840 w 6174255"/>
              <a:gd name="connsiteY33" fmla="*/ 5681219 h 6179138"/>
              <a:gd name="connsiteX34" fmla="*/ 3758532 w 6174255"/>
              <a:gd name="connsiteY34" fmla="*/ 5757121 h 6179138"/>
              <a:gd name="connsiteX35" fmla="*/ 5665312 w 6174255"/>
              <a:gd name="connsiteY35" fmla="*/ 5757121 h 6179138"/>
              <a:gd name="connsiteX36" fmla="*/ 5740978 w 6174255"/>
              <a:gd name="connsiteY36" fmla="*/ 5687291 h 6179138"/>
              <a:gd name="connsiteX37" fmla="*/ 5740978 w 6174255"/>
              <a:gd name="connsiteY37" fmla="*/ 3768480 h 6179138"/>
              <a:gd name="connsiteX38" fmla="*/ 5677419 w 6174255"/>
              <a:gd name="connsiteY38" fmla="*/ 3704722 h 6179138"/>
              <a:gd name="connsiteX39" fmla="*/ 5405022 w 6174255"/>
              <a:gd name="connsiteY39" fmla="*/ 3707758 h 6179138"/>
              <a:gd name="connsiteX40" fmla="*/ 5362649 w 6174255"/>
              <a:gd name="connsiteY40" fmla="*/ 3674361 h 6179138"/>
              <a:gd name="connsiteX41" fmla="*/ 5256717 w 6174255"/>
              <a:gd name="connsiteY41" fmla="*/ 3270560 h 6179138"/>
              <a:gd name="connsiteX42" fmla="*/ 5928630 w 6174255"/>
              <a:gd name="connsiteY42" fmla="*/ 3270560 h 6179138"/>
              <a:gd name="connsiteX43" fmla="*/ 6122334 w 6174255"/>
              <a:gd name="connsiteY43" fmla="*/ 3267524 h 6179138"/>
              <a:gd name="connsiteX44" fmla="*/ 3351706 w 6174255"/>
              <a:gd name="connsiteY44" fmla="*/ 1639223 h 6179138"/>
              <a:gd name="connsiteX45" fmla="*/ 4442939 w 6174255"/>
              <a:gd name="connsiteY45" fmla="*/ 2304956 h 6179138"/>
              <a:gd name="connsiteX46" fmla="*/ 4545849 w 6174255"/>
              <a:gd name="connsiteY46" fmla="*/ 3164183 h 6179138"/>
              <a:gd name="connsiteX47" fmla="*/ 4594277 w 6174255"/>
              <a:gd name="connsiteY47" fmla="*/ 3206689 h 6179138"/>
              <a:gd name="connsiteX48" fmla="*/ 5014998 w 6174255"/>
              <a:gd name="connsiteY48" fmla="*/ 3510303 h 6179138"/>
              <a:gd name="connsiteX49" fmla="*/ 4890901 w 6174255"/>
              <a:gd name="connsiteY49" fmla="*/ 4023411 h 6179138"/>
              <a:gd name="connsiteX50" fmla="*/ 4594277 w 6174255"/>
              <a:gd name="connsiteY50" fmla="*/ 4129676 h 6179138"/>
              <a:gd name="connsiteX51" fmla="*/ 3277632 w 6174255"/>
              <a:gd name="connsiteY51" fmla="*/ 4129676 h 6179138"/>
              <a:gd name="connsiteX52" fmla="*/ 1970068 w 6174255"/>
              <a:gd name="connsiteY52" fmla="*/ 4129676 h 6179138"/>
              <a:gd name="connsiteX53" fmla="*/ 1422223 w 6174255"/>
              <a:gd name="connsiteY53" fmla="*/ 3938399 h 6179138"/>
              <a:gd name="connsiteX54" fmla="*/ 1134680 w 6174255"/>
              <a:gd name="connsiteY54" fmla="*/ 3103461 h 6179138"/>
              <a:gd name="connsiteX55" fmla="*/ 1761221 w 6174255"/>
              <a:gd name="connsiteY55" fmla="*/ 2462835 h 6179138"/>
              <a:gd name="connsiteX56" fmla="*/ 2160755 w 6174255"/>
              <a:gd name="connsiteY56" fmla="*/ 2471943 h 6179138"/>
              <a:gd name="connsiteX57" fmla="*/ 2227343 w 6174255"/>
              <a:gd name="connsiteY57" fmla="*/ 2438546 h 6179138"/>
              <a:gd name="connsiteX58" fmla="*/ 3162615 w 6174255"/>
              <a:gd name="connsiteY58" fmla="*/ 1658258 h 6179138"/>
              <a:gd name="connsiteX59" fmla="*/ 3351706 w 6174255"/>
              <a:gd name="connsiteY59" fmla="*/ 1639223 h 6179138"/>
              <a:gd name="connsiteX60" fmla="*/ 79131 w 6174255"/>
              <a:gd name="connsiteY60" fmla="*/ 13288 h 6179138"/>
              <a:gd name="connsiteX61" fmla="*/ 2645456 w 6174255"/>
              <a:gd name="connsiteY61" fmla="*/ 16324 h 6179138"/>
              <a:gd name="connsiteX62" fmla="*/ 2875457 w 6174255"/>
              <a:gd name="connsiteY62" fmla="*/ 13288 h 6179138"/>
              <a:gd name="connsiteX63" fmla="*/ 2917825 w 6174255"/>
              <a:gd name="connsiteY63" fmla="*/ 55792 h 6179138"/>
              <a:gd name="connsiteX64" fmla="*/ 2914799 w 6174255"/>
              <a:gd name="connsiteY64" fmla="*/ 1379465 h 6179138"/>
              <a:gd name="connsiteX65" fmla="*/ 2890588 w 6174255"/>
              <a:gd name="connsiteY65" fmla="*/ 1425004 h 6179138"/>
              <a:gd name="connsiteX66" fmla="*/ 2494139 w 6174255"/>
              <a:gd name="connsiteY66" fmla="*/ 1628413 h 6179138"/>
              <a:gd name="connsiteX67" fmla="*/ 2494139 w 6174255"/>
              <a:gd name="connsiteY67" fmla="*/ 511184 h 6179138"/>
              <a:gd name="connsiteX68" fmla="*/ 2424534 w 6174255"/>
              <a:gd name="connsiteY68" fmla="*/ 435285 h 6179138"/>
              <a:gd name="connsiteX69" fmla="*/ 499790 w 6174255"/>
              <a:gd name="connsiteY69" fmla="*/ 438321 h 6179138"/>
              <a:gd name="connsiteX70" fmla="*/ 436237 w 6174255"/>
              <a:gd name="connsiteY70" fmla="*/ 505112 h 6179138"/>
              <a:gd name="connsiteX71" fmla="*/ 436237 w 6174255"/>
              <a:gd name="connsiteY71" fmla="*/ 2423832 h 6179138"/>
              <a:gd name="connsiteX72" fmla="*/ 496764 w 6174255"/>
              <a:gd name="connsiteY72" fmla="*/ 2490622 h 6179138"/>
              <a:gd name="connsiteX73" fmla="*/ 1080845 w 6174255"/>
              <a:gd name="connsiteY73" fmla="*/ 2502766 h 6179138"/>
              <a:gd name="connsiteX74" fmla="*/ 1120187 w 6174255"/>
              <a:gd name="connsiteY74" fmla="*/ 2505802 h 6179138"/>
              <a:gd name="connsiteX75" fmla="*/ 1020318 w 6174255"/>
              <a:gd name="connsiteY75" fmla="*/ 2627240 h 6179138"/>
              <a:gd name="connsiteX76" fmla="*/ 878081 w 6174255"/>
              <a:gd name="connsiteY76" fmla="*/ 2879224 h 6179138"/>
              <a:gd name="connsiteX77" fmla="*/ 811502 w 6174255"/>
              <a:gd name="connsiteY77" fmla="*/ 2921727 h 6179138"/>
              <a:gd name="connsiteX78" fmla="*/ 73078 w 6174255"/>
              <a:gd name="connsiteY78" fmla="*/ 2924763 h 6179138"/>
              <a:gd name="connsiteX79" fmla="*/ 12551 w 6174255"/>
              <a:gd name="connsiteY79" fmla="*/ 2854936 h 6179138"/>
              <a:gd name="connsiteX80" fmla="*/ 15578 w 6174255"/>
              <a:gd name="connsiteY80" fmla="*/ 383674 h 6179138"/>
              <a:gd name="connsiteX81" fmla="*/ 12551 w 6174255"/>
              <a:gd name="connsiteY81" fmla="*/ 74007 h 6179138"/>
              <a:gd name="connsiteX82" fmla="*/ 79131 w 6174255"/>
              <a:gd name="connsiteY82" fmla="*/ 13288 h 6179138"/>
              <a:gd name="connsiteX83" fmla="*/ 3301512 w 6174255"/>
              <a:gd name="connsiteY83" fmla="*/ 449 h 6179138"/>
              <a:gd name="connsiteX84" fmla="*/ 3325727 w 6174255"/>
              <a:gd name="connsiteY84" fmla="*/ 449 h 6179138"/>
              <a:gd name="connsiteX85" fmla="*/ 6107346 w 6174255"/>
              <a:gd name="connsiteY85" fmla="*/ 449 h 6179138"/>
              <a:gd name="connsiteX86" fmla="*/ 6173935 w 6174255"/>
              <a:gd name="connsiteY86" fmla="*/ 64204 h 6179138"/>
              <a:gd name="connsiteX87" fmla="*/ 6173935 w 6174255"/>
              <a:gd name="connsiteY87" fmla="*/ 2845133 h 6179138"/>
              <a:gd name="connsiteX88" fmla="*/ 6110373 w 6174255"/>
              <a:gd name="connsiteY88" fmla="*/ 2905852 h 6179138"/>
              <a:gd name="connsiteX89" fmla="*/ 4972300 w 6174255"/>
              <a:gd name="connsiteY89" fmla="*/ 2905852 h 6179138"/>
              <a:gd name="connsiteX90" fmla="*/ 4911764 w 6174255"/>
              <a:gd name="connsiteY90" fmla="*/ 2848169 h 6179138"/>
              <a:gd name="connsiteX91" fmla="*/ 4863336 w 6174255"/>
              <a:gd name="connsiteY91" fmla="*/ 2544574 h 6179138"/>
              <a:gd name="connsiteX92" fmla="*/ 4911764 w 6174255"/>
              <a:gd name="connsiteY92" fmla="*/ 2486891 h 6179138"/>
              <a:gd name="connsiteX93" fmla="*/ 5671488 w 6174255"/>
              <a:gd name="connsiteY93" fmla="*/ 2486891 h 6179138"/>
              <a:gd name="connsiteX94" fmla="*/ 5741104 w 6174255"/>
              <a:gd name="connsiteY94" fmla="*/ 2423136 h 6179138"/>
              <a:gd name="connsiteX95" fmla="*/ 5741104 w 6174255"/>
              <a:gd name="connsiteY95" fmla="*/ 504417 h 6179138"/>
              <a:gd name="connsiteX96" fmla="*/ 5674515 w 6174255"/>
              <a:gd name="connsiteY96" fmla="*/ 437626 h 6179138"/>
              <a:gd name="connsiteX97" fmla="*/ 3743424 w 6174255"/>
              <a:gd name="connsiteY97" fmla="*/ 437626 h 6179138"/>
              <a:gd name="connsiteX98" fmla="*/ 3679861 w 6174255"/>
              <a:gd name="connsiteY98" fmla="*/ 504417 h 6179138"/>
              <a:gd name="connsiteX99" fmla="*/ 3679861 w 6174255"/>
              <a:gd name="connsiteY99" fmla="*/ 1311979 h 6179138"/>
              <a:gd name="connsiteX100" fmla="*/ 3679861 w 6174255"/>
              <a:gd name="connsiteY100" fmla="*/ 1384842 h 6179138"/>
              <a:gd name="connsiteX101" fmla="*/ 3301512 w 6174255"/>
              <a:gd name="connsiteY101" fmla="*/ 1339303 h 6179138"/>
              <a:gd name="connsiteX102" fmla="*/ 3259137 w 6174255"/>
              <a:gd name="connsiteY102" fmla="*/ 1299835 h 6179138"/>
              <a:gd name="connsiteX103" fmla="*/ 3259137 w 6174255"/>
              <a:gd name="connsiteY103" fmla="*/ 42952 h 6179138"/>
              <a:gd name="connsiteX104" fmla="*/ 3301512 w 6174255"/>
              <a:gd name="connsiteY104" fmla="*/ 449 h 617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6174255" h="6179138">
                <a:moveTo>
                  <a:pt x="57509" y="3267663"/>
                </a:moveTo>
                <a:cubicBezTo>
                  <a:pt x="275438" y="3270699"/>
                  <a:pt x="493367" y="3270699"/>
                  <a:pt x="711296" y="3267663"/>
                </a:cubicBezTo>
                <a:cubicBezTo>
                  <a:pt x="753671" y="3267663"/>
                  <a:pt x="765778" y="3279808"/>
                  <a:pt x="768805" y="3322313"/>
                </a:cubicBezTo>
                <a:cubicBezTo>
                  <a:pt x="771832" y="3437684"/>
                  <a:pt x="789992" y="3553056"/>
                  <a:pt x="829341" y="3665392"/>
                </a:cubicBezTo>
                <a:cubicBezTo>
                  <a:pt x="841448" y="3698789"/>
                  <a:pt x="832367" y="3707897"/>
                  <a:pt x="799073" y="3707897"/>
                </a:cubicBezTo>
                <a:cubicBezTo>
                  <a:pt x="696162" y="3704861"/>
                  <a:pt x="593251" y="3707897"/>
                  <a:pt x="490340" y="3704861"/>
                </a:cubicBezTo>
                <a:cubicBezTo>
                  <a:pt x="450992" y="3704861"/>
                  <a:pt x="435858" y="3713969"/>
                  <a:pt x="435858" y="3756474"/>
                </a:cubicBezTo>
                <a:cubicBezTo>
                  <a:pt x="435858" y="4406198"/>
                  <a:pt x="435858" y="5055922"/>
                  <a:pt x="435858" y="5705646"/>
                </a:cubicBezTo>
                <a:cubicBezTo>
                  <a:pt x="435858" y="5745116"/>
                  <a:pt x="441911" y="5757260"/>
                  <a:pt x="484286" y="5757260"/>
                </a:cubicBezTo>
                <a:cubicBezTo>
                  <a:pt x="1138073" y="5757260"/>
                  <a:pt x="1791860" y="5757260"/>
                  <a:pt x="2445646" y="5757260"/>
                </a:cubicBezTo>
                <a:cubicBezTo>
                  <a:pt x="2494075" y="5757260"/>
                  <a:pt x="2494075" y="5736007"/>
                  <a:pt x="2494075" y="5699574"/>
                </a:cubicBezTo>
                <a:cubicBezTo>
                  <a:pt x="2494075" y="5307918"/>
                  <a:pt x="2494075" y="4916262"/>
                  <a:pt x="2494075" y="4521570"/>
                </a:cubicBezTo>
                <a:cubicBezTo>
                  <a:pt x="2494075" y="4472992"/>
                  <a:pt x="2503155" y="4454776"/>
                  <a:pt x="2554610" y="4457812"/>
                </a:cubicBezTo>
                <a:cubicBezTo>
                  <a:pt x="2660548" y="4463884"/>
                  <a:pt x="2763459" y="4460848"/>
                  <a:pt x="2869396" y="4457812"/>
                </a:cubicBezTo>
                <a:cubicBezTo>
                  <a:pt x="2905718" y="4457812"/>
                  <a:pt x="2917825" y="4469956"/>
                  <a:pt x="2917825" y="4506389"/>
                </a:cubicBezTo>
                <a:cubicBezTo>
                  <a:pt x="2914798" y="5046814"/>
                  <a:pt x="2914798" y="5587239"/>
                  <a:pt x="2917825" y="6127663"/>
                </a:cubicBezTo>
                <a:cubicBezTo>
                  <a:pt x="2917825" y="6182313"/>
                  <a:pt x="2887557" y="6176241"/>
                  <a:pt x="2851236" y="6176241"/>
                </a:cubicBezTo>
                <a:cubicBezTo>
                  <a:pt x="2385110" y="6176241"/>
                  <a:pt x="1918985" y="6176241"/>
                  <a:pt x="1452859" y="6176241"/>
                </a:cubicBezTo>
                <a:cubicBezTo>
                  <a:pt x="989760" y="6176241"/>
                  <a:pt x="526661" y="6176241"/>
                  <a:pt x="63563" y="6176241"/>
                </a:cubicBezTo>
                <a:cubicBezTo>
                  <a:pt x="12107" y="6179277"/>
                  <a:pt x="0" y="6164097"/>
                  <a:pt x="0" y="6115519"/>
                </a:cubicBezTo>
                <a:cubicBezTo>
                  <a:pt x="0" y="5186474"/>
                  <a:pt x="0" y="4257430"/>
                  <a:pt x="0" y="3328385"/>
                </a:cubicBezTo>
                <a:cubicBezTo>
                  <a:pt x="0" y="3279808"/>
                  <a:pt x="9080" y="3267663"/>
                  <a:pt x="57509" y="3267663"/>
                </a:cubicBezTo>
                <a:close/>
                <a:moveTo>
                  <a:pt x="6122334" y="3267524"/>
                </a:moveTo>
                <a:cubicBezTo>
                  <a:pt x="6167734" y="3264488"/>
                  <a:pt x="6173787" y="3282705"/>
                  <a:pt x="6173787" y="3322174"/>
                </a:cubicBezTo>
                <a:cubicBezTo>
                  <a:pt x="6173787" y="3558989"/>
                  <a:pt x="6173787" y="3795805"/>
                  <a:pt x="6173787" y="4032620"/>
                </a:cubicBezTo>
                <a:cubicBezTo>
                  <a:pt x="6173787" y="4724849"/>
                  <a:pt x="6173787" y="5417079"/>
                  <a:pt x="6173787" y="6109308"/>
                </a:cubicBezTo>
                <a:cubicBezTo>
                  <a:pt x="6173787" y="6160922"/>
                  <a:pt x="6164707" y="6179138"/>
                  <a:pt x="6110228" y="6179138"/>
                </a:cubicBezTo>
                <a:cubicBezTo>
                  <a:pt x="5181051" y="6176102"/>
                  <a:pt x="4254900" y="6176102"/>
                  <a:pt x="3325723" y="6176102"/>
                </a:cubicBezTo>
                <a:cubicBezTo>
                  <a:pt x="3274270" y="6179138"/>
                  <a:pt x="3259137" y="6166994"/>
                  <a:pt x="3259137" y="6112344"/>
                </a:cubicBezTo>
                <a:cubicBezTo>
                  <a:pt x="3259137" y="5581028"/>
                  <a:pt x="3259137" y="5049711"/>
                  <a:pt x="3259137" y="4521431"/>
                </a:cubicBezTo>
                <a:cubicBezTo>
                  <a:pt x="3259137" y="4469817"/>
                  <a:pt x="3274270" y="4457673"/>
                  <a:pt x="3322697" y="4457673"/>
                </a:cubicBezTo>
                <a:cubicBezTo>
                  <a:pt x="3422576" y="4460709"/>
                  <a:pt x="3525481" y="4460709"/>
                  <a:pt x="3625360" y="4457673"/>
                </a:cubicBezTo>
                <a:cubicBezTo>
                  <a:pt x="3670760" y="4457673"/>
                  <a:pt x="3682866" y="4469817"/>
                  <a:pt x="3682866" y="4515359"/>
                </a:cubicBezTo>
                <a:cubicBezTo>
                  <a:pt x="3679840" y="4903979"/>
                  <a:pt x="3679840" y="5292599"/>
                  <a:pt x="3679840" y="5681219"/>
                </a:cubicBezTo>
                <a:cubicBezTo>
                  <a:pt x="3679840" y="5769265"/>
                  <a:pt x="3670760" y="5757121"/>
                  <a:pt x="3758532" y="5757121"/>
                </a:cubicBezTo>
                <a:cubicBezTo>
                  <a:pt x="4394126" y="5757121"/>
                  <a:pt x="5029719" y="5757121"/>
                  <a:pt x="5665312" y="5757121"/>
                </a:cubicBezTo>
                <a:cubicBezTo>
                  <a:pt x="5719792" y="5757121"/>
                  <a:pt x="5740978" y="5748013"/>
                  <a:pt x="5740978" y="5687291"/>
                </a:cubicBezTo>
                <a:cubicBezTo>
                  <a:pt x="5737952" y="5046675"/>
                  <a:pt x="5737952" y="4409096"/>
                  <a:pt x="5740978" y="3768480"/>
                </a:cubicBezTo>
                <a:cubicBezTo>
                  <a:pt x="5740978" y="3719902"/>
                  <a:pt x="5728872" y="3701686"/>
                  <a:pt x="5677419" y="3704722"/>
                </a:cubicBezTo>
                <a:cubicBezTo>
                  <a:pt x="5586620" y="3710794"/>
                  <a:pt x="5495821" y="3707758"/>
                  <a:pt x="5405022" y="3707758"/>
                </a:cubicBezTo>
                <a:cubicBezTo>
                  <a:pt x="5383835" y="3707758"/>
                  <a:pt x="5362649" y="3710794"/>
                  <a:pt x="5362649" y="3674361"/>
                </a:cubicBezTo>
                <a:cubicBezTo>
                  <a:pt x="5365675" y="3534701"/>
                  <a:pt x="5332383" y="3401112"/>
                  <a:pt x="5256717" y="3270560"/>
                </a:cubicBezTo>
                <a:cubicBezTo>
                  <a:pt x="5489767" y="3270560"/>
                  <a:pt x="5710712" y="3270560"/>
                  <a:pt x="5928630" y="3270560"/>
                </a:cubicBezTo>
                <a:cubicBezTo>
                  <a:pt x="5992189" y="3270560"/>
                  <a:pt x="6058775" y="3273596"/>
                  <a:pt x="6122334" y="3267524"/>
                </a:cubicBezTo>
                <a:close/>
                <a:moveTo>
                  <a:pt x="3351706" y="1639223"/>
                </a:moveTo>
                <a:cubicBezTo>
                  <a:pt x="3795399" y="1634490"/>
                  <a:pt x="4244307" y="1901149"/>
                  <a:pt x="4442939" y="2304956"/>
                </a:cubicBezTo>
                <a:cubicBezTo>
                  <a:pt x="4579143" y="2581245"/>
                  <a:pt x="4615465" y="2866642"/>
                  <a:pt x="4545849" y="3164183"/>
                </a:cubicBezTo>
                <a:cubicBezTo>
                  <a:pt x="4533742" y="3224906"/>
                  <a:pt x="4570063" y="3206689"/>
                  <a:pt x="4594277" y="3206689"/>
                </a:cubicBezTo>
                <a:cubicBezTo>
                  <a:pt x="4784964" y="3215798"/>
                  <a:pt x="4954463" y="3337243"/>
                  <a:pt x="5014998" y="3510303"/>
                </a:cubicBezTo>
                <a:cubicBezTo>
                  <a:pt x="5081587" y="3701580"/>
                  <a:pt x="5036186" y="3898929"/>
                  <a:pt x="4890901" y="4023411"/>
                </a:cubicBezTo>
                <a:cubicBezTo>
                  <a:pt x="4806151" y="4099315"/>
                  <a:pt x="4706268" y="4129676"/>
                  <a:pt x="4594277" y="4129676"/>
                </a:cubicBezTo>
                <a:cubicBezTo>
                  <a:pt x="4155396" y="4129676"/>
                  <a:pt x="3716514" y="4129676"/>
                  <a:pt x="3277632" y="4129676"/>
                </a:cubicBezTo>
                <a:cubicBezTo>
                  <a:pt x="2841778" y="4129676"/>
                  <a:pt x="2405923" y="4129676"/>
                  <a:pt x="1970068" y="4129676"/>
                </a:cubicBezTo>
                <a:cubicBezTo>
                  <a:pt x="1767275" y="4129676"/>
                  <a:pt x="1579615" y="4075026"/>
                  <a:pt x="1422223" y="3938399"/>
                </a:cubicBezTo>
                <a:cubicBezTo>
                  <a:pt x="1164947" y="3716761"/>
                  <a:pt x="1062037" y="3434400"/>
                  <a:pt x="1134680" y="3103461"/>
                </a:cubicBezTo>
                <a:cubicBezTo>
                  <a:pt x="1210349" y="2760377"/>
                  <a:pt x="1422223" y="2544811"/>
                  <a:pt x="1761221" y="2462835"/>
                </a:cubicBezTo>
                <a:cubicBezTo>
                  <a:pt x="1894399" y="2429438"/>
                  <a:pt x="2030603" y="2435510"/>
                  <a:pt x="2160755" y="2471943"/>
                </a:cubicBezTo>
                <a:cubicBezTo>
                  <a:pt x="2200103" y="2484088"/>
                  <a:pt x="2215236" y="2474980"/>
                  <a:pt x="2227343" y="2438546"/>
                </a:cubicBezTo>
                <a:cubicBezTo>
                  <a:pt x="2396843" y="2010450"/>
                  <a:pt x="2708600" y="1746306"/>
                  <a:pt x="3162615" y="1658258"/>
                </a:cubicBezTo>
                <a:cubicBezTo>
                  <a:pt x="3225042" y="1646113"/>
                  <a:pt x="3288321" y="1639899"/>
                  <a:pt x="3351706" y="1639223"/>
                </a:cubicBezTo>
                <a:close/>
                <a:moveTo>
                  <a:pt x="79131" y="13288"/>
                </a:moveTo>
                <a:cubicBezTo>
                  <a:pt x="935581" y="16324"/>
                  <a:pt x="1789005" y="16324"/>
                  <a:pt x="2645456" y="16324"/>
                </a:cubicBezTo>
                <a:cubicBezTo>
                  <a:pt x="2721114" y="16324"/>
                  <a:pt x="2799798" y="16324"/>
                  <a:pt x="2875457" y="13288"/>
                </a:cubicBezTo>
                <a:cubicBezTo>
                  <a:pt x="2905720" y="13288"/>
                  <a:pt x="2917825" y="22396"/>
                  <a:pt x="2917825" y="55792"/>
                </a:cubicBezTo>
                <a:cubicBezTo>
                  <a:pt x="2914799" y="496004"/>
                  <a:pt x="2914799" y="939253"/>
                  <a:pt x="2914799" y="1379465"/>
                </a:cubicBezTo>
                <a:cubicBezTo>
                  <a:pt x="2914799" y="1400717"/>
                  <a:pt x="2914799" y="1418933"/>
                  <a:pt x="2890588" y="1425004"/>
                </a:cubicBezTo>
                <a:cubicBezTo>
                  <a:pt x="2751377" y="1470544"/>
                  <a:pt x="2624271" y="1543406"/>
                  <a:pt x="2494139" y="1628413"/>
                </a:cubicBezTo>
                <a:cubicBezTo>
                  <a:pt x="2494139" y="1245884"/>
                  <a:pt x="2494139" y="878534"/>
                  <a:pt x="2494139" y="511184"/>
                </a:cubicBezTo>
                <a:cubicBezTo>
                  <a:pt x="2497166" y="453501"/>
                  <a:pt x="2485060" y="435285"/>
                  <a:pt x="2424534" y="435285"/>
                </a:cubicBezTo>
                <a:cubicBezTo>
                  <a:pt x="1782953" y="438321"/>
                  <a:pt x="1141371" y="438321"/>
                  <a:pt x="499790" y="438321"/>
                </a:cubicBezTo>
                <a:cubicBezTo>
                  <a:pt x="445316" y="435285"/>
                  <a:pt x="436237" y="453501"/>
                  <a:pt x="436237" y="505112"/>
                </a:cubicBezTo>
                <a:cubicBezTo>
                  <a:pt x="436237" y="1142661"/>
                  <a:pt x="436237" y="1783247"/>
                  <a:pt x="436237" y="2423832"/>
                </a:cubicBezTo>
                <a:cubicBezTo>
                  <a:pt x="436237" y="2469371"/>
                  <a:pt x="442290" y="2490622"/>
                  <a:pt x="496764" y="2490622"/>
                </a:cubicBezTo>
                <a:cubicBezTo>
                  <a:pt x="690449" y="2490622"/>
                  <a:pt x="887160" y="2496694"/>
                  <a:pt x="1080845" y="2502766"/>
                </a:cubicBezTo>
                <a:cubicBezTo>
                  <a:pt x="1089924" y="2502766"/>
                  <a:pt x="1102029" y="2505802"/>
                  <a:pt x="1120187" y="2505802"/>
                </a:cubicBezTo>
                <a:cubicBezTo>
                  <a:pt x="1083871" y="2551341"/>
                  <a:pt x="1050582" y="2587773"/>
                  <a:pt x="1020318" y="2627240"/>
                </a:cubicBezTo>
                <a:cubicBezTo>
                  <a:pt x="959792" y="2703139"/>
                  <a:pt x="911371" y="2788145"/>
                  <a:pt x="878081" y="2879224"/>
                </a:cubicBezTo>
                <a:cubicBezTo>
                  <a:pt x="865976" y="2912619"/>
                  <a:pt x="844791" y="2921727"/>
                  <a:pt x="811502" y="2921727"/>
                </a:cubicBezTo>
                <a:cubicBezTo>
                  <a:pt x="563343" y="2921727"/>
                  <a:pt x="318210" y="2918691"/>
                  <a:pt x="73078" y="2924763"/>
                </a:cubicBezTo>
                <a:cubicBezTo>
                  <a:pt x="12551" y="2924763"/>
                  <a:pt x="12551" y="2897440"/>
                  <a:pt x="12551" y="2854936"/>
                </a:cubicBezTo>
                <a:cubicBezTo>
                  <a:pt x="15578" y="2029158"/>
                  <a:pt x="15578" y="1206416"/>
                  <a:pt x="15578" y="383674"/>
                </a:cubicBezTo>
                <a:cubicBezTo>
                  <a:pt x="15578" y="280452"/>
                  <a:pt x="18604" y="177230"/>
                  <a:pt x="12551" y="74007"/>
                </a:cubicBezTo>
                <a:cubicBezTo>
                  <a:pt x="9525" y="16324"/>
                  <a:pt x="33736" y="13288"/>
                  <a:pt x="79131" y="13288"/>
                </a:cubicBezTo>
                <a:close/>
                <a:moveTo>
                  <a:pt x="3301512" y="449"/>
                </a:moveTo>
                <a:cubicBezTo>
                  <a:pt x="3307566" y="449"/>
                  <a:pt x="3316646" y="449"/>
                  <a:pt x="3325727" y="449"/>
                </a:cubicBezTo>
                <a:cubicBezTo>
                  <a:pt x="4251924" y="449"/>
                  <a:pt x="5181148" y="449"/>
                  <a:pt x="6107346" y="449"/>
                </a:cubicBezTo>
                <a:cubicBezTo>
                  <a:pt x="6158801" y="449"/>
                  <a:pt x="6176962" y="9557"/>
                  <a:pt x="6173935" y="64204"/>
                </a:cubicBezTo>
                <a:cubicBezTo>
                  <a:pt x="6173935" y="990168"/>
                  <a:pt x="6173935" y="1919169"/>
                  <a:pt x="6173935" y="2845133"/>
                </a:cubicBezTo>
                <a:cubicBezTo>
                  <a:pt x="6173935" y="2896744"/>
                  <a:pt x="6161828" y="2908888"/>
                  <a:pt x="6110373" y="2905852"/>
                </a:cubicBezTo>
                <a:cubicBezTo>
                  <a:pt x="5732024" y="2905852"/>
                  <a:pt x="5353675" y="2905852"/>
                  <a:pt x="4972300" y="2905852"/>
                </a:cubicBezTo>
                <a:cubicBezTo>
                  <a:pt x="4926898" y="2908888"/>
                  <a:pt x="4911764" y="2896744"/>
                  <a:pt x="4911764" y="2848169"/>
                </a:cubicBezTo>
                <a:cubicBezTo>
                  <a:pt x="4908737" y="2744947"/>
                  <a:pt x="4890577" y="2641725"/>
                  <a:pt x="4863336" y="2544574"/>
                </a:cubicBezTo>
                <a:cubicBezTo>
                  <a:pt x="4854255" y="2495999"/>
                  <a:pt x="4863336" y="2486891"/>
                  <a:pt x="4911764" y="2486891"/>
                </a:cubicBezTo>
                <a:cubicBezTo>
                  <a:pt x="5166015" y="2486891"/>
                  <a:pt x="5420265" y="2486891"/>
                  <a:pt x="5671488" y="2486891"/>
                </a:cubicBezTo>
                <a:cubicBezTo>
                  <a:pt x="5725971" y="2489927"/>
                  <a:pt x="5741104" y="2477784"/>
                  <a:pt x="5741104" y="2423136"/>
                </a:cubicBezTo>
                <a:cubicBezTo>
                  <a:pt x="5738078" y="1782551"/>
                  <a:pt x="5738078" y="1141966"/>
                  <a:pt x="5741104" y="504417"/>
                </a:cubicBezTo>
                <a:cubicBezTo>
                  <a:pt x="5741104" y="452806"/>
                  <a:pt x="5728997" y="434590"/>
                  <a:pt x="5674515" y="437626"/>
                </a:cubicBezTo>
                <a:cubicBezTo>
                  <a:pt x="5029809" y="437626"/>
                  <a:pt x="4388130" y="437626"/>
                  <a:pt x="3743424" y="437626"/>
                </a:cubicBezTo>
                <a:cubicBezTo>
                  <a:pt x="3688941" y="434590"/>
                  <a:pt x="3679861" y="452806"/>
                  <a:pt x="3679861" y="504417"/>
                </a:cubicBezTo>
                <a:cubicBezTo>
                  <a:pt x="3682888" y="774616"/>
                  <a:pt x="3679861" y="1041780"/>
                  <a:pt x="3679861" y="1311979"/>
                </a:cubicBezTo>
                <a:cubicBezTo>
                  <a:pt x="3679861" y="1333231"/>
                  <a:pt x="3679861" y="1354482"/>
                  <a:pt x="3679861" y="1384842"/>
                </a:cubicBezTo>
                <a:cubicBezTo>
                  <a:pt x="3549709" y="1351447"/>
                  <a:pt x="3425611" y="1336267"/>
                  <a:pt x="3301512" y="1339303"/>
                </a:cubicBezTo>
                <a:cubicBezTo>
                  <a:pt x="3271244" y="1342339"/>
                  <a:pt x="3259137" y="1330195"/>
                  <a:pt x="3259137" y="1299835"/>
                </a:cubicBezTo>
                <a:cubicBezTo>
                  <a:pt x="3259137" y="880875"/>
                  <a:pt x="3259137" y="461914"/>
                  <a:pt x="3259137" y="42952"/>
                </a:cubicBezTo>
                <a:cubicBezTo>
                  <a:pt x="3259137" y="9557"/>
                  <a:pt x="3268218" y="-2587"/>
                  <a:pt x="3301512" y="449"/>
                </a:cubicBezTo>
                <a:close/>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noAutofit/>
          </a:bodyPr>
          <a:lstStyle/>
          <a:p>
            <a:endParaRPr lang="en-US"/>
          </a:p>
        </p:txBody>
      </p:sp>
      <p:sp>
        <p:nvSpPr>
          <p:cNvPr id="82" name="Freeform 21">
            <a:extLst>
              <a:ext uri="{FF2B5EF4-FFF2-40B4-BE49-F238E27FC236}">
                <a16:creationId xmlns:a16="http://schemas.microsoft.com/office/drawing/2014/main" id="{ABCD9176-28FB-4C26-A156-BCC339C523B8}"/>
              </a:ext>
            </a:extLst>
          </p:cNvPr>
          <p:cNvSpPr>
            <a:spLocks noChangeAspect="1" noEditPoints="1"/>
          </p:cNvSpPr>
          <p:nvPr/>
        </p:nvSpPr>
        <p:spPr bwMode="auto">
          <a:xfrm>
            <a:off x="3912939" y="1819590"/>
            <a:ext cx="393988" cy="274521"/>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418">
              <a:lnSpc>
                <a:spcPct val="90000"/>
              </a:lnSpc>
              <a:defRPr/>
            </a:pPr>
            <a:endParaRPr lang="en-US" sz="2400" kern="0" dirty="0">
              <a:ln w="3175">
                <a:noFill/>
              </a:ln>
              <a:gradFill>
                <a:gsLst>
                  <a:gs pos="83772">
                    <a:srgbClr val="353535"/>
                  </a:gs>
                  <a:gs pos="42857">
                    <a:srgbClr val="353535"/>
                  </a:gs>
                </a:gsLst>
                <a:lin ang="5400000" scaled="0"/>
              </a:gradFill>
              <a:latin typeface="Segoe UI Semilight"/>
              <a:cs typeface="Segoe UI" pitchFamily="34" charset="0"/>
            </a:endParaRPr>
          </a:p>
        </p:txBody>
      </p:sp>
      <p:sp>
        <p:nvSpPr>
          <p:cNvPr id="83" name="Freeform: Shape 82">
            <a:extLst>
              <a:ext uri="{FF2B5EF4-FFF2-40B4-BE49-F238E27FC236}">
                <a16:creationId xmlns:a16="http://schemas.microsoft.com/office/drawing/2014/main" id="{1E5B710E-B661-4DC6-B6B8-EECAF970DF59}"/>
              </a:ext>
            </a:extLst>
          </p:cNvPr>
          <p:cNvSpPr/>
          <p:nvPr/>
        </p:nvSpPr>
        <p:spPr>
          <a:xfrm>
            <a:off x="979982" y="1814011"/>
            <a:ext cx="234581" cy="280100"/>
          </a:xfrm>
          <a:custGeom>
            <a:avLst/>
            <a:gdLst>
              <a:gd name="connsiteX0" fmla="*/ 0 w 717937"/>
              <a:gd name="connsiteY0" fmla="*/ 621468 h 857250"/>
              <a:gd name="connsiteX1" fmla="*/ 362 w 717937"/>
              <a:gd name="connsiteY1" fmla="*/ 621468 h 857250"/>
              <a:gd name="connsiteX2" fmla="*/ 47 w 717937"/>
              <a:gd name="connsiteY2" fmla="*/ 623268 h 857250"/>
              <a:gd name="connsiteX3" fmla="*/ 359026 w 717937"/>
              <a:gd name="connsiteY3" fmla="*/ 726833 h 857250"/>
              <a:gd name="connsiteX4" fmla="*/ 717928 w 717937"/>
              <a:gd name="connsiteY4" fmla="*/ 623354 h 857250"/>
              <a:gd name="connsiteX5" fmla="*/ 717928 w 717937"/>
              <a:gd name="connsiteY5" fmla="*/ 755427 h 857250"/>
              <a:gd name="connsiteX6" fmla="*/ 717642 w 717937"/>
              <a:gd name="connsiteY6" fmla="*/ 755427 h 857250"/>
              <a:gd name="connsiteX7" fmla="*/ 358968 w 717937"/>
              <a:gd name="connsiteY7" fmla="*/ 857250 h 857250"/>
              <a:gd name="connsiteX8" fmla="*/ 362 w 717937"/>
              <a:gd name="connsiteY8" fmla="*/ 755427 h 857250"/>
              <a:gd name="connsiteX9" fmla="*/ 0 w 717937"/>
              <a:gd name="connsiteY9" fmla="*/ 755427 h 857250"/>
              <a:gd name="connsiteX10" fmla="*/ 0 w 717937"/>
              <a:gd name="connsiteY10" fmla="*/ 460763 h 857250"/>
              <a:gd name="connsiteX11" fmla="*/ 362 w 717937"/>
              <a:gd name="connsiteY11" fmla="*/ 460763 h 857250"/>
              <a:gd name="connsiteX12" fmla="*/ 47 w 717937"/>
              <a:gd name="connsiteY12" fmla="*/ 462563 h 857250"/>
              <a:gd name="connsiteX13" fmla="*/ 359026 w 717937"/>
              <a:gd name="connsiteY13" fmla="*/ 566176 h 857250"/>
              <a:gd name="connsiteX14" fmla="*/ 717928 w 717937"/>
              <a:gd name="connsiteY14" fmla="*/ 462706 h 857250"/>
              <a:gd name="connsiteX15" fmla="*/ 717928 w 717937"/>
              <a:gd name="connsiteY15" fmla="*/ 594722 h 857250"/>
              <a:gd name="connsiteX16" fmla="*/ 717642 w 717937"/>
              <a:gd name="connsiteY16" fmla="*/ 594722 h 857250"/>
              <a:gd name="connsiteX17" fmla="*/ 358968 w 717937"/>
              <a:gd name="connsiteY17" fmla="*/ 696554 h 857250"/>
              <a:gd name="connsiteX18" fmla="*/ 362 w 717937"/>
              <a:gd name="connsiteY18" fmla="*/ 594713 h 857250"/>
              <a:gd name="connsiteX19" fmla="*/ 0 w 717937"/>
              <a:gd name="connsiteY19" fmla="*/ 594713 h 857250"/>
              <a:gd name="connsiteX20" fmla="*/ 0 w 717937"/>
              <a:gd name="connsiteY20" fmla="*/ 300085 h 857250"/>
              <a:gd name="connsiteX21" fmla="*/ 362 w 717937"/>
              <a:gd name="connsiteY21" fmla="*/ 300085 h 857250"/>
              <a:gd name="connsiteX22" fmla="*/ 47 w 717937"/>
              <a:gd name="connsiteY22" fmla="*/ 301752 h 857250"/>
              <a:gd name="connsiteX23" fmla="*/ 359026 w 717937"/>
              <a:gd name="connsiteY23" fmla="*/ 405441 h 857250"/>
              <a:gd name="connsiteX24" fmla="*/ 717928 w 717937"/>
              <a:gd name="connsiteY24" fmla="*/ 301952 h 857250"/>
              <a:gd name="connsiteX25" fmla="*/ 717928 w 717937"/>
              <a:gd name="connsiteY25" fmla="*/ 434025 h 857250"/>
              <a:gd name="connsiteX26" fmla="*/ 717642 w 717937"/>
              <a:gd name="connsiteY26" fmla="*/ 434025 h 857250"/>
              <a:gd name="connsiteX27" fmla="*/ 358968 w 717937"/>
              <a:gd name="connsiteY27" fmla="*/ 535829 h 857250"/>
              <a:gd name="connsiteX28" fmla="*/ 362 w 717937"/>
              <a:gd name="connsiteY28" fmla="*/ 434016 h 857250"/>
              <a:gd name="connsiteX29" fmla="*/ 0 w 717937"/>
              <a:gd name="connsiteY29" fmla="*/ 434016 h 857250"/>
              <a:gd name="connsiteX30" fmla="*/ 0 w 717937"/>
              <a:gd name="connsiteY30" fmla="*/ 135732 h 857250"/>
              <a:gd name="connsiteX31" fmla="*/ 362 w 717937"/>
              <a:gd name="connsiteY31" fmla="*/ 135732 h 857250"/>
              <a:gd name="connsiteX32" fmla="*/ 47 w 717937"/>
              <a:gd name="connsiteY32" fmla="*/ 137503 h 857250"/>
              <a:gd name="connsiteX33" fmla="*/ 359026 w 717937"/>
              <a:gd name="connsiteY33" fmla="*/ 241097 h 857250"/>
              <a:gd name="connsiteX34" fmla="*/ 717928 w 717937"/>
              <a:gd name="connsiteY34" fmla="*/ 137637 h 857250"/>
              <a:gd name="connsiteX35" fmla="*/ 717928 w 717937"/>
              <a:gd name="connsiteY35" fmla="*/ 269663 h 857250"/>
              <a:gd name="connsiteX36" fmla="*/ 717642 w 717937"/>
              <a:gd name="connsiteY36" fmla="*/ 269663 h 857250"/>
              <a:gd name="connsiteX37" fmla="*/ 358968 w 717937"/>
              <a:gd name="connsiteY37" fmla="*/ 371533 h 857250"/>
              <a:gd name="connsiteX38" fmla="*/ 362 w 717937"/>
              <a:gd name="connsiteY38" fmla="*/ 269653 h 857250"/>
              <a:gd name="connsiteX39" fmla="*/ 0 w 717937"/>
              <a:gd name="connsiteY39" fmla="*/ 269653 h 857250"/>
              <a:gd name="connsiteX40" fmla="*/ 358968 w 717937"/>
              <a:gd name="connsiteY40" fmla="*/ 0 h 857250"/>
              <a:gd name="connsiteX41" fmla="*/ 717937 w 717937"/>
              <a:gd name="connsiteY41" fmla="*/ 103651 h 857250"/>
              <a:gd name="connsiteX42" fmla="*/ 358968 w 717937"/>
              <a:gd name="connsiteY42" fmla="*/ 207149 h 857250"/>
              <a:gd name="connsiteX43" fmla="*/ 0 w 717937"/>
              <a:gd name="connsiteY43" fmla="*/ 103651 h 857250"/>
              <a:gd name="connsiteX44" fmla="*/ 358968 w 717937"/>
              <a:gd name="connsiteY44"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17937" h="857250">
                <a:moveTo>
                  <a:pt x="0" y="621468"/>
                </a:moveTo>
                <a:lnTo>
                  <a:pt x="362" y="621468"/>
                </a:lnTo>
                <a:cubicBezTo>
                  <a:pt x="362" y="622144"/>
                  <a:pt x="47" y="622687"/>
                  <a:pt x="47" y="623268"/>
                </a:cubicBezTo>
                <a:cubicBezTo>
                  <a:pt x="47" y="680494"/>
                  <a:pt x="160772" y="726833"/>
                  <a:pt x="359026" y="726833"/>
                </a:cubicBezTo>
                <a:cubicBezTo>
                  <a:pt x="557136" y="726833"/>
                  <a:pt x="717699" y="680485"/>
                  <a:pt x="717928" y="623354"/>
                </a:cubicBezTo>
                <a:lnTo>
                  <a:pt x="717928" y="755427"/>
                </a:lnTo>
                <a:lnTo>
                  <a:pt x="717642" y="755427"/>
                </a:lnTo>
                <a:cubicBezTo>
                  <a:pt x="714270" y="811815"/>
                  <a:pt x="555155" y="857250"/>
                  <a:pt x="358968" y="857250"/>
                </a:cubicBezTo>
                <a:cubicBezTo>
                  <a:pt x="162734" y="857250"/>
                  <a:pt x="3686" y="811815"/>
                  <a:pt x="362" y="755427"/>
                </a:cubicBezTo>
                <a:lnTo>
                  <a:pt x="0" y="755427"/>
                </a:lnTo>
                <a:close/>
                <a:moveTo>
                  <a:pt x="0" y="460763"/>
                </a:moveTo>
                <a:lnTo>
                  <a:pt x="362" y="460763"/>
                </a:lnTo>
                <a:cubicBezTo>
                  <a:pt x="362" y="461353"/>
                  <a:pt x="47" y="461982"/>
                  <a:pt x="47" y="462563"/>
                </a:cubicBezTo>
                <a:cubicBezTo>
                  <a:pt x="47" y="519732"/>
                  <a:pt x="160772" y="566176"/>
                  <a:pt x="359026" y="566176"/>
                </a:cubicBezTo>
                <a:cubicBezTo>
                  <a:pt x="557136" y="566176"/>
                  <a:pt x="717699" y="519789"/>
                  <a:pt x="717928" y="462706"/>
                </a:cubicBezTo>
                <a:lnTo>
                  <a:pt x="717928" y="594722"/>
                </a:lnTo>
                <a:lnTo>
                  <a:pt x="717642" y="594722"/>
                </a:lnTo>
                <a:cubicBezTo>
                  <a:pt x="714270" y="651063"/>
                  <a:pt x="555155" y="696554"/>
                  <a:pt x="358968" y="696554"/>
                </a:cubicBezTo>
                <a:cubicBezTo>
                  <a:pt x="162734" y="696554"/>
                  <a:pt x="3686" y="651063"/>
                  <a:pt x="362" y="594713"/>
                </a:cubicBezTo>
                <a:lnTo>
                  <a:pt x="0" y="594713"/>
                </a:lnTo>
                <a:close/>
                <a:moveTo>
                  <a:pt x="0" y="300085"/>
                </a:moveTo>
                <a:lnTo>
                  <a:pt x="362" y="300085"/>
                </a:lnTo>
                <a:cubicBezTo>
                  <a:pt x="362" y="300618"/>
                  <a:pt x="47" y="301161"/>
                  <a:pt x="47" y="301752"/>
                </a:cubicBezTo>
                <a:cubicBezTo>
                  <a:pt x="47" y="359073"/>
                  <a:pt x="160772" y="405441"/>
                  <a:pt x="359026" y="405441"/>
                </a:cubicBezTo>
                <a:cubicBezTo>
                  <a:pt x="557136" y="405441"/>
                  <a:pt x="717699" y="359102"/>
                  <a:pt x="717928" y="301952"/>
                </a:cubicBezTo>
                <a:lnTo>
                  <a:pt x="717928" y="434025"/>
                </a:lnTo>
                <a:lnTo>
                  <a:pt x="717642" y="434025"/>
                </a:lnTo>
                <a:cubicBezTo>
                  <a:pt x="714270" y="490337"/>
                  <a:pt x="555155" y="535829"/>
                  <a:pt x="358968" y="535829"/>
                </a:cubicBezTo>
                <a:cubicBezTo>
                  <a:pt x="162734" y="535829"/>
                  <a:pt x="3686" y="490337"/>
                  <a:pt x="362" y="434016"/>
                </a:cubicBezTo>
                <a:lnTo>
                  <a:pt x="0" y="434016"/>
                </a:lnTo>
                <a:close/>
                <a:moveTo>
                  <a:pt x="0" y="135732"/>
                </a:moveTo>
                <a:lnTo>
                  <a:pt x="362" y="135732"/>
                </a:lnTo>
                <a:cubicBezTo>
                  <a:pt x="362" y="136275"/>
                  <a:pt x="47" y="136875"/>
                  <a:pt x="47" y="137503"/>
                </a:cubicBezTo>
                <a:cubicBezTo>
                  <a:pt x="47" y="194720"/>
                  <a:pt x="160772" y="241097"/>
                  <a:pt x="359026" y="241097"/>
                </a:cubicBezTo>
                <a:cubicBezTo>
                  <a:pt x="557136" y="241097"/>
                  <a:pt x="717699" y="194768"/>
                  <a:pt x="717928" y="137637"/>
                </a:cubicBezTo>
                <a:lnTo>
                  <a:pt x="717928" y="269663"/>
                </a:lnTo>
                <a:lnTo>
                  <a:pt x="717642" y="269663"/>
                </a:lnTo>
                <a:cubicBezTo>
                  <a:pt x="714270" y="326041"/>
                  <a:pt x="555155" y="371533"/>
                  <a:pt x="358968" y="371533"/>
                </a:cubicBezTo>
                <a:cubicBezTo>
                  <a:pt x="162734" y="371533"/>
                  <a:pt x="3686" y="326032"/>
                  <a:pt x="362" y="269653"/>
                </a:cubicBezTo>
                <a:lnTo>
                  <a:pt x="0" y="269653"/>
                </a:lnTo>
                <a:close/>
                <a:moveTo>
                  <a:pt x="358968" y="0"/>
                </a:moveTo>
                <a:cubicBezTo>
                  <a:pt x="557231" y="0"/>
                  <a:pt x="717937" y="46425"/>
                  <a:pt x="717937" y="103651"/>
                </a:cubicBezTo>
                <a:cubicBezTo>
                  <a:pt x="717937" y="160772"/>
                  <a:pt x="557231" y="207149"/>
                  <a:pt x="358968" y="207149"/>
                </a:cubicBezTo>
                <a:cubicBezTo>
                  <a:pt x="160725" y="207149"/>
                  <a:pt x="0" y="160772"/>
                  <a:pt x="0" y="103651"/>
                </a:cubicBezTo>
                <a:cubicBezTo>
                  <a:pt x="0" y="46425"/>
                  <a:pt x="160725" y="0"/>
                  <a:pt x="358968" y="0"/>
                </a:cubicBezTo>
                <a:close/>
              </a:path>
            </a:pathLst>
          </a:custGeom>
          <a:solidFill>
            <a:schemeClr val="bg1">
              <a:lumMod val="50000"/>
            </a:schemeClr>
          </a:solidFill>
          <a:ln w="9525" cap="flat">
            <a:noFill/>
            <a:prstDash val="solid"/>
            <a:miter/>
          </a:ln>
        </p:spPr>
        <p:txBody>
          <a:bodyPr rtlCol="0" anchor="ctr"/>
          <a:lstStyle/>
          <a:p>
            <a:endParaRPr lang="en-IN"/>
          </a:p>
        </p:txBody>
      </p:sp>
      <p:sp>
        <p:nvSpPr>
          <p:cNvPr id="84" name="Graphic 22">
            <a:extLst>
              <a:ext uri="{FF2B5EF4-FFF2-40B4-BE49-F238E27FC236}">
                <a16:creationId xmlns:a16="http://schemas.microsoft.com/office/drawing/2014/main" id="{26ABB405-7DD9-438E-8BF5-74E11FDD3B50}"/>
              </a:ext>
            </a:extLst>
          </p:cNvPr>
          <p:cNvSpPr/>
          <p:nvPr/>
        </p:nvSpPr>
        <p:spPr>
          <a:xfrm>
            <a:off x="5760078" y="1814011"/>
            <a:ext cx="280100" cy="280100"/>
          </a:xfrm>
          <a:custGeom>
            <a:avLst/>
            <a:gdLst>
              <a:gd name="connsiteX0" fmla="*/ 474779 w 473312"/>
              <a:gd name="connsiteY0" fmla="*/ 111841 h 473312"/>
              <a:gd name="connsiteX1" fmla="*/ 407505 w 473312"/>
              <a:gd name="connsiteY1" fmla="*/ 44567 h 473312"/>
              <a:gd name="connsiteX2" fmla="*/ 374651 w 473312"/>
              <a:gd name="connsiteY2" fmla="*/ 53194 h 473312"/>
              <a:gd name="connsiteX3" fmla="*/ 238088 w 473312"/>
              <a:gd name="connsiteY3" fmla="*/ 1866 h 473312"/>
              <a:gd name="connsiteX4" fmla="*/ 101735 w 473312"/>
              <a:gd name="connsiteY4" fmla="*/ 53033 h 473312"/>
              <a:gd name="connsiteX5" fmla="*/ 69140 w 473312"/>
              <a:gd name="connsiteY5" fmla="*/ 44567 h 473312"/>
              <a:gd name="connsiteX6" fmla="*/ 1866 w 473312"/>
              <a:gd name="connsiteY6" fmla="*/ 111841 h 473312"/>
              <a:gd name="connsiteX7" fmla="*/ 34584 w 473312"/>
              <a:gd name="connsiteY7" fmla="*/ 169453 h 473312"/>
              <a:gd name="connsiteX8" fmla="*/ 30685 w 473312"/>
              <a:gd name="connsiteY8" fmla="*/ 209270 h 473312"/>
              <a:gd name="connsiteX9" fmla="*/ 170868 w 473312"/>
              <a:gd name="connsiteY9" fmla="*/ 405529 h 473312"/>
              <a:gd name="connsiteX10" fmla="*/ 238088 w 473312"/>
              <a:gd name="connsiteY10" fmla="*/ 471749 h 473312"/>
              <a:gd name="connsiteX11" fmla="*/ 305309 w 473312"/>
              <a:gd name="connsiteY11" fmla="*/ 405529 h 473312"/>
              <a:gd name="connsiteX12" fmla="*/ 445492 w 473312"/>
              <a:gd name="connsiteY12" fmla="*/ 209270 h 473312"/>
              <a:gd name="connsiteX13" fmla="*/ 441647 w 473312"/>
              <a:gd name="connsiteY13" fmla="*/ 169707 h 473312"/>
              <a:gd name="connsiteX14" fmla="*/ 474779 w 473312"/>
              <a:gd name="connsiteY14" fmla="*/ 111841 h 473312"/>
              <a:gd name="connsiteX15" fmla="*/ 69140 w 473312"/>
              <a:gd name="connsiteY15" fmla="*/ 68965 h 473312"/>
              <a:gd name="connsiteX16" fmla="*/ 112016 w 473312"/>
              <a:gd name="connsiteY16" fmla="*/ 111841 h 473312"/>
              <a:gd name="connsiteX17" fmla="*/ 69140 w 473312"/>
              <a:gd name="connsiteY17" fmla="*/ 154717 h 473312"/>
              <a:gd name="connsiteX18" fmla="*/ 26264 w 473312"/>
              <a:gd name="connsiteY18" fmla="*/ 111841 h 473312"/>
              <a:gd name="connsiteX19" fmla="*/ 69140 w 473312"/>
              <a:gd name="connsiteY19" fmla="*/ 68965 h 473312"/>
              <a:gd name="connsiteX20" fmla="*/ 238088 w 473312"/>
              <a:gd name="connsiteY20" fmla="*/ 447346 h 473312"/>
              <a:gd name="connsiteX21" fmla="*/ 195212 w 473312"/>
              <a:gd name="connsiteY21" fmla="*/ 404470 h 473312"/>
              <a:gd name="connsiteX22" fmla="*/ 238088 w 473312"/>
              <a:gd name="connsiteY22" fmla="*/ 361594 h 473312"/>
              <a:gd name="connsiteX23" fmla="*/ 280965 w 473312"/>
              <a:gd name="connsiteY23" fmla="*/ 404470 h 473312"/>
              <a:gd name="connsiteX24" fmla="*/ 238088 w 473312"/>
              <a:gd name="connsiteY24" fmla="*/ 447346 h 473312"/>
              <a:gd name="connsiteX25" fmla="*/ 421094 w 473312"/>
              <a:gd name="connsiteY25" fmla="*/ 209265 h 473312"/>
              <a:gd name="connsiteX26" fmla="*/ 301088 w 473312"/>
              <a:gd name="connsiteY26" fmla="*/ 381097 h 473312"/>
              <a:gd name="connsiteX27" fmla="*/ 238088 w 473312"/>
              <a:gd name="connsiteY27" fmla="*/ 337191 h 473312"/>
              <a:gd name="connsiteX28" fmla="*/ 175089 w 473312"/>
              <a:gd name="connsiteY28" fmla="*/ 381092 h 473312"/>
              <a:gd name="connsiteX29" fmla="*/ 55082 w 473312"/>
              <a:gd name="connsiteY29" fmla="*/ 209265 h 473312"/>
              <a:gd name="connsiteX30" fmla="*/ 57751 w 473312"/>
              <a:gd name="connsiteY30" fmla="*/ 178070 h 473312"/>
              <a:gd name="connsiteX31" fmla="*/ 69140 w 473312"/>
              <a:gd name="connsiteY31" fmla="*/ 179110 h 473312"/>
              <a:gd name="connsiteX32" fmla="*/ 136414 w 473312"/>
              <a:gd name="connsiteY32" fmla="*/ 111836 h 473312"/>
              <a:gd name="connsiteX33" fmla="*/ 120804 w 473312"/>
              <a:gd name="connsiteY33" fmla="*/ 68818 h 473312"/>
              <a:gd name="connsiteX34" fmla="*/ 238088 w 473312"/>
              <a:gd name="connsiteY34" fmla="*/ 26259 h 473312"/>
              <a:gd name="connsiteX35" fmla="*/ 355631 w 473312"/>
              <a:gd name="connsiteY35" fmla="*/ 69048 h 473312"/>
              <a:gd name="connsiteX36" fmla="*/ 340231 w 473312"/>
              <a:gd name="connsiteY36" fmla="*/ 111836 h 473312"/>
              <a:gd name="connsiteX37" fmla="*/ 407505 w 473312"/>
              <a:gd name="connsiteY37" fmla="*/ 179110 h 473312"/>
              <a:gd name="connsiteX38" fmla="*/ 418440 w 473312"/>
              <a:gd name="connsiteY38" fmla="*/ 178139 h 473312"/>
              <a:gd name="connsiteX39" fmla="*/ 421094 w 473312"/>
              <a:gd name="connsiteY39" fmla="*/ 209265 h 473312"/>
              <a:gd name="connsiteX40" fmla="*/ 407505 w 473312"/>
              <a:gd name="connsiteY40" fmla="*/ 154717 h 473312"/>
              <a:gd name="connsiteX41" fmla="*/ 364629 w 473312"/>
              <a:gd name="connsiteY41" fmla="*/ 111841 h 473312"/>
              <a:gd name="connsiteX42" fmla="*/ 407505 w 473312"/>
              <a:gd name="connsiteY42" fmla="*/ 68965 h 473312"/>
              <a:gd name="connsiteX43" fmla="*/ 450381 w 473312"/>
              <a:gd name="connsiteY43" fmla="*/ 111841 h 473312"/>
              <a:gd name="connsiteX44" fmla="*/ 407505 w 473312"/>
              <a:gd name="connsiteY44" fmla="*/ 154717 h 473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73312" h="473312">
                <a:moveTo>
                  <a:pt x="474779" y="111841"/>
                </a:moveTo>
                <a:cubicBezTo>
                  <a:pt x="474779" y="74747"/>
                  <a:pt x="444599" y="44567"/>
                  <a:pt x="407505" y="44567"/>
                </a:cubicBezTo>
                <a:cubicBezTo>
                  <a:pt x="395575" y="44567"/>
                  <a:pt x="384376" y="47719"/>
                  <a:pt x="374651" y="53194"/>
                </a:cubicBezTo>
                <a:cubicBezTo>
                  <a:pt x="336816" y="20038"/>
                  <a:pt x="288674" y="1866"/>
                  <a:pt x="238088" y="1866"/>
                </a:cubicBezTo>
                <a:cubicBezTo>
                  <a:pt x="187644" y="1866"/>
                  <a:pt x="139542" y="20004"/>
                  <a:pt x="101735" y="53033"/>
                </a:cubicBezTo>
                <a:cubicBezTo>
                  <a:pt x="92074" y="47656"/>
                  <a:pt x="80963" y="44567"/>
                  <a:pt x="69140" y="44567"/>
                </a:cubicBezTo>
                <a:cubicBezTo>
                  <a:pt x="32041" y="44567"/>
                  <a:pt x="1866" y="74747"/>
                  <a:pt x="1866" y="111841"/>
                </a:cubicBezTo>
                <a:cubicBezTo>
                  <a:pt x="1866" y="136292"/>
                  <a:pt x="15017" y="157674"/>
                  <a:pt x="34584" y="169453"/>
                </a:cubicBezTo>
                <a:cubicBezTo>
                  <a:pt x="32041" y="182521"/>
                  <a:pt x="30685" y="195866"/>
                  <a:pt x="30685" y="209270"/>
                </a:cubicBezTo>
                <a:cubicBezTo>
                  <a:pt x="30685" y="297618"/>
                  <a:pt x="87902" y="377081"/>
                  <a:pt x="170868" y="405529"/>
                </a:cubicBezTo>
                <a:cubicBezTo>
                  <a:pt x="171439" y="442135"/>
                  <a:pt x="201346" y="471749"/>
                  <a:pt x="238088" y="471749"/>
                </a:cubicBezTo>
                <a:cubicBezTo>
                  <a:pt x="274826" y="471749"/>
                  <a:pt x="304738" y="442135"/>
                  <a:pt x="305309" y="405529"/>
                </a:cubicBezTo>
                <a:cubicBezTo>
                  <a:pt x="388250" y="377086"/>
                  <a:pt x="445492" y="297550"/>
                  <a:pt x="445492" y="209270"/>
                </a:cubicBezTo>
                <a:cubicBezTo>
                  <a:pt x="445492" y="195954"/>
                  <a:pt x="444155" y="182691"/>
                  <a:pt x="441647" y="169707"/>
                </a:cubicBezTo>
                <a:cubicBezTo>
                  <a:pt x="461443" y="157981"/>
                  <a:pt x="474779" y="136463"/>
                  <a:pt x="474779" y="111841"/>
                </a:cubicBezTo>
                <a:close/>
                <a:moveTo>
                  <a:pt x="69140" y="68965"/>
                </a:moveTo>
                <a:cubicBezTo>
                  <a:pt x="92786" y="68965"/>
                  <a:pt x="112016" y="88200"/>
                  <a:pt x="112016" y="111841"/>
                </a:cubicBezTo>
                <a:cubicBezTo>
                  <a:pt x="112016" y="135482"/>
                  <a:pt x="92786" y="154717"/>
                  <a:pt x="69140" y="154717"/>
                </a:cubicBezTo>
                <a:cubicBezTo>
                  <a:pt x="45494" y="154717"/>
                  <a:pt x="26264" y="135482"/>
                  <a:pt x="26264" y="111841"/>
                </a:cubicBezTo>
                <a:cubicBezTo>
                  <a:pt x="26264" y="88200"/>
                  <a:pt x="45494" y="68965"/>
                  <a:pt x="69140" y="68965"/>
                </a:cubicBezTo>
                <a:close/>
                <a:moveTo>
                  <a:pt x="238088" y="447346"/>
                </a:moveTo>
                <a:cubicBezTo>
                  <a:pt x="214442" y="447346"/>
                  <a:pt x="195212" y="428111"/>
                  <a:pt x="195212" y="404470"/>
                </a:cubicBezTo>
                <a:cubicBezTo>
                  <a:pt x="195212" y="380829"/>
                  <a:pt x="214442" y="361594"/>
                  <a:pt x="238088" y="361594"/>
                </a:cubicBezTo>
                <a:cubicBezTo>
                  <a:pt x="261734" y="361594"/>
                  <a:pt x="280965" y="380829"/>
                  <a:pt x="280965" y="404470"/>
                </a:cubicBezTo>
                <a:cubicBezTo>
                  <a:pt x="280965" y="428111"/>
                  <a:pt x="261734" y="447346"/>
                  <a:pt x="238088" y="447346"/>
                </a:cubicBezTo>
                <a:close/>
                <a:moveTo>
                  <a:pt x="421094" y="209265"/>
                </a:moveTo>
                <a:cubicBezTo>
                  <a:pt x="421094" y="285844"/>
                  <a:pt x="372265" y="354938"/>
                  <a:pt x="301088" y="381097"/>
                </a:cubicBezTo>
                <a:cubicBezTo>
                  <a:pt x="291563" y="355504"/>
                  <a:pt x="266956" y="337191"/>
                  <a:pt x="238088" y="337191"/>
                </a:cubicBezTo>
                <a:cubicBezTo>
                  <a:pt x="209221" y="337191"/>
                  <a:pt x="184614" y="355504"/>
                  <a:pt x="175089" y="381092"/>
                </a:cubicBezTo>
                <a:cubicBezTo>
                  <a:pt x="103887" y="354938"/>
                  <a:pt x="55082" y="285908"/>
                  <a:pt x="55082" y="209265"/>
                </a:cubicBezTo>
                <a:cubicBezTo>
                  <a:pt x="55082" y="198779"/>
                  <a:pt x="55995" y="188332"/>
                  <a:pt x="57751" y="178070"/>
                </a:cubicBezTo>
                <a:cubicBezTo>
                  <a:pt x="61460" y="178705"/>
                  <a:pt x="65251" y="179110"/>
                  <a:pt x="69140" y="179110"/>
                </a:cubicBezTo>
                <a:cubicBezTo>
                  <a:pt x="106239" y="179110"/>
                  <a:pt x="136414" y="148930"/>
                  <a:pt x="136414" y="111836"/>
                </a:cubicBezTo>
                <a:cubicBezTo>
                  <a:pt x="136414" y="95485"/>
                  <a:pt x="130539" y="80490"/>
                  <a:pt x="120804" y="68818"/>
                </a:cubicBezTo>
                <a:cubicBezTo>
                  <a:pt x="153683" y="41317"/>
                  <a:pt x="194914" y="26259"/>
                  <a:pt x="238088" y="26259"/>
                </a:cubicBezTo>
                <a:cubicBezTo>
                  <a:pt x="281423" y="26259"/>
                  <a:pt x="322714" y="41400"/>
                  <a:pt x="355631" y="69048"/>
                </a:cubicBezTo>
                <a:cubicBezTo>
                  <a:pt x="346013" y="80685"/>
                  <a:pt x="340231" y="95597"/>
                  <a:pt x="340231" y="111836"/>
                </a:cubicBezTo>
                <a:cubicBezTo>
                  <a:pt x="340231" y="148930"/>
                  <a:pt x="370411" y="179110"/>
                  <a:pt x="407505" y="179110"/>
                </a:cubicBezTo>
                <a:cubicBezTo>
                  <a:pt x="411238" y="179110"/>
                  <a:pt x="414873" y="178724"/>
                  <a:pt x="418440" y="178139"/>
                </a:cubicBezTo>
                <a:cubicBezTo>
                  <a:pt x="420192" y="188386"/>
                  <a:pt x="421094" y="198808"/>
                  <a:pt x="421094" y="209265"/>
                </a:cubicBezTo>
                <a:close/>
                <a:moveTo>
                  <a:pt x="407505" y="154717"/>
                </a:moveTo>
                <a:cubicBezTo>
                  <a:pt x="383859" y="154717"/>
                  <a:pt x="364629" y="135482"/>
                  <a:pt x="364629" y="111841"/>
                </a:cubicBezTo>
                <a:cubicBezTo>
                  <a:pt x="364629" y="88200"/>
                  <a:pt x="383859" y="68965"/>
                  <a:pt x="407505" y="68965"/>
                </a:cubicBezTo>
                <a:cubicBezTo>
                  <a:pt x="431151" y="68965"/>
                  <a:pt x="450381" y="88200"/>
                  <a:pt x="450381" y="111841"/>
                </a:cubicBezTo>
                <a:cubicBezTo>
                  <a:pt x="450381" y="135482"/>
                  <a:pt x="431151" y="154717"/>
                  <a:pt x="407505" y="154717"/>
                </a:cubicBezTo>
                <a:close/>
              </a:path>
            </a:pathLst>
          </a:custGeom>
          <a:solidFill>
            <a:schemeClr val="bg1">
              <a:lumMod val="50000"/>
            </a:schemeClr>
          </a:solidFill>
          <a:ln w="4858" cap="flat">
            <a:noFill/>
            <a:prstDash val="solid"/>
            <a:miter/>
          </a:ln>
        </p:spPr>
        <p:txBody>
          <a:bodyPr rtlCol="0" anchor="ctr"/>
          <a:lstStyle/>
          <a:p>
            <a:endParaRPr lang="en-IN"/>
          </a:p>
        </p:txBody>
      </p:sp>
      <p:sp>
        <p:nvSpPr>
          <p:cNvPr id="85" name="TextBox 84">
            <a:extLst>
              <a:ext uri="{FF2B5EF4-FFF2-40B4-BE49-F238E27FC236}">
                <a16:creationId xmlns:a16="http://schemas.microsoft.com/office/drawing/2014/main" id="{F8CC5EFC-F47F-46AD-B560-27133A54DCF0}"/>
              </a:ext>
            </a:extLst>
          </p:cNvPr>
          <p:cNvSpPr txBox="1"/>
          <p:nvPr/>
        </p:nvSpPr>
        <p:spPr>
          <a:xfrm>
            <a:off x="1936990" y="2213183"/>
            <a:ext cx="1101185" cy="448777"/>
          </a:xfrm>
          <a:prstGeom prst="rect">
            <a:avLst/>
          </a:prstGeom>
          <a:noFill/>
        </p:spPr>
        <p:txBody>
          <a:bodyPr wrap="square" lIns="0" tIns="0" rIns="0" bIns="0" rtlCol="0">
            <a:spAutoFit/>
          </a:bodyPr>
          <a:lstStyle/>
          <a:p>
            <a:pPr algn="ctr" defTabSz="932418">
              <a:lnSpc>
                <a:spcPct val="90000"/>
              </a:lnSpc>
              <a:spcBef>
                <a:spcPts val="1800"/>
              </a:spcBef>
              <a:defRPr/>
            </a:pPr>
            <a:r>
              <a:rPr lang="en-US" sz="1598" kern="0" dirty="0">
                <a:solidFill>
                  <a:schemeClr val="tx2"/>
                </a:solidFill>
                <a:latin typeface="Segoe UI" panose="020B0502040204020203" pitchFamily="34" charset="0"/>
                <a:cs typeface="Segoe UI" panose="020B0502040204020203" pitchFamily="34" charset="0"/>
              </a:rPr>
              <a:t>Virtual </a:t>
            </a:r>
            <a:br>
              <a:rPr lang="en-US" sz="1598" kern="0" dirty="0">
                <a:solidFill>
                  <a:schemeClr val="tx2"/>
                </a:solidFill>
                <a:latin typeface="Segoe UI" panose="020B0502040204020203" pitchFamily="34" charset="0"/>
                <a:cs typeface="Segoe UI" panose="020B0502040204020203" pitchFamily="34" charset="0"/>
              </a:rPr>
            </a:br>
            <a:r>
              <a:rPr lang="en-US" sz="1598" kern="0" dirty="0">
                <a:solidFill>
                  <a:schemeClr val="tx2"/>
                </a:solidFill>
                <a:latin typeface="Segoe UI" panose="020B0502040204020203" pitchFamily="34" charset="0"/>
                <a:cs typeface="Segoe UI" panose="020B0502040204020203" pitchFamily="34" charset="0"/>
              </a:rPr>
              <a:t>machines</a:t>
            </a:r>
          </a:p>
        </p:txBody>
      </p:sp>
      <p:sp>
        <p:nvSpPr>
          <p:cNvPr id="86" name="TextBox 85">
            <a:extLst>
              <a:ext uri="{FF2B5EF4-FFF2-40B4-BE49-F238E27FC236}">
                <a16:creationId xmlns:a16="http://schemas.microsoft.com/office/drawing/2014/main" id="{83D83438-821A-4C90-AE13-35A11ED3FBDF}"/>
              </a:ext>
            </a:extLst>
          </p:cNvPr>
          <p:cNvSpPr txBox="1"/>
          <p:nvPr/>
        </p:nvSpPr>
        <p:spPr>
          <a:xfrm>
            <a:off x="699322" y="2213183"/>
            <a:ext cx="795901" cy="227435"/>
          </a:xfrm>
          <a:prstGeom prst="rect">
            <a:avLst/>
          </a:prstGeom>
          <a:noFill/>
        </p:spPr>
        <p:txBody>
          <a:bodyPr wrap="square" lIns="0" tIns="0" rIns="0" bIns="0" rtlCol="0">
            <a:spAutoFit/>
          </a:bodyPr>
          <a:lstStyle/>
          <a:p>
            <a:pPr algn="ctr" defTabSz="932418">
              <a:lnSpc>
                <a:spcPct val="90000"/>
              </a:lnSpc>
              <a:spcBef>
                <a:spcPts val="1800"/>
              </a:spcBef>
              <a:defRPr/>
            </a:pPr>
            <a:r>
              <a:rPr lang="en-US" sz="1598" kern="0" dirty="0">
                <a:solidFill>
                  <a:schemeClr val="tx2"/>
                </a:solidFill>
                <a:latin typeface="Segoe UI" panose="020B0502040204020203" pitchFamily="34" charset="0"/>
                <a:cs typeface="Segoe UI" panose="020B0502040204020203" pitchFamily="34" charset="0"/>
              </a:rPr>
              <a:t>Storage</a:t>
            </a:r>
          </a:p>
        </p:txBody>
      </p:sp>
      <p:sp>
        <p:nvSpPr>
          <p:cNvPr id="87" name="TextBox 86">
            <a:extLst>
              <a:ext uri="{FF2B5EF4-FFF2-40B4-BE49-F238E27FC236}">
                <a16:creationId xmlns:a16="http://schemas.microsoft.com/office/drawing/2014/main" id="{E4650099-CFAD-4C95-B2C2-9EE709C0A3C4}"/>
              </a:ext>
            </a:extLst>
          </p:cNvPr>
          <p:cNvSpPr txBox="1"/>
          <p:nvPr/>
        </p:nvSpPr>
        <p:spPr>
          <a:xfrm>
            <a:off x="3479943" y="2213183"/>
            <a:ext cx="1259980" cy="227435"/>
          </a:xfrm>
          <a:prstGeom prst="rect">
            <a:avLst/>
          </a:prstGeom>
          <a:noFill/>
        </p:spPr>
        <p:txBody>
          <a:bodyPr wrap="square" lIns="0" tIns="0" rIns="0" bIns="0" rtlCol="0">
            <a:spAutoFit/>
          </a:bodyPr>
          <a:lstStyle/>
          <a:p>
            <a:pPr algn="ctr" defTabSz="932418">
              <a:lnSpc>
                <a:spcPct val="90000"/>
              </a:lnSpc>
              <a:spcBef>
                <a:spcPts val="1800"/>
              </a:spcBef>
              <a:defRPr/>
            </a:pPr>
            <a:r>
              <a:rPr lang="en-US" sz="1598" kern="0" dirty="0">
                <a:solidFill>
                  <a:schemeClr val="tx2"/>
                </a:solidFill>
                <a:latin typeface="Segoe UI" panose="020B0502040204020203" pitchFamily="34" charset="0"/>
                <a:cs typeface="Segoe UI" panose="020B0502040204020203" pitchFamily="34" charset="0"/>
              </a:rPr>
              <a:t>Networking</a:t>
            </a:r>
          </a:p>
        </p:txBody>
      </p:sp>
      <p:sp>
        <p:nvSpPr>
          <p:cNvPr id="88" name="TextBox 87">
            <a:extLst>
              <a:ext uri="{FF2B5EF4-FFF2-40B4-BE49-F238E27FC236}">
                <a16:creationId xmlns:a16="http://schemas.microsoft.com/office/drawing/2014/main" id="{CF2E3BE8-AEA8-405A-A6F1-3FF7135F21CF}"/>
              </a:ext>
            </a:extLst>
          </p:cNvPr>
          <p:cNvSpPr txBox="1"/>
          <p:nvPr/>
        </p:nvSpPr>
        <p:spPr>
          <a:xfrm>
            <a:off x="5270138" y="2213183"/>
            <a:ext cx="1259980" cy="448777"/>
          </a:xfrm>
          <a:prstGeom prst="rect">
            <a:avLst/>
          </a:prstGeom>
          <a:noFill/>
        </p:spPr>
        <p:txBody>
          <a:bodyPr wrap="square" lIns="0" tIns="0" rIns="0" bIns="0" rtlCol="0">
            <a:spAutoFit/>
          </a:bodyPr>
          <a:lstStyle/>
          <a:p>
            <a:pPr algn="ctr" defTabSz="932418">
              <a:lnSpc>
                <a:spcPct val="90000"/>
              </a:lnSpc>
              <a:spcBef>
                <a:spcPts val="1800"/>
              </a:spcBef>
              <a:defRPr/>
            </a:pPr>
            <a:r>
              <a:rPr lang="en-US" sz="1598" kern="0" dirty="0">
                <a:solidFill>
                  <a:schemeClr val="tx2"/>
                </a:solidFill>
                <a:latin typeface="Segoe UI" panose="020B0502040204020203" pitchFamily="34" charset="0"/>
                <a:cs typeface="Segoe UI" panose="020B0502040204020203" pitchFamily="34" charset="0"/>
              </a:rPr>
              <a:t>Existing </a:t>
            </a:r>
            <a:br>
              <a:rPr lang="en-US" sz="1598" kern="0" dirty="0">
                <a:solidFill>
                  <a:schemeClr val="tx2"/>
                </a:solidFill>
                <a:latin typeface="Segoe UI" panose="020B0502040204020203" pitchFamily="34" charset="0"/>
                <a:cs typeface="Segoe UI" panose="020B0502040204020203" pitchFamily="34" charset="0"/>
              </a:rPr>
            </a:br>
            <a:r>
              <a:rPr lang="en-US" sz="1598" kern="0" dirty="0">
                <a:solidFill>
                  <a:schemeClr val="tx2"/>
                </a:solidFill>
                <a:latin typeface="Segoe UI" panose="020B0502040204020203" pitchFamily="34" charset="0"/>
                <a:cs typeface="Segoe UI" panose="020B0502040204020203" pitchFamily="34" charset="0"/>
              </a:rPr>
              <a:t>frameworks</a:t>
            </a:r>
          </a:p>
        </p:txBody>
      </p:sp>
      <p:sp>
        <p:nvSpPr>
          <p:cNvPr id="89" name="TextBox 88">
            <a:extLst>
              <a:ext uri="{FF2B5EF4-FFF2-40B4-BE49-F238E27FC236}">
                <a16:creationId xmlns:a16="http://schemas.microsoft.com/office/drawing/2014/main" id="{00FF29BC-A2B3-4CCD-8940-AB30E338785D}"/>
              </a:ext>
            </a:extLst>
          </p:cNvPr>
          <p:cNvSpPr txBox="1"/>
          <p:nvPr/>
        </p:nvSpPr>
        <p:spPr>
          <a:xfrm>
            <a:off x="7080407" y="2213183"/>
            <a:ext cx="1259980" cy="442685"/>
          </a:xfrm>
          <a:prstGeom prst="rect">
            <a:avLst/>
          </a:prstGeom>
          <a:noFill/>
        </p:spPr>
        <p:txBody>
          <a:bodyPr wrap="square" lIns="0" tIns="0" rIns="0" bIns="0" rtlCol="0">
            <a:spAutoFit/>
          </a:bodyPr>
          <a:lstStyle/>
          <a:p>
            <a:pPr algn="ctr" defTabSz="932418">
              <a:lnSpc>
                <a:spcPct val="90000"/>
              </a:lnSpc>
              <a:spcBef>
                <a:spcPts val="1800"/>
              </a:spcBef>
              <a:defRPr/>
            </a:pPr>
            <a:r>
              <a:rPr lang="en-US" sz="1598" kern="0" dirty="0">
                <a:solidFill>
                  <a:schemeClr val="tx2"/>
                </a:solidFill>
                <a:latin typeface="Segoe UI" panose="020B0502040204020203" pitchFamily="34" charset="0"/>
                <a:cs typeface="Segoe UI" panose="020B0502040204020203" pitchFamily="34" charset="0"/>
              </a:rPr>
              <a:t>Web </a:t>
            </a:r>
            <a:br>
              <a:rPr lang="en-US" sz="1598" kern="0" dirty="0">
                <a:solidFill>
                  <a:schemeClr val="tx2"/>
                </a:solidFill>
                <a:latin typeface="Segoe UI" panose="020B0502040204020203" pitchFamily="34" charset="0"/>
                <a:cs typeface="Segoe UI" panose="020B0502040204020203" pitchFamily="34" charset="0"/>
              </a:rPr>
            </a:br>
            <a:r>
              <a:rPr lang="en-US" sz="1598" kern="0" dirty="0">
                <a:solidFill>
                  <a:schemeClr val="tx2"/>
                </a:solidFill>
                <a:latin typeface="Segoe UI" panose="020B0502040204020203" pitchFamily="34" charset="0"/>
                <a:cs typeface="Segoe UI" panose="020B0502040204020203" pitchFamily="34" charset="0"/>
              </a:rPr>
              <a:t>and mobile</a:t>
            </a:r>
          </a:p>
        </p:txBody>
      </p:sp>
      <p:sp>
        <p:nvSpPr>
          <p:cNvPr id="90" name="TextBox 89">
            <a:extLst>
              <a:ext uri="{FF2B5EF4-FFF2-40B4-BE49-F238E27FC236}">
                <a16:creationId xmlns:a16="http://schemas.microsoft.com/office/drawing/2014/main" id="{D3A1A00F-B901-4CBD-B413-EDF3302A034C}"/>
              </a:ext>
            </a:extLst>
          </p:cNvPr>
          <p:cNvSpPr txBox="1"/>
          <p:nvPr/>
        </p:nvSpPr>
        <p:spPr>
          <a:xfrm>
            <a:off x="10700944" y="2213183"/>
            <a:ext cx="1259980" cy="448777"/>
          </a:xfrm>
          <a:prstGeom prst="rect">
            <a:avLst/>
          </a:prstGeom>
          <a:noFill/>
        </p:spPr>
        <p:txBody>
          <a:bodyPr wrap="square" lIns="0" tIns="0" rIns="0" bIns="0" rtlCol="0">
            <a:spAutoFit/>
          </a:bodyPr>
          <a:lstStyle/>
          <a:p>
            <a:pPr algn="ctr" defTabSz="932418">
              <a:lnSpc>
                <a:spcPct val="90000"/>
              </a:lnSpc>
              <a:spcBef>
                <a:spcPts val="1800"/>
              </a:spcBef>
              <a:defRPr/>
            </a:pPr>
            <a:r>
              <a:rPr lang="en-US" sz="1598" kern="0" dirty="0">
                <a:solidFill>
                  <a:schemeClr val="tx2"/>
                </a:solidFill>
                <a:latin typeface="Segoe UI" panose="020B0502040204020203" pitchFamily="34" charset="0"/>
                <a:cs typeface="Segoe UI" panose="020B0502040204020203" pitchFamily="34" charset="0"/>
              </a:rPr>
              <a:t>Serverless </a:t>
            </a:r>
            <a:br>
              <a:rPr lang="en-US" sz="1598" kern="0" dirty="0">
                <a:solidFill>
                  <a:schemeClr val="tx2"/>
                </a:solidFill>
                <a:latin typeface="Segoe UI" panose="020B0502040204020203" pitchFamily="34" charset="0"/>
                <a:cs typeface="Segoe UI" panose="020B0502040204020203" pitchFamily="34" charset="0"/>
              </a:rPr>
            </a:br>
            <a:r>
              <a:rPr lang="en-US" sz="1598" kern="0" dirty="0">
                <a:solidFill>
                  <a:schemeClr val="tx2"/>
                </a:solidFill>
                <a:latin typeface="Segoe UI" panose="020B0502040204020203" pitchFamily="34" charset="0"/>
                <a:cs typeface="Segoe UI" panose="020B0502040204020203" pitchFamily="34" charset="0"/>
              </a:rPr>
              <a:t>Compute</a:t>
            </a:r>
          </a:p>
        </p:txBody>
      </p:sp>
      <p:sp>
        <p:nvSpPr>
          <p:cNvPr id="91" name="TextBox 90">
            <a:extLst>
              <a:ext uri="{FF2B5EF4-FFF2-40B4-BE49-F238E27FC236}">
                <a16:creationId xmlns:a16="http://schemas.microsoft.com/office/drawing/2014/main" id="{A6FEED12-92A1-41CA-8EF4-116F6423E1E3}"/>
              </a:ext>
            </a:extLst>
          </p:cNvPr>
          <p:cNvSpPr txBox="1"/>
          <p:nvPr/>
        </p:nvSpPr>
        <p:spPr>
          <a:xfrm>
            <a:off x="8890676" y="2213183"/>
            <a:ext cx="1259980" cy="221343"/>
          </a:xfrm>
          <a:prstGeom prst="rect">
            <a:avLst/>
          </a:prstGeom>
          <a:noFill/>
        </p:spPr>
        <p:txBody>
          <a:bodyPr wrap="square" lIns="0" tIns="0" rIns="0" bIns="0" rtlCol="0">
            <a:spAutoFit/>
          </a:bodyPr>
          <a:lstStyle/>
          <a:p>
            <a:pPr algn="ctr" defTabSz="932418">
              <a:lnSpc>
                <a:spcPct val="90000"/>
              </a:lnSpc>
              <a:spcBef>
                <a:spcPts val="1800"/>
              </a:spcBef>
              <a:defRPr/>
            </a:pPr>
            <a:r>
              <a:rPr lang="en-US" sz="1598" kern="0" dirty="0">
                <a:solidFill>
                  <a:schemeClr val="tx2"/>
                </a:solidFill>
                <a:latin typeface="Segoe UI" panose="020B0502040204020203" pitchFamily="34" charset="0"/>
                <a:cs typeface="Segoe UI" panose="020B0502040204020203" pitchFamily="34" charset="0"/>
              </a:rPr>
              <a:t>Microservices</a:t>
            </a:r>
          </a:p>
        </p:txBody>
      </p:sp>
    </p:spTree>
    <p:extLst>
      <p:ext uri="{BB962C8B-B14F-4D97-AF65-F5344CB8AC3E}">
        <p14:creationId xmlns:p14="http://schemas.microsoft.com/office/powerpoint/2010/main" val="352715583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are Managed Disks?</a:t>
            </a:r>
            <a:endParaRPr lang="en-US" dirty="0"/>
          </a:p>
        </p:txBody>
      </p:sp>
      <p:grpSp>
        <p:nvGrpSpPr>
          <p:cNvPr id="15" name="Group 14">
            <a:extLst>
              <a:ext uri="{FF2B5EF4-FFF2-40B4-BE49-F238E27FC236}">
                <a16:creationId xmlns:a16="http://schemas.microsoft.com/office/drawing/2014/main" id="{BE917A17-7487-429F-A44F-805C7FEF3057}"/>
              </a:ext>
            </a:extLst>
          </p:cNvPr>
          <p:cNvGrpSpPr/>
          <p:nvPr/>
        </p:nvGrpSpPr>
        <p:grpSpPr>
          <a:xfrm>
            <a:off x="465138" y="1235075"/>
            <a:ext cx="4630065" cy="5410200"/>
            <a:chOff x="465138" y="1235075"/>
            <a:chExt cx="5411787" cy="5311596"/>
          </a:xfrm>
        </p:grpSpPr>
        <p:sp>
          <p:nvSpPr>
            <p:cNvPr id="9" name="Rectangle 8">
              <a:extLst>
                <a:ext uri="{FF2B5EF4-FFF2-40B4-BE49-F238E27FC236}">
                  <a16:creationId xmlns:a16="http://schemas.microsoft.com/office/drawing/2014/main" id="{A4FE1718-89A9-4D32-B6FE-3C9A58C8DE4B}"/>
                </a:ext>
              </a:extLst>
            </p:cNvPr>
            <p:cNvSpPr/>
            <p:nvPr/>
          </p:nvSpPr>
          <p:spPr>
            <a:xfrm>
              <a:off x="465138" y="1235075"/>
              <a:ext cx="5411787" cy="1188720"/>
            </a:xfrm>
            <a:prstGeom prst="rect">
              <a:avLst/>
            </a:prstGeom>
            <a:solidFill>
              <a:schemeClr val="bg1">
                <a:lumMod val="95000"/>
              </a:schemeClr>
            </a:solidFill>
            <a:ln w="6350">
              <a:solidFill>
                <a:schemeClr val="bg1">
                  <a:lumMod val="9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7160" tIns="91440" rIns="137160" bIns="91440" numCol="1" spcCol="1270" anchor="ctr" anchorCtr="0">
              <a:noAutofit/>
            </a:bodyPr>
            <a:lstStyle/>
            <a:p>
              <a:pPr marL="0" lvl="0" indent="0" algn="l" defTabSz="400050">
                <a:spcBef>
                  <a:spcPct val="0"/>
                </a:spcBef>
                <a:spcAft>
                  <a:spcPct val="35000"/>
                </a:spcAft>
                <a:buNone/>
              </a:pPr>
              <a:r>
                <a:rPr lang="en-US" sz="2400" b="1" kern="1200" dirty="0">
                  <a:solidFill>
                    <a:schemeClr val="tx1"/>
                  </a:solidFill>
                </a:rPr>
                <a:t>Simple</a:t>
              </a:r>
              <a:r>
                <a:rPr lang="en-US" sz="2400" kern="1200" dirty="0">
                  <a:solidFill>
                    <a:schemeClr val="tx2"/>
                  </a:solidFill>
                </a:rPr>
                <a:t> – Abstracts storage accounts from customers</a:t>
              </a:r>
              <a:endParaRPr lang="en-IN" sz="2400" kern="1200" dirty="0">
                <a:solidFill>
                  <a:schemeClr val="tx2"/>
                </a:solidFill>
              </a:endParaRPr>
            </a:p>
          </p:txBody>
        </p:sp>
        <p:sp>
          <p:nvSpPr>
            <p:cNvPr id="10" name="Rectangle 9">
              <a:extLst>
                <a:ext uri="{FF2B5EF4-FFF2-40B4-BE49-F238E27FC236}">
                  <a16:creationId xmlns:a16="http://schemas.microsoft.com/office/drawing/2014/main" id="{EEDF8D57-A1E0-42FF-9242-23390BACF272}"/>
                </a:ext>
              </a:extLst>
            </p:cNvPr>
            <p:cNvSpPr/>
            <p:nvPr/>
          </p:nvSpPr>
          <p:spPr>
            <a:xfrm>
              <a:off x="465138" y="2609368"/>
              <a:ext cx="5411787" cy="1188720"/>
            </a:xfrm>
            <a:prstGeom prst="rect">
              <a:avLst/>
            </a:prstGeom>
            <a:solidFill>
              <a:schemeClr val="bg1">
                <a:lumMod val="95000"/>
              </a:schemeClr>
            </a:solidFill>
            <a:ln w="6350">
              <a:solidFill>
                <a:schemeClr val="bg1">
                  <a:lumMod val="9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7160" tIns="91440" rIns="137160" bIns="91440" numCol="1" spcCol="1270" anchor="ctr" anchorCtr="0">
              <a:noAutofit/>
            </a:bodyPr>
            <a:lstStyle/>
            <a:p>
              <a:pPr marL="0" lvl="0" indent="0" algn="l" defTabSz="400050">
                <a:spcBef>
                  <a:spcPct val="0"/>
                </a:spcBef>
                <a:spcAft>
                  <a:spcPct val="35000"/>
                </a:spcAft>
                <a:buNone/>
              </a:pPr>
              <a:r>
                <a:rPr lang="en-US" sz="2400" b="1" kern="1200" dirty="0">
                  <a:solidFill>
                    <a:schemeClr val="tx1"/>
                  </a:solidFill>
                </a:rPr>
                <a:t>Granular access control </a:t>
              </a:r>
              <a:r>
                <a:rPr lang="en-US" sz="2400" kern="1200" dirty="0">
                  <a:solidFill>
                    <a:schemeClr val="tx2"/>
                  </a:solidFill>
                </a:rPr>
                <a:t>– Top level ARM resource, apply </a:t>
              </a:r>
              <a:br>
                <a:rPr lang="en-US" sz="2400" kern="1200" dirty="0">
                  <a:solidFill>
                    <a:schemeClr val="tx2"/>
                  </a:solidFill>
                </a:rPr>
              </a:br>
              <a:r>
                <a:rPr lang="en-US" sz="2400" kern="1200" dirty="0">
                  <a:solidFill>
                    <a:schemeClr val="tx2"/>
                  </a:solidFill>
                </a:rPr>
                <a:t>Azure RBAC </a:t>
              </a:r>
              <a:endParaRPr lang="en-IN" sz="2400" kern="1200" dirty="0">
                <a:solidFill>
                  <a:schemeClr val="tx2"/>
                </a:solidFill>
              </a:endParaRPr>
            </a:p>
          </p:txBody>
        </p:sp>
        <p:sp>
          <p:nvSpPr>
            <p:cNvPr id="11" name="Rectangle 10">
              <a:extLst>
                <a:ext uri="{FF2B5EF4-FFF2-40B4-BE49-F238E27FC236}">
                  <a16:creationId xmlns:a16="http://schemas.microsoft.com/office/drawing/2014/main" id="{692A5209-DEC2-4F4C-AF27-FBFC8069E8E6}"/>
                </a:ext>
              </a:extLst>
            </p:cNvPr>
            <p:cNvSpPr/>
            <p:nvPr/>
          </p:nvSpPr>
          <p:spPr>
            <a:xfrm>
              <a:off x="465138" y="3983661"/>
              <a:ext cx="5411787" cy="1188720"/>
            </a:xfrm>
            <a:prstGeom prst="rect">
              <a:avLst/>
            </a:prstGeom>
            <a:solidFill>
              <a:schemeClr val="bg1">
                <a:lumMod val="95000"/>
              </a:schemeClr>
            </a:solidFill>
            <a:ln w="6350">
              <a:solidFill>
                <a:schemeClr val="bg1">
                  <a:lumMod val="9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7160" tIns="91440" rIns="137160" bIns="91440" numCol="1" spcCol="1270" anchor="ctr" anchorCtr="0">
              <a:noAutofit/>
            </a:bodyPr>
            <a:lstStyle/>
            <a:p>
              <a:pPr marL="0" lvl="0" indent="0" algn="l" defTabSz="400050">
                <a:spcBef>
                  <a:spcPct val="0"/>
                </a:spcBef>
                <a:spcAft>
                  <a:spcPct val="35000"/>
                </a:spcAft>
                <a:buNone/>
              </a:pPr>
              <a:r>
                <a:rPr lang="en-US" sz="2400" b="1" kern="1200" dirty="0">
                  <a:solidFill>
                    <a:schemeClr val="tx1"/>
                  </a:solidFill>
                </a:rPr>
                <a:t>Better performance </a:t>
              </a:r>
              <a:r>
                <a:rPr lang="en-US" sz="2400" kern="1200" dirty="0">
                  <a:solidFill>
                    <a:schemeClr val="tx2"/>
                  </a:solidFill>
                </a:rPr>
                <a:t>– Storage account limits do not apply </a:t>
              </a:r>
              <a:endParaRPr lang="en-IN" sz="2400" kern="1200" dirty="0">
                <a:solidFill>
                  <a:schemeClr val="tx2"/>
                </a:solidFill>
              </a:endParaRPr>
            </a:p>
          </p:txBody>
        </p:sp>
        <p:sp>
          <p:nvSpPr>
            <p:cNvPr id="12" name="Rectangle 11">
              <a:extLst>
                <a:ext uri="{FF2B5EF4-FFF2-40B4-BE49-F238E27FC236}">
                  <a16:creationId xmlns:a16="http://schemas.microsoft.com/office/drawing/2014/main" id="{A8D2D860-5152-44D9-B4F8-B6DDAA2CF4B7}"/>
                </a:ext>
              </a:extLst>
            </p:cNvPr>
            <p:cNvSpPr/>
            <p:nvPr/>
          </p:nvSpPr>
          <p:spPr>
            <a:xfrm>
              <a:off x="465138" y="5357951"/>
              <a:ext cx="5411787" cy="1188720"/>
            </a:xfrm>
            <a:prstGeom prst="rect">
              <a:avLst/>
            </a:prstGeom>
            <a:solidFill>
              <a:schemeClr val="bg1">
                <a:lumMod val="95000"/>
              </a:schemeClr>
            </a:solidFill>
            <a:ln w="6350">
              <a:solidFill>
                <a:schemeClr val="bg1">
                  <a:lumMod val="9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7160" tIns="91440" rIns="137160" bIns="91440" numCol="1" spcCol="1270" anchor="ctr" anchorCtr="0">
              <a:noAutofit/>
            </a:bodyPr>
            <a:lstStyle/>
            <a:p>
              <a:pPr marL="0" lvl="0" indent="0" algn="l" defTabSz="400050">
                <a:spcBef>
                  <a:spcPct val="0"/>
                </a:spcBef>
                <a:spcAft>
                  <a:spcPct val="35000"/>
                </a:spcAft>
                <a:buNone/>
              </a:pPr>
              <a:r>
                <a:rPr lang="en-US" sz="2400" b="1" kern="1200" dirty="0">
                  <a:solidFill>
                    <a:schemeClr val="tx1"/>
                  </a:solidFill>
                </a:rPr>
                <a:t>Big scale </a:t>
              </a:r>
              <a:r>
                <a:rPr lang="en-US" sz="2400" kern="1200" dirty="0">
                  <a:solidFill>
                    <a:schemeClr val="tx2"/>
                  </a:solidFill>
                </a:rPr>
                <a:t>– Up to 10,000 disks </a:t>
              </a:r>
              <a:br>
                <a:rPr lang="en-US" sz="2400" kern="1200" dirty="0">
                  <a:solidFill>
                    <a:schemeClr val="tx2"/>
                  </a:solidFill>
                </a:rPr>
              </a:br>
              <a:r>
                <a:rPr lang="en-US" sz="2400" kern="1200" dirty="0">
                  <a:solidFill>
                    <a:schemeClr val="tx2"/>
                  </a:solidFill>
                </a:rPr>
                <a:t>per region per subscription </a:t>
              </a:r>
              <a:endParaRPr lang="en-IN" sz="2400" kern="1200" dirty="0">
                <a:solidFill>
                  <a:schemeClr val="tx2"/>
                </a:solidFill>
              </a:endParaRPr>
            </a:p>
          </p:txBody>
        </p:sp>
      </p:grpSp>
      <p:sp>
        <p:nvSpPr>
          <p:cNvPr id="14" name="Rectangle 13">
            <a:extLst>
              <a:ext uri="{FF2B5EF4-FFF2-40B4-BE49-F238E27FC236}">
                <a16:creationId xmlns:a16="http://schemas.microsoft.com/office/drawing/2014/main" id="{495C1A24-C21D-4122-B37F-5DB0AF32269C}"/>
              </a:ext>
            </a:extLst>
          </p:cNvPr>
          <p:cNvSpPr/>
          <p:nvPr/>
        </p:nvSpPr>
        <p:spPr bwMode="auto">
          <a:xfrm>
            <a:off x="5303520" y="1235075"/>
            <a:ext cx="6667817" cy="5410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TextBox 70">
            <a:extLst>
              <a:ext uri="{FF2B5EF4-FFF2-40B4-BE49-F238E27FC236}">
                <a16:creationId xmlns:a16="http://schemas.microsoft.com/office/drawing/2014/main" id="{22AC388E-7601-4141-BB76-22CCA568A83F}"/>
              </a:ext>
            </a:extLst>
          </p:cNvPr>
          <p:cNvSpPr txBox="1"/>
          <p:nvPr/>
        </p:nvSpPr>
        <p:spPr>
          <a:xfrm>
            <a:off x="9465372" y="5820820"/>
            <a:ext cx="2118392" cy="646331"/>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2"/>
                </a:solidFill>
                <a:effectLst/>
                <a:uLnTx/>
                <a:uFillTx/>
              </a:rPr>
              <a:t>Managed Storage accounts</a:t>
            </a:r>
          </a:p>
        </p:txBody>
      </p:sp>
      <p:sp>
        <p:nvSpPr>
          <p:cNvPr id="73" name="TextBox 72">
            <a:extLst>
              <a:ext uri="{FF2B5EF4-FFF2-40B4-BE49-F238E27FC236}">
                <a16:creationId xmlns:a16="http://schemas.microsoft.com/office/drawing/2014/main" id="{9F1D2163-A0C3-4DA7-8477-B5DC2D88339B}"/>
              </a:ext>
            </a:extLst>
          </p:cNvPr>
          <p:cNvSpPr txBox="1"/>
          <p:nvPr/>
        </p:nvSpPr>
        <p:spPr>
          <a:xfrm>
            <a:off x="9621483" y="1476712"/>
            <a:ext cx="1806170" cy="646331"/>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2"/>
                </a:solidFill>
                <a:effectLst/>
                <a:uLnTx/>
                <a:uFillTx/>
              </a:rPr>
              <a:t>Managed by Azure</a:t>
            </a:r>
          </a:p>
        </p:txBody>
      </p:sp>
      <p:cxnSp>
        <p:nvCxnSpPr>
          <p:cNvPr id="79" name="Straight Connector 78">
            <a:extLst>
              <a:ext uri="{FF2B5EF4-FFF2-40B4-BE49-F238E27FC236}">
                <a16:creationId xmlns:a16="http://schemas.microsoft.com/office/drawing/2014/main" id="{35EDDF2F-764E-4E88-8139-84731043BFD8}"/>
              </a:ext>
            </a:extLst>
          </p:cNvPr>
          <p:cNvCxnSpPr>
            <a:cxnSpLocks/>
          </p:cNvCxnSpPr>
          <p:nvPr/>
        </p:nvCxnSpPr>
        <p:spPr>
          <a:xfrm>
            <a:off x="8508698" y="1324303"/>
            <a:ext cx="0" cy="5160580"/>
          </a:xfrm>
          <a:prstGeom prst="line">
            <a:avLst/>
          </a:prstGeom>
          <a:noFill/>
          <a:ln w="6350" cap="flat" cmpd="sng" algn="ctr">
            <a:solidFill>
              <a:schemeClr val="bg1">
                <a:lumMod val="75000"/>
              </a:schemeClr>
            </a:solidFill>
            <a:prstDash val="solid"/>
            <a:headEnd type="none"/>
            <a:tailEnd type="none"/>
          </a:ln>
          <a:effectLst/>
        </p:spPr>
      </p:cxnSp>
      <p:grpSp>
        <p:nvGrpSpPr>
          <p:cNvPr id="30" name="Group 29">
            <a:extLst>
              <a:ext uri="{FF2B5EF4-FFF2-40B4-BE49-F238E27FC236}">
                <a16:creationId xmlns:a16="http://schemas.microsoft.com/office/drawing/2014/main" id="{0D3AD11D-A82F-45F6-AE95-DB26C3848B76}"/>
              </a:ext>
            </a:extLst>
          </p:cNvPr>
          <p:cNvGrpSpPr/>
          <p:nvPr/>
        </p:nvGrpSpPr>
        <p:grpSpPr>
          <a:xfrm>
            <a:off x="5480345" y="3681497"/>
            <a:ext cx="1251336" cy="1252882"/>
            <a:chOff x="5480345" y="3759261"/>
            <a:chExt cx="1251336" cy="1252882"/>
          </a:xfrm>
        </p:grpSpPr>
        <p:sp>
          <p:nvSpPr>
            <p:cNvPr id="82" name="Rectangle: Rounded Corners 81">
              <a:extLst>
                <a:ext uri="{FF2B5EF4-FFF2-40B4-BE49-F238E27FC236}">
                  <a16:creationId xmlns:a16="http://schemas.microsoft.com/office/drawing/2014/main" id="{96206323-4417-4F5A-863C-06C9A0482CCA}"/>
                </a:ext>
              </a:extLst>
            </p:cNvPr>
            <p:cNvSpPr/>
            <p:nvPr/>
          </p:nvSpPr>
          <p:spPr bwMode="auto">
            <a:xfrm>
              <a:off x="5480345" y="3759261"/>
              <a:ext cx="1251336" cy="1252882"/>
            </a:xfrm>
            <a:prstGeom prst="roundRect">
              <a:avLst>
                <a:gd name="adj" fmla="val 5954"/>
              </a:avLst>
            </a:prstGeom>
            <a:solidFill>
              <a:schemeClr val="accent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chemeClr val="tx2"/>
                </a:solidFill>
                <a:effectLst/>
                <a:uLnTx/>
                <a:uFillTx/>
                <a:ea typeface="+mn-ea"/>
                <a:cs typeface="+mn-cs"/>
              </a:endParaRPr>
            </a:p>
          </p:txBody>
        </p:sp>
        <p:pic>
          <p:nvPicPr>
            <p:cNvPr id="83" name="Picture 82">
              <a:extLst>
                <a:ext uri="{FF2B5EF4-FFF2-40B4-BE49-F238E27FC236}">
                  <a16:creationId xmlns:a16="http://schemas.microsoft.com/office/drawing/2014/main" id="{6B1EA67F-A766-4511-8F93-93D29497F3ED}"/>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5651593" y="3907707"/>
              <a:ext cx="908840" cy="955990"/>
            </a:xfrm>
            <a:prstGeom prst="rect">
              <a:avLst/>
            </a:prstGeom>
          </p:spPr>
        </p:pic>
      </p:grpSp>
      <p:grpSp>
        <p:nvGrpSpPr>
          <p:cNvPr id="29" name="Group 28">
            <a:extLst>
              <a:ext uri="{FF2B5EF4-FFF2-40B4-BE49-F238E27FC236}">
                <a16:creationId xmlns:a16="http://schemas.microsoft.com/office/drawing/2014/main" id="{6ABEA17C-9FB1-4FBD-B656-94613CF055A1}"/>
              </a:ext>
            </a:extLst>
          </p:cNvPr>
          <p:cNvGrpSpPr/>
          <p:nvPr/>
        </p:nvGrpSpPr>
        <p:grpSpPr>
          <a:xfrm>
            <a:off x="6825202" y="3710354"/>
            <a:ext cx="607241" cy="1195168"/>
            <a:chOff x="6825202" y="3788118"/>
            <a:chExt cx="607241" cy="1195168"/>
          </a:xfrm>
        </p:grpSpPr>
        <p:sp>
          <p:nvSpPr>
            <p:cNvPr id="91" name="Arrow: Right 90">
              <a:extLst>
                <a:ext uri="{FF2B5EF4-FFF2-40B4-BE49-F238E27FC236}">
                  <a16:creationId xmlns:a16="http://schemas.microsoft.com/office/drawing/2014/main" id="{FEBC71CC-B078-4491-8F5B-C439D3F1CF4D}"/>
                </a:ext>
              </a:extLst>
            </p:cNvPr>
            <p:cNvSpPr/>
            <p:nvPr/>
          </p:nvSpPr>
          <p:spPr bwMode="auto">
            <a:xfrm rot="10800000">
              <a:off x="6825202" y="3788118"/>
              <a:ext cx="607241" cy="302102"/>
            </a:xfrm>
            <a:prstGeom prst="rightArrow">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1" i="0" u="none" strike="noStrike" kern="0" cap="none" spc="0" normalizeH="0" baseline="0" noProof="0">
                <a:ln>
                  <a:noFill/>
                </a:ln>
                <a:solidFill>
                  <a:schemeClr val="tx2"/>
                </a:solidFill>
                <a:effectLst/>
                <a:uLnTx/>
                <a:uFillTx/>
                <a:ea typeface="Segoe UI" pitchFamily="34" charset="0"/>
                <a:cs typeface="Segoe UI" pitchFamily="34" charset="0"/>
              </a:endParaRPr>
            </a:p>
          </p:txBody>
        </p:sp>
        <p:sp>
          <p:nvSpPr>
            <p:cNvPr id="92" name="Arrow: Right 91">
              <a:extLst>
                <a:ext uri="{FF2B5EF4-FFF2-40B4-BE49-F238E27FC236}">
                  <a16:creationId xmlns:a16="http://schemas.microsoft.com/office/drawing/2014/main" id="{B33FA76B-5E65-4A73-99D1-2E6952CDA255}"/>
                </a:ext>
              </a:extLst>
            </p:cNvPr>
            <p:cNvSpPr/>
            <p:nvPr/>
          </p:nvSpPr>
          <p:spPr bwMode="auto">
            <a:xfrm rot="10800000">
              <a:off x="6825202" y="4681184"/>
              <a:ext cx="607241" cy="302102"/>
            </a:xfrm>
            <a:prstGeom prst="rightArrow">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1" i="0" u="none" strike="noStrike" kern="0" cap="none" spc="0" normalizeH="0" baseline="0" noProof="0">
                <a:ln>
                  <a:noFill/>
                </a:ln>
                <a:solidFill>
                  <a:schemeClr val="tx2"/>
                </a:solidFill>
                <a:effectLst/>
                <a:uLnTx/>
                <a:uFillTx/>
                <a:ea typeface="Segoe UI" pitchFamily="34" charset="0"/>
                <a:cs typeface="Segoe UI" pitchFamily="34" charset="0"/>
              </a:endParaRPr>
            </a:p>
          </p:txBody>
        </p:sp>
      </p:grpSp>
      <p:grpSp>
        <p:nvGrpSpPr>
          <p:cNvPr id="28" name="Group 27">
            <a:extLst>
              <a:ext uri="{FF2B5EF4-FFF2-40B4-BE49-F238E27FC236}">
                <a16:creationId xmlns:a16="http://schemas.microsoft.com/office/drawing/2014/main" id="{7AF71BB5-EC5A-4370-BD7B-09BF8107F7DB}"/>
              </a:ext>
            </a:extLst>
          </p:cNvPr>
          <p:cNvGrpSpPr/>
          <p:nvPr/>
        </p:nvGrpSpPr>
        <p:grpSpPr>
          <a:xfrm>
            <a:off x="7368601" y="3168855"/>
            <a:ext cx="1018942" cy="2278167"/>
            <a:chOff x="7368601" y="3183496"/>
            <a:chExt cx="1018942" cy="2278167"/>
          </a:xfrm>
        </p:grpSpPr>
        <p:sp>
          <p:nvSpPr>
            <p:cNvPr id="64" name="TextBox 63">
              <a:extLst>
                <a:ext uri="{FF2B5EF4-FFF2-40B4-BE49-F238E27FC236}">
                  <a16:creationId xmlns:a16="http://schemas.microsoft.com/office/drawing/2014/main" id="{D7263F22-2AA0-4F1F-B583-490FA7A8532F}"/>
                </a:ext>
              </a:extLst>
            </p:cNvPr>
            <p:cNvSpPr txBox="1"/>
            <p:nvPr/>
          </p:nvSpPr>
          <p:spPr>
            <a:xfrm>
              <a:off x="7368601" y="5246219"/>
              <a:ext cx="1018942" cy="215444"/>
            </a:xfrm>
            <a:prstGeom prst="rect">
              <a:avLst/>
            </a:prstGeom>
            <a:no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2"/>
                  </a:solidFill>
                  <a:effectLst/>
                  <a:uLnTx/>
                  <a:uFillTx/>
                </a:rPr>
                <a:t>Data disk</a:t>
              </a:r>
            </a:p>
          </p:txBody>
        </p:sp>
        <p:sp>
          <p:nvSpPr>
            <p:cNvPr id="65" name="TextBox 64">
              <a:extLst>
                <a:ext uri="{FF2B5EF4-FFF2-40B4-BE49-F238E27FC236}">
                  <a16:creationId xmlns:a16="http://schemas.microsoft.com/office/drawing/2014/main" id="{EF482BCA-5A90-4655-BE13-7F4CA4EF8794}"/>
                </a:ext>
              </a:extLst>
            </p:cNvPr>
            <p:cNvSpPr txBox="1"/>
            <p:nvPr/>
          </p:nvSpPr>
          <p:spPr>
            <a:xfrm>
              <a:off x="7464235" y="4061560"/>
              <a:ext cx="827674" cy="215444"/>
            </a:xfrm>
            <a:prstGeom prst="rect">
              <a:avLst/>
            </a:prstGeom>
            <a:no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2"/>
                  </a:solidFill>
                  <a:effectLst/>
                  <a:uLnTx/>
                  <a:uFillTx/>
                </a:rPr>
                <a:t>OS disk</a:t>
              </a:r>
            </a:p>
          </p:txBody>
        </p:sp>
        <p:sp>
          <p:nvSpPr>
            <p:cNvPr id="106" name="Freeform 69">
              <a:extLst>
                <a:ext uri="{FF2B5EF4-FFF2-40B4-BE49-F238E27FC236}">
                  <a16:creationId xmlns:a16="http://schemas.microsoft.com/office/drawing/2014/main" id="{7668CB14-96C2-4B56-88D1-5FD8922F47BC}"/>
                </a:ext>
              </a:extLst>
            </p:cNvPr>
            <p:cNvSpPr>
              <a:spLocks/>
            </p:cNvSpPr>
            <p:nvPr/>
          </p:nvSpPr>
          <p:spPr bwMode="auto">
            <a:xfrm>
              <a:off x="7629772" y="4557019"/>
              <a:ext cx="485134" cy="667277"/>
            </a:xfrm>
            <a:custGeom>
              <a:avLst/>
              <a:gdLst>
                <a:gd name="connsiteX0" fmla="*/ 793750 w 4505325"/>
                <a:gd name="connsiteY0" fmla="*/ 4673599 h 6196856"/>
                <a:gd name="connsiteX1" fmla="*/ 1020763 w 4505325"/>
                <a:gd name="connsiteY1" fmla="*/ 4910728 h 6196856"/>
                <a:gd name="connsiteX2" fmla="*/ 790723 w 4505325"/>
                <a:gd name="connsiteY2" fmla="*/ 5138737 h 6196856"/>
                <a:gd name="connsiteX3" fmla="*/ 566738 w 4505325"/>
                <a:gd name="connsiteY3" fmla="*/ 4901608 h 6196856"/>
                <a:gd name="connsiteX4" fmla="*/ 793750 w 4505325"/>
                <a:gd name="connsiteY4" fmla="*/ 4673599 h 6196856"/>
                <a:gd name="connsiteX5" fmla="*/ 3576927 w 4505325"/>
                <a:gd name="connsiteY5" fmla="*/ 3961027 h 6196856"/>
                <a:gd name="connsiteX6" fmla="*/ 3122168 w 4505325"/>
                <a:gd name="connsiteY6" fmla="*/ 4027304 h 6196856"/>
                <a:gd name="connsiteX7" fmla="*/ 3019218 w 4505325"/>
                <a:gd name="connsiteY7" fmla="*/ 4075955 h 6196856"/>
                <a:gd name="connsiteX8" fmla="*/ 3019218 w 4505325"/>
                <a:gd name="connsiteY8" fmla="*/ 4231030 h 6196856"/>
                <a:gd name="connsiteX9" fmla="*/ 3146391 w 4505325"/>
                <a:gd name="connsiteY9" fmla="*/ 4288802 h 6196856"/>
                <a:gd name="connsiteX10" fmla="*/ 3585442 w 4505325"/>
                <a:gd name="connsiteY10" fmla="*/ 4346575 h 6196856"/>
                <a:gd name="connsiteX11" fmla="*/ 4024494 w 4505325"/>
                <a:gd name="connsiteY11" fmla="*/ 4288802 h 6196856"/>
                <a:gd name="connsiteX12" fmla="*/ 4181947 w 4505325"/>
                <a:gd name="connsiteY12" fmla="*/ 4215826 h 6196856"/>
                <a:gd name="connsiteX13" fmla="*/ 4184975 w 4505325"/>
                <a:gd name="connsiteY13" fmla="*/ 4094199 h 6196856"/>
                <a:gd name="connsiteX14" fmla="*/ 4069913 w 4505325"/>
                <a:gd name="connsiteY14" fmla="*/ 4030345 h 6196856"/>
                <a:gd name="connsiteX15" fmla="*/ 3730784 w 4505325"/>
                <a:gd name="connsiteY15" fmla="*/ 3966491 h 6196856"/>
                <a:gd name="connsiteX16" fmla="*/ 3576927 w 4505325"/>
                <a:gd name="connsiteY16" fmla="*/ 3961027 h 6196856"/>
                <a:gd name="connsiteX17" fmla="*/ 3680600 w 4505325"/>
                <a:gd name="connsiteY17" fmla="*/ 3833868 h 6196856"/>
                <a:gd name="connsiteX18" fmla="*/ 4084654 w 4505325"/>
                <a:gd name="connsiteY18" fmla="*/ 3896835 h 6196856"/>
                <a:gd name="connsiteX19" fmla="*/ 4360335 w 4505325"/>
                <a:gd name="connsiteY19" fmla="*/ 4021250 h 6196856"/>
                <a:gd name="connsiteX20" fmla="*/ 4481513 w 4505325"/>
                <a:gd name="connsiteY20" fmla="*/ 4245804 h 6196856"/>
                <a:gd name="connsiteX21" fmla="*/ 4481513 w 4505325"/>
                <a:gd name="connsiteY21" fmla="*/ 5796440 h 6196856"/>
                <a:gd name="connsiteX22" fmla="*/ 4375482 w 4505325"/>
                <a:gd name="connsiteY22" fmla="*/ 6005821 h 6196856"/>
                <a:gd name="connsiteX23" fmla="*/ 3966505 w 4505325"/>
                <a:gd name="connsiteY23" fmla="*/ 6160581 h 6196856"/>
                <a:gd name="connsiteX24" fmla="*/ 3015256 w 4505325"/>
                <a:gd name="connsiteY24" fmla="*/ 6105960 h 6196856"/>
                <a:gd name="connsiteX25" fmla="*/ 2821371 w 4505325"/>
                <a:gd name="connsiteY25" fmla="*/ 6011890 h 6196856"/>
                <a:gd name="connsiteX26" fmla="*/ 2700193 w 4505325"/>
                <a:gd name="connsiteY26" fmla="*/ 5781267 h 6196856"/>
                <a:gd name="connsiteX27" fmla="*/ 2700193 w 4505325"/>
                <a:gd name="connsiteY27" fmla="*/ 5010501 h 6196856"/>
                <a:gd name="connsiteX28" fmla="*/ 2700193 w 4505325"/>
                <a:gd name="connsiteY28" fmla="*/ 4257942 h 6196856"/>
                <a:gd name="connsiteX29" fmla="*/ 2863783 w 4505325"/>
                <a:gd name="connsiteY29" fmla="*/ 3984835 h 6196856"/>
                <a:gd name="connsiteX30" fmla="*/ 3269730 w 4505325"/>
                <a:gd name="connsiteY30" fmla="*/ 3857386 h 6196856"/>
                <a:gd name="connsiteX31" fmla="*/ 3680600 w 4505325"/>
                <a:gd name="connsiteY31" fmla="*/ 3833868 h 6196856"/>
                <a:gd name="connsiteX32" fmla="*/ 1716814 w 4505325"/>
                <a:gd name="connsiteY32" fmla="*/ 3356112 h 6196856"/>
                <a:gd name="connsiteX33" fmla="*/ 1523356 w 4505325"/>
                <a:gd name="connsiteY33" fmla="*/ 3435514 h 6196856"/>
                <a:gd name="connsiteX34" fmla="*/ 1059741 w 4505325"/>
                <a:gd name="connsiteY34" fmla="*/ 3909078 h 6196856"/>
                <a:gd name="connsiteX35" fmla="*/ 462798 w 4505325"/>
                <a:gd name="connsiteY35" fmla="*/ 4510140 h 6196856"/>
                <a:gd name="connsiteX36" fmla="*/ 287049 w 4505325"/>
                <a:gd name="connsiteY36" fmla="*/ 4904777 h 6196856"/>
                <a:gd name="connsiteX37" fmla="*/ 299169 w 4505325"/>
                <a:gd name="connsiteY37" fmla="*/ 5017096 h 6196856"/>
                <a:gd name="connsiteX38" fmla="*/ 711272 w 4505325"/>
                <a:gd name="connsiteY38" fmla="*/ 5411733 h 6196856"/>
                <a:gd name="connsiteX39" fmla="*/ 1244581 w 4505325"/>
                <a:gd name="connsiteY39" fmla="*/ 5138523 h 6196856"/>
                <a:gd name="connsiteX40" fmla="*/ 1917278 w 4505325"/>
                <a:gd name="connsiteY40" fmla="*/ 3790687 h 6196856"/>
                <a:gd name="connsiteX41" fmla="*/ 1953640 w 4505325"/>
                <a:gd name="connsiteY41" fmla="*/ 3708724 h 6196856"/>
                <a:gd name="connsiteX42" fmla="*/ 1968791 w 4505325"/>
                <a:gd name="connsiteY42" fmla="*/ 3584262 h 6196856"/>
                <a:gd name="connsiteX43" fmla="*/ 1790011 w 4505325"/>
                <a:gd name="connsiteY43" fmla="*/ 3371765 h 6196856"/>
                <a:gd name="connsiteX44" fmla="*/ 1716814 w 4505325"/>
                <a:gd name="connsiteY44" fmla="*/ 3356112 h 6196856"/>
                <a:gd name="connsiteX45" fmla="*/ 2258859 w 4505325"/>
                <a:gd name="connsiteY45" fmla="*/ 2735111 h 6196856"/>
                <a:gd name="connsiteX46" fmla="*/ 2346479 w 4505325"/>
                <a:gd name="connsiteY46" fmla="*/ 2831873 h 6196856"/>
                <a:gd name="connsiteX47" fmla="*/ 2252816 w 4505325"/>
                <a:gd name="connsiteY47" fmla="*/ 2919564 h 6196856"/>
                <a:gd name="connsiteX48" fmla="*/ 2162175 w 4505325"/>
                <a:gd name="connsiteY48" fmla="*/ 2828849 h 6196856"/>
                <a:gd name="connsiteX49" fmla="*/ 2258859 w 4505325"/>
                <a:gd name="connsiteY49" fmla="*/ 2735111 h 6196856"/>
                <a:gd name="connsiteX50" fmla="*/ 1932066 w 4505325"/>
                <a:gd name="connsiteY50" fmla="*/ 2600194 h 6196856"/>
                <a:gd name="connsiteX51" fmla="*/ 2025650 w 4505325"/>
                <a:gd name="connsiteY51" fmla="*/ 2688496 h 6196856"/>
                <a:gd name="connsiteX52" fmla="*/ 1935085 w 4505325"/>
                <a:gd name="connsiteY52" fmla="*/ 2782887 h 6196856"/>
                <a:gd name="connsiteX53" fmla="*/ 1841500 w 4505325"/>
                <a:gd name="connsiteY53" fmla="*/ 2694586 h 6196856"/>
                <a:gd name="connsiteX54" fmla="*/ 1932066 w 4505325"/>
                <a:gd name="connsiteY54" fmla="*/ 2600194 h 6196856"/>
                <a:gd name="connsiteX55" fmla="*/ 2573338 w 4505325"/>
                <a:gd name="connsiteY55" fmla="*/ 2597149 h 6196856"/>
                <a:gd name="connsiteX56" fmla="*/ 2663979 w 4505325"/>
                <a:gd name="connsiteY56" fmla="*/ 2691606 h 6196856"/>
                <a:gd name="connsiteX57" fmla="*/ 2570316 w 4505325"/>
                <a:gd name="connsiteY57" fmla="*/ 2783015 h 6196856"/>
                <a:gd name="connsiteX58" fmla="*/ 2482697 w 4505325"/>
                <a:gd name="connsiteY58" fmla="*/ 2688559 h 6196856"/>
                <a:gd name="connsiteX59" fmla="*/ 2573338 w 4505325"/>
                <a:gd name="connsiteY59" fmla="*/ 2597149 h 6196856"/>
                <a:gd name="connsiteX60" fmla="*/ 2706766 w 4505325"/>
                <a:gd name="connsiteY60" fmla="*/ 2276474 h 6196856"/>
                <a:gd name="connsiteX61" fmla="*/ 2797331 w 4505325"/>
                <a:gd name="connsiteY61" fmla="*/ 2367115 h 6196856"/>
                <a:gd name="connsiteX62" fmla="*/ 2703747 w 4505325"/>
                <a:gd name="connsiteY62" fmla="*/ 2460778 h 6196856"/>
                <a:gd name="connsiteX63" fmla="*/ 2616200 w 4505325"/>
                <a:gd name="connsiteY63" fmla="*/ 2367115 h 6196856"/>
                <a:gd name="connsiteX64" fmla="*/ 2706766 w 4505325"/>
                <a:gd name="connsiteY64" fmla="*/ 2276474 h 6196856"/>
                <a:gd name="connsiteX65" fmla="*/ 1798715 w 4505325"/>
                <a:gd name="connsiteY65" fmla="*/ 2273299 h 6196856"/>
                <a:gd name="connsiteX66" fmla="*/ 1889281 w 4505325"/>
                <a:gd name="connsiteY66" fmla="*/ 2363940 h 6196856"/>
                <a:gd name="connsiteX67" fmla="*/ 1801734 w 4505325"/>
                <a:gd name="connsiteY67" fmla="*/ 2460624 h 6196856"/>
                <a:gd name="connsiteX68" fmla="*/ 1708150 w 4505325"/>
                <a:gd name="connsiteY68" fmla="*/ 2369983 h 6196856"/>
                <a:gd name="connsiteX69" fmla="*/ 1798715 w 4505325"/>
                <a:gd name="connsiteY69" fmla="*/ 2273299 h 6196856"/>
                <a:gd name="connsiteX70" fmla="*/ 2249633 w 4505325"/>
                <a:gd name="connsiteY70" fmla="*/ 2100263 h 6196856"/>
                <a:gd name="connsiteX71" fmla="*/ 2519363 w 4505325"/>
                <a:gd name="connsiteY71" fmla="*/ 2364002 h 6196856"/>
                <a:gd name="connsiteX72" fmla="*/ 2255694 w 4505325"/>
                <a:gd name="connsiteY72" fmla="*/ 2636838 h 6196856"/>
                <a:gd name="connsiteX73" fmla="*/ 1985963 w 4505325"/>
                <a:gd name="connsiteY73" fmla="*/ 2370066 h 6196856"/>
                <a:gd name="connsiteX74" fmla="*/ 2249633 w 4505325"/>
                <a:gd name="connsiteY74" fmla="*/ 2100263 h 6196856"/>
                <a:gd name="connsiteX75" fmla="*/ 2570316 w 4505325"/>
                <a:gd name="connsiteY75" fmla="*/ 1954212 h 6196856"/>
                <a:gd name="connsiteX76" fmla="*/ 2663979 w 4505325"/>
                <a:gd name="connsiteY76" fmla="*/ 2039469 h 6196856"/>
                <a:gd name="connsiteX77" fmla="*/ 2573338 w 4505325"/>
                <a:gd name="connsiteY77" fmla="*/ 2139950 h 6196856"/>
                <a:gd name="connsiteX78" fmla="*/ 2482697 w 4505325"/>
                <a:gd name="connsiteY78" fmla="*/ 2045559 h 6196856"/>
                <a:gd name="connsiteX79" fmla="*/ 2570316 w 4505325"/>
                <a:gd name="connsiteY79" fmla="*/ 1954212 h 6196856"/>
                <a:gd name="connsiteX80" fmla="*/ 1932066 w 4505325"/>
                <a:gd name="connsiteY80" fmla="*/ 1954212 h 6196856"/>
                <a:gd name="connsiteX81" fmla="*/ 2025650 w 4505325"/>
                <a:gd name="connsiteY81" fmla="*/ 2045558 h 6196856"/>
                <a:gd name="connsiteX82" fmla="*/ 1935085 w 4505325"/>
                <a:gd name="connsiteY82" fmla="*/ 2139950 h 6196856"/>
                <a:gd name="connsiteX83" fmla="*/ 1841500 w 4505325"/>
                <a:gd name="connsiteY83" fmla="*/ 2045558 h 6196856"/>
                <a:gd name="connsiteX84" fmla="*/ 1932066 w 4505325"/>
                <a:gd name="connsiteY84" fmla="*/ 1954212 h 6196856"/>
                <a:gd name="connsiteX85" fmla="*/ 2252741 w 4505325"/>
                <a:gd name="connsiteY85" fmla="*/ 1817687 h 6196856"/>
                <a:gd name="connsiteX86" fmla="*/ 2346325 w 4505325"/>
                <a:gd name="connsiteY86" fmla="*/ 1909097 h 6196856"/>
                <a:gd name="connsiteX87" fmla="*/ 2252741 w 4505325"/>
                <a:gd name="connsiteY87" fmla="*/ 2006600 h 6196856"/>
                <a:gd name="connsiteX88" fmla="*/ 2162175 w 4505325"/>
                <a:gd name="connsiteY88" fmla="*/ 1909097 h 6196856"/>
                <a:gd name="connsiteX89" fmla="*/ 2252741 w 4505325"/>
                <a:gd name="connsiteY89" fmla="*/ 1817687 h 6196856"/>
                <a:gd name="connsiteX90" fmla="*/ 2258725 w 4505325"/>
                <a:gd name="connsiteY90" fmla="*/ 1690688 h 6196856"/>
                <a:gd name="connsiteX91" fmla="*/ 1585913 w 4505325"/>
                <a:gd name="connsiteY91" fmla="*/ 2363931 h 6196856"/>
                <a:gd name="connsiteX92" fmla="*/ 2255694 w 4505325"/>
                <a:gd name="connsiteY92" fmla="*/ 3043237 h 6196856"/>
                <a:gd name="connsiteX93" fmla="*/ 2919413 w 4505325"/>
                <a:gd name="connsiteY93" fmla="*/ 2366963 h 6196856"/>
                <a:gd name="connsiteX94" fmla="*/ 2258725 w 4505325"/>
                <a:gd name="connsiteY94" fmla="*/ 1690688 h 6196856"/>
                <a:gd name="connsiteX95" fmla="*/ 2240903 w 4505325"/>
                <a:gd name="connsiteY95" fmla="*/ 1517650 h 6196856"/>
                <a:gd name="connsiteX96" fmla="*/ 3080042 w 4505325"/>
                <a:gd name="connsiteY96" fmla="*/ 2367686 h 6196856"/>
                <a:gd name="connsiteX97" fmla="*/ 2243932 w 4505325"/>
                <a:gd name="connsiteY97" fmla="*/ 3214687 h 6196856"/>
                <a:gd name="connsiteX98" fmla="*/ 1404793 w 4505325"/>
                <a:gd name="connsiteY98" fmla="*/ 2367686 h 6196856"/>
                <a:gd name="connsiteX99" fmla="*/ 2240903 w 4505325"/>
                <a:gd name="connsiteY99" fmla="*/ 1517650 h 6196856"/>
                <a:gd name="connsiteX100" fmla="*/ 4171950 w 4505325"/>
                <a:gd name="connsiteY100" fmla="*/ 150679 h 6196856"/>
                <a:gd name="connsiteX101" fmla="*/ 4051145 w 4505325"/>
                <a:gd name="connsiteY101" fmla="*/ 272324 h 6196856"/>
                <a:gd name="connsiteX102" fmla="*/ 4171950 w 4505325"/>
                <a:gd name="connsiteY102" fmla="*/ 400051 h 6196856"/>
                <a:gd name="connsiteX103" fmla="*/ 4295775 w 4505325"/>
                <a:gd name="connsiteY103" fmla="*/ 272324 h 6196856"/>
                <a:gd name="connsiteX104" fmla="*/ 4171950 w 4505325"/>
                <a:gd name="connsiteY104" fmla="*/ 150679 h 6196856"/>
                <a:gd name="connsiteX105" fmla="*/ 312083 w 4505325"/>
                <a:gd name="connsiteY105" fmla="*/ 150679 h 6196856"/>
                <a:gd name="connsiteX106" fmla="*/ 193675 w 4505325"/>
                <a:gd name="connsiteY106" fmla="*/ 275365 h 6196856"/>
                <a:gd name="connsiteX107" fmla="*/ 312083 w 4505325"/>
                <a:gd name="connsiteY107" fmla="*/ 400051 h 6196856"/>
                <a:gd name="connsiteX108" fmla="*/ 436563 w 4505325"/>
                <a:gd name="connsiteY108" fmla="*/ 275365 h 6196856"/>
                <a:gd name="connsiteX109" fmla="*/ 312083 w 4505325"/>
                <a:gd name="connsiteY109" fmla="*/ 150679 h 6196856"/>
                <a:gd name="connsiteX110" fmla="*/ 160472 w 4505325"/>
                <a:gd name="connsiteY110" fmla="*/ 0 h 6196856"/>
                <a:gd name="connsiteX111" fmla="*/ 208917 w 4505325"/>
                <a:gd name="connsiteY111" fmla="*/ 0 h 6196856"/>
                <a:gd name="connsiteX112" fmla="*/ 4293381 w 4505325"/>
                <a:gd name="connsiteY112" fmla="*/ 0 h 6196856"/>
                <a:gd name="connsiteX113" fmla="*/ 4359992 w 4505325"/>
                <a:gd name="connsiteY113" fmla="*/ 3035 h 6196856"/>
                <a:gd name="connsiteX114" fmla="*/ 4499270 w 4505325"/>
                <a:gd name="connsiteY114" fmla="*/ 124422 h 6196856"/>
                <a:gd name="connsiteX115" fmla="*/ 4505325 w 4505325"/>
                <a:gd name="connsiteY115" fmla="*/ 215462 h 6196856"/>
                <a:gd name="connsiteX116" fmla="*/ 4505325 w 4505325"/>
                <a:gd name="connsiteY116" fmla="*/ 3693202 h 6196856"/>
                <a:gd name="connsiteX117" fmla="*/ 4505325 w 4505325"/>
                <a:gd name="connsiteY117" fmla="*/ 3711410 h 6196856"/>
                <a:gd name="connsiteX118" fmla="*/ 4429630 w 4505325"/>
                <a:gd name="connsiteY118" fmla="*/ 3753896 h 6196856"/>
                <a:gd name="connsiteX119" fmla="*/ 3660576 w 4505325"/>
                <a:gd name="connsiteY119" fmla="*/ 3568780 h 6196856"/>
                <a:gd name="connsiteX120" fmla="*/ 3587910 w 4505325"/>
                <a:gd name="connsiteY120" fmla="*/ 3556642 h 6196856"/>
                <a:gd name="connsiteX121" fmla="*/ 3627271 w 4505325"/>
                <a:gd name="connsiteY121" fmla="*/ 3489879 h 6196856"/>
                <a:gd name="connsiteX122" fmla="*/ 4008770 w 4505325"/>
                <a:gd name="connsiteY122" fmla="*/ 2521816 h 6196856"/>
                <a:gd name="connsiteX123" fmla="*/ 3406244 w 4505325"/>
                <a:gd name="connsiteY123" fmla="*/ 1010548 h 6196856"/>
                <a:gd name="connsiteX124" fmla="*/ 2470662 w 4505325"/>
                <a:gd name="connsiteY124" fmla="*/ 588728 h 6196856"/>
                <a:gd name="connsiteX125" fmla="*/ 1062748 w 4505325"/>
                <a:gd name="connsiteY125" fmla="*/ 1031791 h 6196856"/>
                <a:gd name="connsiteX126" fmla="*/ 484444 w 4505325"/>
                <a:gd name="connsiteY126" fmla="*/ 2594649 h 6196856"/>
                <a:gd name="connsiteX127" fmla="*/ 984026 w 4505325"/>
                <a:gd name="connsiteY127" fmla="*/ 3629474 h 6196856"/>
                <a:gd name="connsiteX128" fmla="*/ 1102109 w 4505325"/>
                <a:gd name="connsiteY128" fmla="*/ 3626439 h 6196856"/>
                <a:gd name="connsiteX129" fmla="*/ 1404886 w 4505325"/>
                <a:gd name="connsiteY129" fmla="*/ 3319937 h 6196856"/>
                <a:gd name="connsiteX130" fmla="*/ 1843913 w 4505325"/>
                <a:gd name="connsiteY130" fmla="*/ 3213723 h 6196856"/>
                <a:gd name="connsiteX131" fmla="*/ 2128524 w 4505325"/>
                <a:gd name="connsiteY131" fmla="*/ 3556642 h 6196856"/>
                <a:gd name="connsiteX132" fmla="*/ 2077052 w 4505325"/>
                <a:gd name="connsiteY132" fmla="*/ 3832797 h 6196856"/>
                <a:gd name="connsiteX133" fmla="*/ 1949885 w 4505325"/>
                <a:gd name="connsiteY133" fmla="*/ 4087710 h 6196856"/>
                <a:gd name="connsiteX134" fmla="*/ 1980163 w 4505325"/>
                <a:gd name="connsiteY134" fmla="*/ 4142334 h 6196856"/>
                <a:gd name="connsiteX135" fmla="*/ 2382857 w 4505325"/>
                <a:gd name="connsiteY135" fmla="*/ 4154473 h 6196856"/>
                <a:gd name="connsiteX136" fmla="*/ 2446440 w 4505325"/>
                <a:gd name="connsiteY136" fmla="*/ 4212132 h 6196856"/>
                <a:gd name="connsiteX137" fmla="*/ 2446440 w 4505325"/>
                <a:gd name="connsiteY137" fmla="*/ 5638431 h 6196856"/>
                <a:gd name="connsiteX138" fmla="*/ 2364690 w 4505325"/>
                <a:gd name="connsiteY138" fmla="*/ 5696090 h 6196856"/>
                <a:gd name="connsiteX139" fmla="*/ 850804 w 4505325"/>
                <a:gd name="connsiteY139" fmla="*/ 5696090 h 6196856"/>
                <a:gd name="connsiteX140" fmla="*/ 172583 w 4505325"/>
                <a:gd name="connsiteY140" fmla="*/ 5696090 h 6196856"/>
                <a:gd name="connsiteX141" fmla="*/ 0 w 4505325"/>
                <a:gd name="connsiteY141" fmla="*/ 5532217 h 6196856"/>
                <a:gd name="connsiteX142" fmla="*/ 0 w 4505325"/>
                <a:gd name="connsiteY142" fmla="*/ 5465454 h 6196856"/>
                <a:gd name="connsiteX143" fmla="*/ 0 w 4505325"/>
                <a:gd name="connsiteY143" fmla="*/ 2855631 h 6196856"/>
                <a:gd name="connsiteX144" fmla="*/ 0 w 4505325"/>
                <a:gd name="connsiteY144" fmla="*/ 233670 h 6196856"/>
                <a:gd name="connsiteX145" fmla="*/ 6056 w 4505325"/>
                <a:gd name="connsiteY145" fmla="*/ 136561 h 6196856"/>
                <a:gd name="connsiteX146" fmla="*/ 160472 w 4505325"/>
                <a:gd name="connsiteY146" fmla="*/ 0 h 619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4505325" h="6196856">
                  <a:moveTo>
                    <a:pt x="793750" y="4673599"/>
                  </a:moveTo>
                  <a:cubicBezTo>
                    <a:pt x="920877" y="4673599"/>
                    <a:pt x="1020763" y="4780003"/>
                    <a:pt x="1020763" y="4910728"/>
                  </a:cubicBezTo>
                  <a:cubicBezTo>
                    <a:pt x="1017736" y="5035373"/>
                    <a:pt x="914824" y="5138737"/>
                    <a:pt x="790723" y="5138737"/>
                  </a:cubicBezTo>
                  <a:cubicBezTo>
                    <a:pt x="663596" y="5135697"/>
                    <a:pt x="566738" y="5032333"/>
                    <a:pt x="566738" y="4901608"/>
                  </a:cubicBezTo>
                  <a:cubicBezTo>
                    <a:pt x="569765" y="4773923"/>
                    <a:pt x="666623" y="4673599"/>
                    <a:pt x="793750" y="4673599"/>
                  </a:cubicBezTo>
                  <a:close/>
                  <a:moveTo>
                    <a:pt x="3576927" y="3961027"/>
                  </a:moveTo>
                  <a:cubicBezTo>
                    <a:pt x="3423637" y="3961740"/>
                    <a:pt x="3272051" y="3981694"/>
                    <a:pt x="3122168" y="4027304"/>
                  </a:cubicBezTo>
                  <a:cubicBezTo>
                    <a:pt x="3085832" y="4039467"/>
                    <a:pt x="3049497" y="4054670"/>
                    <a:pt x="3019218" y="4075955"/>
                  </a:cubicBezTo>
                  <a:cubicBezTo>
                    <a:pt x="2949575" y="4121565"/>
                    <a:pt x="2949575" y="4182379"/>
                    <a:pt x="3019218" y="4231030"/>
                  </a:cubicBezTo>
                  <a:cubicBezTo>
                    <a:pt x="3058581" y="4258396"/>
                    <a:pt x="3100972" y="4273599"/>
                    <a:pt x="3146391" y="4288802"/>
                  </a:cubicBezTo>
                  <a:cubicBezTo>
                    <a:pt x="3291732" y="4331372"/>
                    <a:pt x="3440101" y="4343535"/>
                    <a:pt x="3585442" y="4346575"/>
                  </a:cubicBezTo>
                  <a:cubicBezTo>
                    <a:pt x="3736840" y="4343535"/>
                    <a:pt x="3882181" y="4331372"/>
                    <a:pt x="4024494" y="4288802"/>
                  </a:cubicBezTo>
                  <a:cubicBezTo>
                    <a:pt x="4082025" y="4273599"/>
                    <a:pt x="4136528" y="4252314"/>
                    <a:pt x="4181947" y="4215826"/>
                  </a:cubicBezTo>
                  <a:cubicBezTo>
                    <a:pt x="4224338" y="4179338"/>
                    <a:pt x="4224338" y="4133728"/>
                    <a:pt x="4184975" y="4094199"/>
                  </a:cubicBezTo>
                  <a:cubicBezTo>
                    <a:pt x="4151667" y="4063792"/>
                    <a:pt x="4112304" y="4045548"/>
                    <a:pt x="4069913" y="4030345"/>
                  </a:cubicBezTo>
                  <a:cubicBezTo>
                    <a:pt x="3960907" y="3993857"/>
                    <a:pt x="3845845" y="3978653"/>
                    <a:pt x="3730784" y="3966491"/>
                  </a:cubicBezTo>
                  <a:cubicBezTo>
                    <a:pt x="3679309" y="3962690"/>
                    <a:pt x="3628023" y="3960789"/>
                    <a:pt x="3576927" y="3961027"/>
                  </a:cubicBezTo>
                  <a:close/>
                  <a:moveTo>
                    <a:pt x="3680600" y="3833868"/>
                  </a:moveTo>
                  <a:cubicBezTo>
                    <a:pt x="3816547" y="3839179"/>
                    <a:pt x="3951358" y="3858903"/>
                    <a:pt x="4084654" y="3896835"/>
                  </a:cubicBezTo>
                  <a:cubicBezTo>
                    <a:pt x="4184626" y="3924145"/>
                    <a:pt x="4275510" y="3963594"/>
                    <a:pt x="4360335" y="4021250"/>
                  </a:cubicBezTo>
                  <a:cubicBezTo>
                    <a:pt x="4439101" y="4072836"/>
                    <a:pt x="4481513" y="4148699"/>
                    <a:pt x="4481513" y="4245804"/>
                  </a:cubicBezTo>
                  <a:cubicBezTo>
                    <a:pt x="4478484" y="4761671"/>
                    <a:pt x="4481513" y="5280573"/>
                    <a:pt x="4481513" y="5796440"/>
                  </a:cubicBezTo>
                  <a:cubicBezTo>
                    <a:pt x="4481513" y="5884441"/>
                    <a:pt x="4448189" y="5954234"/>
                    <a:pt x="4375482" y="6005821"/>
                  </a:cubicBezTo>
                  <a:cubicBezTo>
                    <a:pt x="4251274" y="6093822"/>
                    <a:pt x="4111919" y="6136305"/>
                    <a:pt x="3966505" y="6160581"/>
                  </a:cubicBezTo>
                  <a:cubicBezTo>
                    <a:pt x="3645383" y="6218237"/>
                    <a:pt x="3327290" y="6212168"/>
                    <a:pt x="3015256" y="6105960"/>
                  </a:cubicBezTo>
                  <a:cubicBezTo>
                    <a:pt x="2945579" y="6084719"/>
                    <a:pt x="2881960" y="6051339"/>
                    <a:pt x="2821371" y="6011890"/>
                  </a:cubicBezTo>
                  <a:cubicBezTo>
                    <a:pt x="2739576" y="5954234"/>
                    <a:pt x="2697163" y="5881406"/>
                    <a:pt x="2700193" y="5781267"/>
                  </a:cubicBezTo>
                  <a:cubicBezTo>
                    <a:pt x="2703222" y="5523334"/>
                    <a:pt x="2700193" y="5268435"/>
                    <a:pt x="2700193" y="5010501"/>
                  </a:cubicBezTo>
                  <a:cubicBezTo>
                    <a:pt x="2700193" y="4758636"/>
                    <a:pt x="2703222" y="4509806"/>
                    <a:pt x="2700193" y="4257942"/>
                  </a:cubicBezTo>
                  <a:cubicBezTo>
                    <a:pt x="2697163" y="4127458"/>
                    <a:pt x="2754723" y="4045526"/>
                    <a:pt x="2863783" y="3984835"/>
                  </a:cubicBezTo>
                  <a:cubicBezTo>
                    <a:pt x="2991021" y="3918076"/>
                    <a:pt x="3127346" y="3875593"/>
                    <a:pt x="3269730" y="3857386"/>
                  </a:cubicBezTo>
                  <a:cubicBezTo>
                    <a:pt x="3407571" y="3837662"/>
                    <a:pt x="3544654" y="3828558"/>
                    <a:pt x="3680600" y="3833868"/>
                  </a:cubicBezTo>
                  <a:close/>
                  <a:moveTo>
                    <a:pt x="1716814" y="3356112"/>
                  </a:moveTo>
                  <a:cubicBezTo>
                    <a:pt x="1645510" y="3351844"/>
                    <a:pt x="1580172" y="3380872"/>
                    <a:pt x="1523356" y="3435514"/>
                  </a:cubicBezTo>
                  <a:cubicBezTo>
                    <a:pt x="1368818" y="3590333"/>
                    <a:pt x="1217310" y="3751223"/>
                    <a:pt x="1059741" y="3909078"/>
                  </a:cubicBezTo>
                  <a:cubicBezTo>
                    <a:pt x="862780" y="4109432"/>
                    <a:pt x="662789" y="4309786"/>
                    <a:pt x="462798" y="4510140"/>
                  </a:cubicBezTo>
                  <a:cubicBezTo>
                    <a:pt x="356742" y="4619424"/>
                    <a:pt x="280988" y="4743886"/>
                    <a:pt x="287049" y="4904777"/>
                  </a:cubicBezTo>
                  <a:cubicBezTo>
                    <a:pt x="290079" y="4941205"/>
                    <a:pt x="290079" y="4980668"/>
                    <a:pt x="299169" y="5017096"/>
                  </a:cubicBezTo>
                  <a:cubicBezTo>
                    <a:pt x="341592" y="5217450"/>
                    <a:pt x="517341" y="5387448"/>
                    <a:pt x="711272" y="5411733"/>
                  </a:cubicBezTo>
                  <a:cubicBezTo>
                    <a:pt x="935504" y="5445125"/>
                    <a:pt x="1144586" y="5338877"/>
                    <a:pt x="1244581" y="5138523"/>
                  </a:cubicBezTo>
                  <a:cubicBezTo>
                    <a:pt x="1468813" y="4689244"/>
                    <a:pt x="1693046" y="4239966"/>
                    <a:pt x="1917278" y="3790687"/>
                  </a:cubicBezTo>
                  <a:cubicBezTo>
                    <a:pt x="1929399" y="3763366"/>
                    <a:pt x="1941519" y="3736045"/>
                    <a:pt x="1953640" y="3708724"/>
                  </a:cubicBezTo>
                  <a:cubicBezTo>
                    <a:pt x="1965761" y="3669260"/>
                    <a:pt x="1974851" y="3626761"/>
                    <a:pt x="1968791" y="3584262"/>
                  </a:cubicBezTo>
                  <a:cubicBezTo>
                    <a:pt x="1950610" y="3478013"/>
                    <a:pt x="1890007" y="3405157"/>
                    <a:pt x="1790011" y="3371765"/>
                  </a:cubicBezTo>
                  <a:cubicBezTo>
                    <a:pt x="1765012" y="3362658"/>
                    <a:pt x="1740582" y="3357535"/>
                    <a:pt x="1716814" y="3356112"/>
                  </a:cubicBezTo>
                  <a:close/>
                  <a:moveTo>
                    <a:pt x="2258859" y="2735111"/>
                  </a:moveTo>
                  <a:cubicBezTo>
                    <a:pt x="2307201" y="2735111"/>
                    <a:pt x="2349500" y="2783492"/>
                    <a:pt x="2346479" y="2831873"/>
                  </a:cubicBezTo>
                  <a:cubicBezTo>
                    <a:pt x="2346479" y="2877230"/>
                    <a:pt x="2301158" y="2922587"/>
                    <a:pt x="2252816" y="2919564"/>
                  </a:cubicBezTo>
                  <a:cubicBezTo>
                    <a:pt x="2201453" y="2919564"/>
                    <a:pt x="2162175" y="2877230"/>
                    <a:pt x="2162175" y="2828849"/>
                  </a:cubicBezTo>
                  <a:cubicBezTo>
                    <a:pt x="2162175" y="2774420"/>
                    <a:pt x="2207496" y="2732087"/>
                    <a:pt x="2258859" y="2735111"/>
                  </a:cubicBezTo>
                  <a:close/>
                  <a:moveTo>
                    <a:pt x="1932066" y="2600194"/>
                  </a:moveTo>
                  <a:cubicBezTo>
                    <a:pt x="1980367" y="2597150"/>
                    <a:pt x="2022631" y="2636733"/>
                    <a:pt x="2025650" y="2688496"/>
                  </a:cubicBezTo>
                  <a:cubicBezTo>
                    <a:pt x="2025650" y="2743304"/>
                    <a:pt x="1989424" y="2782887"/>
                    <a:pt x="1935085" y="2782887"/>
                  </a:cubicBezTo>
                  <a:cubicBezTo>
                    <a:pt x="1883764" y="2782887"/>
                    <a:pt x="1841500" y="2746349"/>
                    <a:pt x="1841500" y="2694586"/>
                  </a:cubicBezTo>
                  <a:cubicBezTo>
                    <a:pt x="1841500" y="2642822"/>
                    <a:pt x="1880745" y="2600194"/>
                    <a:pt x="1932066" y="2600194"/>
                  </a:cubicBezTo>
                  <a:close/>
                  <a:moveTo>
                    <a:pt x="2573338" y="2597149"/>
                  </a:moveTo>
                  <a:cubicBezTo>
                    <a:pt x="2624701" y="2597149"/>
                    <a:pt x="2663979" y="2639807"/>
                    <a:pt x="2663979" y="2691606"/>
                  </a:cubicBezTo>
                  <a:cubicBezTo>
                    <a:pt x="2667000" y="2746452"/>
                    <a:pt x="2627722" y="2786062"/>
                    <a:pt x="2570316" y="2783015"/>
                  </a:cubicBezTo>
                  <a:cubicBezTo>
                    <a:pt x="2515932" y="2783015"/>
                    <a:pt x="2479675" y="2743405"/>
                    <a:pt x="2482697" y="2688559"/>
                  </a:cubicBezTo>
                  <a:cubicBezTo>
                    <a:pt x="2482697" y="2639807"/>
                    <a:pt x="2524996" y="2597149"/>
                    <a:pt x="2573338" y="2597149"/>
                  </a:cubicBezTo>
                  <a:close/>
                  <a:moveTo>
                    <a:pt x="2706766" y="2276474"/>
                  </a:moveTo>
                  <a:cubicBezTo>
                    <a:pt x="2758086" y="2276474"/>
                    <a:pt x="2797331" y="2315752"/>
                    <a:pt x="2797331" y="2367115"/>
                  </a:cubicBezTo>
                  <a:cubicBezTo>
                    <a:pt x="2800350" y="2421500"/>
                    <a:pt x="2755067" y="2463799"/>
                    <a:pt x="2703747" y="2460778"/>
                  </a:cubicBezTo>
                  <a:cubicBezTo>
                    <a:pt x="2652426" y="2460778"/>
                    <a:pt x="2616200" y="2418479"/>
                    <a:pt x="2616200" y="2367115"/>
                  </a:cubicBezTo>
                  <a:cubicBezTo>
                    <a:pt x="2616200" y="2315752"/>
                    <a:pt x="2655445" y="2276474"/>
                    <a:pt x="2706766" y="2276474"/>
                  </a:cubicBezTo>
                  <a:close/>
                  <a:moveTo>
                    <a:pt x="1798715" y="2273299"/>
                  </a:moveTo>
                  <a:cubicBezTo>
                    <a:pt x="1847017" y="2273299"/>
                    <a:pt x="1889281" y="2315598"/>
                    <a:pt x="1889281" y="2363940"/>
                  </a:cubicBezTo>
                  <a:cubicBezTo>
                    <a:pt x="1892300" y="2418325"/>
                    <a:pt x="1853055" y="2460624"/>
                    <a:pt x="1801734" y="2460624"/>
                  </a:cubicBezTo>
                  <a:cubicBezTo>
                    <a:pt x="1753433" y="2460624"/>
                    <a:pt x="1708150" y="2418325"/>
                    <a:pt x="1708150" y="2369983"/>
                  </a:cubicBezTo>
                  <a:cubicBezTo>
                    <a:pt x="1708150" y="2318619"/>
                    <a:pt x="1747395" y="2276320"/>
                    <a:pt x="1798715" y="2273299"/>
                  </a:cubicBezTo>
                  <a:close/>
                  <a:moveTo>
                    <a:pt x="2249633" y="2100263"/>
                  </a:moveTo>
                  <a:cubicBezTo>
                    <a:pt x="2395105" y="2100263"/>
                    <a:pt x="2519363" y="2221522"/>
                    <a:pt x="2519363" y="2364002"/>
                  </a:cubicBezTo>
                  <a:cubicBezTo>
                    <a:pt x="2519363" y="2509514"/>
                    <a:pt x="2398136" y="2633806"/>
                    <a:pt x="2255694" y="2636838"/>
                  </a:cubicBezTo>
                  <a:cubicBezTo>
                    <a:pt x="2116283" y="2636838"/>
                    <a:pt x="1988994" y="2515577"/>
                    <a:pt x="1985963" y="2370066"/>
                  </a:cubicBezTo>
                  <a:cubicBezTo>
                    <a:pt x="1985963" y="2227585"/>
                    <a:pt x="2107191" y="2100263"/>
                    <a:pt x="2249633" y="2100263"/>
                  </a:cubicBezTo>
                  <a:close/>
                  <a:moveTo>
                    <a:pt x="2570316" y="1954212"/>
                  </a:moveTo>
                  <a:cubicBezTo>
                    <a:pt x="2624701" y="1954212"/>
                    <a:pt x="2663979" y="1987706"/>
                    <a:pt x="2663979" y="2039469"/>
                  </a:cubicBezTo>
                  <a:cubicBezTo>
                    <a:pt x="2667000" y="2094277"/>
                    <a:pt x="2624701" y="2139950"/>
                    <a:pt x="2573338" y="2139950"/>
                  </a:cubicBezTo>
                  <a:cubicBezTo>
                    <a:pt x="2524996" y="2139950"/>
                    <a:pt x="2482697" y="2097321"/>
                    <a:pt x="2482697" y="2045559"/>
                  </a:cubicBezTo>
                  <a:cubicBezTo>
                    <a:pt x="2479675" y="1993796"/>
                    <a:pt x="2515932" y="1954212"/>
                    <a:pt x="2570316" y="1954212"/>
                  </a:cubicBezTo>
                  <a:close/>
                  <a:moveTo>
                    <a:pt x="1932066" y="1954212"/>
                  </a:moveTo>
                  <a:cubicBezTo>
                    <a:pt x="1989424" y="1954212"/>
                    <a:pt x="2025650" y="1990751"/>
                    <a:pt x="2025650" y="2045558"/>
                  </a:cubicBezTo>
                  <a:cubicBezTo>
                    <a:pt x="2022631" y="2097321"/>
                    <a:pt x="1983386" y="2139950"/>
                    <a:pt x="1935085" y="2139950"/>
                  </a:cubicBezTo>
                  <a:cubicBezTo>
                    <a:pt x="1883764" y="2136905"/>
                    <a:pt x="1841500" y="2094277"/>
                    <a:pt x="1841500" y="2045558"/>
                  </a:cubicBezTo>
                  <a:cubicBezTo>
                    <a:pt x="1841500" y="1993795"/>
                    <a:pt x="1880745" y="1954212"/>
                    <a:pt x="1932066" y="1954212"/>
                  </a:cubicBezTo>
                  <a:close/>
                  <a:moveTo>
                    <a:pt x="2252741" y="1817687"/>
                  </a:moveTo>
                  <a:cubicBezTo>
                    <a:pt x="2301042" y="1817687"/>
                    <a:pt x="2346325" y="1860345"/>
                    <a:pt x="2346325" y="1909097"/>
                  </a:cubicBezTo>
                  <a:cubicBezTo>
                    <a:pt x="2346325" y="1960896"/>
                    <a:pt x="2301042" y="2006600"/>
                    <a:pt x="2252741" y="2006600"/>
                  </a:cubicBezTo>
                  <a:cubicBezTo>
                    <a:pt x="2201420" y="2003553"/>
                    <a:pt x="2162175" y="1960896"/>
                    <a:pt x="2162175" y="1909097"/>
                  </a:cubicBezTo>
                  <a:cubicBezTo>
                    <a:pt x="2162175" y="1857298"/>
                    <a:pt x="2204439" y="1817687"/>
                    <a:pt x="2252741" y="1817687"/>
                  </a:cubicBezTo>
                  <a:close/>
                  <a:moveTo>
                    <a:pt x="2258725" y="1690688"/>
                  </a:moveTo>
                  <a:cubicBezTo>
                    <a:pt x="1888981" y="1690688"/>
                    <a:pt x="1588944" y="1993950"/>
                    <a:pt x="1585913" y="2363931"/>
                  </a:cubicBezTo>
                  <a:cubicBezTo>
                    <a:pt x="1585913" y="2727844"/>
                    <a:pt x="1864736" y="3040206"/>
                    <a:pt x="2255694" y="3043237"/>
                  </a:cubicBezTo>
                  <a:cubicBezTo>
                    <a:pt x="2628468" y="3043237"/>
                    <a:pt x="2919413" y="2743007"/>
                    <a:pt x="2919413" y="2366963"/>
                  </a:cubicBezTo>
                  <a:cubicBezTo>
                    <a:pt x="2919413" y="1993950"/>
                    <a:pt x="2622406" y="1693721"/>
                    <a:pt x="2258725" y="1690688"/>
                  </a:cubicBezTo>
                  <a:close/>
                  <a:moveTo>
                    <a:pt x="2240903" y="1517650"/>
                  </a:moveTo>
                  <a:cubicBezTo>
                    <a:pt x="2707428" y="1517650"/>
                    <a:pt x="3080042" y="1897130"/>
                    <a:pt x="3080042" y="2367686"/>
                  </a:cubicBezTo>
                  <a:cubicBezTo>
                    <a:pt x="3086101" y="2807884"/>
                    <a:pt x="2737722" y="3214687"/>
                    <a:pt x="2243932" y="3214687"/>
                  </a:cubicBezTo>
                  <a:cubicBezTo>
                    <a:pt x="1753172" y="3214687"/>
                    <a:pt x="1404793" y="2813956"/>
                    <a:pt x="1404793" y="2367686"/>
                  </a:cubicBezTo>
                  <a:cubicBezTo>
                    <a:pt x="1401763" y="1903202"/>
                    <a:pt x="1783466" y="1520686"/>
                    <a:pt x="2240903" y="1517650"/>
                  </a:cubicBezTo>
                  <a:close/>
                  <a:moveTo>
                    <a:pt x="4171950" y="150679"/>
                  </a:moveTo>
                  <a:cubicBezTo>
                    <a:pt x="4108527" y="150679"/>
                    <a:pt x="4051145" y="208461"/>
                    <a:pt x="4051145" y="272324"/>
                  </a:cubicBezTo>
                  <a:cubicBezTo>
                    <a:pt x="4048125" y="336188"/>
                    <a:pt x="4108527" y="397010"/>
                    <a:pt x="4171950" y="400051"/>
                  </a:cubicBezTo>
                  <a:cubicBezTo>
                    <a:pt x="4235373" y="400051"/>
                    <a:pt x="4295775" y="336188"/>
                    <a:pt x="4295775" y="272324"/>
                  </a:cubicBezTo>
                  <a:cubicBezTo>
                    <a:pt x="4295775" y="208461"/>
                    <a:pt x="4232352" y="147638"/>
                    <a:pt x="4171950" y="150679"/>
                  </a:cubicBezTo>
                  <a:close/>
                  <a:moveTo>
                    <a:pt x="312083" y="150679"/>
                  </a:moveTo>
                  <a:cubicBezTo>
                    <a:pt x="248325" y="147638"/>
                    <a:pt x="193675" y="208461"/>
                    <a:pt x="193675" y="275365"/>
                  </a:cubicBezTo>
                  <a:cubicBezTo>
                    <a:pt x="193675" y="342270"/>
                    <a:pt x="248325" y="397010"/>
                    <a:pt x="312083" y="400051"/>
                  </a:cubicBezTo>
                  <a:cubicBezTo>
                    <a:pt x="375841" y="400051"/>
                    <a:pt x="433527" y="339229"/>
                    <a:pt x="436563" y="275365"/>
                  </a:cubicBezTo>
                  <a:cubicBezTo>
                    <a:pt x="436563" y="208461"/>
                    <a:pt x="378877" y="150679"/>
                    <a:pt x="312083" y="150679"/>
                  </a:cubicBezTo>
                  <a:close/>
                  <a:moveTo>
                    <a:pt x="160472" y="0"/>
                  </a:moveTo>
                  <a:cubicBezTo>
                    <a:pt x="175611" y="0"/>
                    <a:pt x="190750" y="0"/>
                    <a:pt x="208917" y="0"/>
                  </a:cubicBezTo>
                  <a:cubicBezTo>
                    <a:pt x="1568386" y="0"/>
                    <a:pt x="2930884" y="0"/>
                    <a:pt x="4293381" y="0"/>
                  </a:cubicBezTo>
                  <a:cubicBezTo>
                    <a:pt x="4317603" y="0"/>
                    <a:pt x="4338798" y="0"/>
                    <a:pt x="4359992" y="3035"/>
                  </a:cubicBezTo>
                  <a:cubicBezTo>
                    <a:pt x="4432658" y="9104"/>
                    <a:pt x="4484130" y="54624"/>
                    <a:pt x="4499270" y="124422"/>
                  </a:cubicBezTo>
                  <a:cubicBezTo>
                    <a:pt x="4505325" y="154769"/>
                    <a:pt x="4505325" y="185115"/>
                    <a:pt x="4505325" y="215462"/>
                  </a:cubicBezTo>
                  <a:cubicBezTo>
                    <a:pt x="4505325" y="1374709"/>
                    <a:pt x="4505325" y="2533956"/>
                    <a:pt x="4505325" y="3693202"/>
                  </a:cubicBezTo>
                  <a:cubicBezTo>
                    <a:pt x="4505325" y="3699271"/>
                    <a:pt x="4505325" y="3705341"/>
                    <a:pt x="4505325" y="3711410"/>
                  </a:cubicBezTo>
                  <a:cubicBezTo>
                    <a:pt x="4505325" y="3793346"/>
                    <a:pt x="4505325" y="3793346"/>
                    <a:pt x="4429630" y="3753896"/>
                  </a:cubicBezTo>
                  <a:cubicBezTo>
                    <a:pt x="4190437" y="3623404"/>
                    <a:pt x="3930048" y="3574850"/>
                    <a:pt x="3660576" y="3568780"/>
                  </a:cubicBezTo>
                  <a:cubicBezTo>
                    <a:pt x="3636354" y="3568780"/>
                    <a:pt x="3600021" y="3583954"/>
                    <a:pt x="3587910" y="3556642"/>
                  </a:cubicBezTo>
                  <a:cubicBezTo>
                    <a:pt x="3572771" y="3529329"/>
                    <a:pt x="3609104" y="3508087"/>
                    <a:pt x="3627271" y="3489879"/>
                  </a:cubicBezTo>
                  <a:cubicBezTo>
                    <a:pt x="3851326" y="3204619"/>
                    <a:pt x="3981520" y="2885978"/>
                    <a:pt x="4008770" y="2521816"/>
                  </a:cubicBezTo>
                  <a:cubicBezTo>
                    <a:pt x="4057215" y="1920950"/>
                    <a:pt x="3851326" y="1414160"/>
                    <a:pt x="3406244" y="1010548"/>
                  </a:cubicBezTo>
                  <a:cubicBezTo>
                    <a:pt x="3139800" y="770808"/>
                    <a:pt x="2824912" y="631213"/>
                    <a:pt x="2470662" y="588728"/>
                  </a:cubicBezTo>
                  <a:cubicBezTo>
                    <a:pt x="1934747" y="524999"/>
                    <a:pt x="1462414" y="667629"/>
                    <a:pt x="1062748" y="1031791"/>
                  </a:cubicBezTo>
                  <a:cubicBezTo>
                    <a:pt x="602527" y="1450576"/>
                    <a:pt x="417833" y="1978610"/>
                    <a:pt x="484444" y="2594649"/>
                  </a:cubicBezTo>
                  <a:cubicBezTo>
                    <a:pt x="529860" y="2995227"/>
                    <a:pt x="702443" y="3341179"/>
                    <a:pt x="984026" y="3629474"/>
                  </a:cubicBezTo>
                  <a:cubicBezTo>
                    <a:pt x="1041554" y="3687133"/>
                    <a:pt x="1041554" y="3687133"/>
                    <a:pt x="1102109" y="3626439"/>
                  </a:cubicBezTo>
                  <a:cubicBezTo>
                    <a:pt x="1202026" y="3523260"/>
                    <a:pt x="1301942" y="3420081"/>
                    <a:pt x="1404886" y="3319937"/>
                  </a:cubicBezTo>
                  <a:cubicBezTo>
                    <a:pt x="1529025" y="3201584"/>
                    <a:pt x="1677386" y="3159099"/>
                    <a:pt x="1843913" y="3213723"/>
                  </a:cubicBezTo>
                  <a:cubicBezTo>
                    <a:pt x="2007413" y="3271382"/>
                    <a:pt x="2095219" y="3392769"/>
                    <a:pt x="2128524" y="3556642"/>
                  </a:cubicBezTo>
                  <a:cubicBezTo>
                    <a:pt x="2146691" y="3653751"/>
                    <a:pt x="2119441" y="3747826"/>
                    <a:pt x="2077052" y="3832797"/>
                  </a:cubicBezTo>
                  <a:cubicBezTo>
                    <a:pt x="2037691" y="3920803"/>
                    <a:pt x="1995302" y="4005774"/>
                    <a:pt x="1949885" y="4087710"/>
                  </a:cubicBezTo>
                  <a:cubicBezTo>
                    <a:pt x="1931719" y="4124126"/>
                    <a:pt x="1937774" y="4136265"/>
                    <a:pt x="1980163" y="4142334"/>
                  </a:cubicBezTo>
                  <a:cubicBezTo>
                    <a:pt x="2113385" y="4157508"/>
                    <a:pt x="2249635" y="4175716"/>
                    <a:pt x="2382857" y="4154473"/>
                  </a:cubicBezTo>
                  <a:cubicBezTo>
                    <a:pt x="2428273" y="4148404"/>
                    <a:pt x="2446440" y="4166612"/>
                    <a:pt x="2446440" y="4212132"/>
                  </a:cubicBezTo>
                  <a:cubicBezTo>
                    <a:pt x="2446440" y="4685542"/>
                    <a:pt x="2443412" y="5161986"/>
                    <a:pt x="2446440" y="5638431"/>
                  </a:cubicBezTo>
                  <a:cubicBezTo>
                    <a:pt x="2446440" y="5699124"/>
                    <a:pt x="2410107" y="5696090"/>
                    <a:pt x="2364690" y="5696090"/>
                  </a:cubicBezTo>
                  <a:cubicBezTo>
                    <a:pt x="1862080" y="5696090"/>
                    <a:pt x="1356442" y="5696090"/>
                    <a:pt x="850804" y="5696090"/>
                  </a:cubicBezTo>
                  <a:cubicBezTo>
                    <a:pt x="626749" y="5696090"/>
                    <a:pt x="399666" y="5696090"/>
                    <a:pt x="172583" y="5696090"/>
                  </a:cubicBezTo>
                  <a:cubicBezTo>
                    <a:pt x="63583" y="5696090"/>
                    <a:pt x="6056" y="5641465"/>
                    <a:pt x="0" y="5532217"/>
                  </a:cubicBezTo>
                  <a:cubicBezTo>
                    <a:pt x="0" y="5507940"/>
                    <a:pt x="0" y="5486697"/>
                    <a:pt x="0" y="5465454"/>
                  </a:cubicBezTo>
                  <a:cubicBezTo>
                    <a:pt x="0" y="4594502"/>
                    <a:pt x="0" y="3723549"/>
                    <a:pt x="0" y="2855631"/>
                  </a:cubicBezTo>
                  <a:cubicBezTo>
                    <a:pt x="0" y="1981645"/>
                    <a:pt x="0" y="1107658"/>
                    <a:pt x="0" y="233670"/>
                  </a:cubicBezTo>
                  <a:cubicBezTo>
                    <a:pt x="0" y="200289"/>
                    <a:pt x="0" y="166907"/>
                    <a:pt x="6056" y="136561"/>
                  </a:cubicBezTo>
                  <a:cubicBezTo>
                    <a:pt x="21195" y="48555"/>
                    <a:pt x="72667" y="6069"/>
                    <a:pt x="160472"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11" name="Freeform 70">
              <a:extLst>
                <a:ext uri="{FF2B5EF4-FFF2-40B4-BE49-F238E27FC236}">
                  <a16:creationId xmlns:a16="http://schemas.microsoft.com/office/drawing/2014/main" id="{F01897CC-C96A-4EFB-B92A-4F34A50EF460}"/>
                </a:ext>
              </a:extLst>
            </p:cNvPr>
            <p:cNvSpPr/>
            <p:nvPr/>
          </p:nvSpPr>
          <p:spPr bwMode="auto">
            <a:xfrm>
              <a:off x="7593703" y="3183496"/>
              <a:ext cx="527121" cy="667277"/>
            </a:xfrm>
            <a:custGeom>
              <a:avLst/>
              <a:gdLst>
                <a:gd name="connsiteX0" fmla="*/ 4532384 w 4895850"/>
                <a:gd name="connsiteY0" fmla="*/ 5724525 h 6197600"/>
                <a:gd name="connsiteX1" fmla="*/ 4398963 w 4895850"/>
                <a:gd name="connsiteY1" fmla="*/ 5854773 h 6197600"/>
                <a:gd name="connsiteX2" fmla="*/ 4532384 w 4895850"/>
                <a:gd name="connsiteY2" fmla="*/ 5988050 h 6197600"/>
                <a:gd name="connsiteX3" fmla="*/ 4668838 w 4895850"/>
                <a:gd name="connsiteY3" fmla="*/ 5857802 h 6197600"/>
                <a:gd name="connsiteX4" fmla="*/ 4532384 w 4895850"/>
                <a:gd name="connsiteY4" fmla="*/ 5724525 h 6197600"/>
                <a:gd name="connsiteX5" fmla="*/ 1858333 w 4895850"/>
                <a:gd name="connsiteY5" fmla="*/ 3651391 h 6197600"/>
                <a:gd name="connsiteX6" fmla="*/ 1638052 w 4895850"/>
                <a:gd name="connsiteY6" fmla="*/ 3750101 h 6197600"/>
                <a:gd name="connsiteX7" fmla="*/ 1292869 w 4895850"/>
                <a:gd name="connsiteY7" fmla="*/ 4105458 h 6197600"/>
                <a:gd name="connsiteX8" fmla="*/ 466248 w 4895850"/>
                <a:gd name="connsiteY8" fmla="*/ 4949809 h 6197600"/>
                <a:gd name="connsiteX9" fmla="*/ 360271 w 4895850"/>
                <a:gd name="connsiteY9" fmla="*/ 5566367 h 6197600"/>
                <a:gd name="connsiteX10" fmla="*/ 796291 w 4895850"/>
                <a:gd name="connsiteY10" fmla="*/ 5894388 h 6197600"/>
                <a:gd name="connsiteX11" fmla="*/ 1350400 w 4895850"/>
                <a:gd name="connsiteY11" fmla="*/ 5587628 h 6197600"/>
                <a:gd name="connsiteX12" fmla="*/ 2086183 w 4895850"/>
                <a:gd name="connsiteY12" fmla="*/ 4111532 h 6197600"/>
                <a:gd name="connsiteX13" fmla="*/ 2122518 w 4895850"/>
                <a:gd name="connsiteY13" fmla="*/ 4020415 h 6197600"/>
                <a:gd name="connsiteX14" fmla="*/ 2064988 w 4895850"/>
                <a:gd name="connsiteY14" fmla="*/ 3744027 h 6197600"/>
                <a:gd name="connsiteX15" fmla="*/ 1858333 w 4895850"/>
                <a:gd name="connsiteY15" fmla="*/ 3651391 h 6197600"/>
                <a:gd name="connsiteX16" fmla="*/ 2443307 w 4895850"/>
                <a:gd name="connsiteY16" fmla="*/ 2976563 h 6197600"/>
                <a:gd name="connsiteX17" fmla="*/ 2546350 w 4895850"/>
                <a:gd name="connsiteY17" fmla="*/ 3073614 h 6197600"/>
                <a:gd name="connsiteX18" fmla="*/ 2446338 w 4895850"/>
                <a:gd name="connsiteY18" fmla="*/ 3176730 h 6197600"/>
                <a:gd name="connsiteX19" fmla="*/ 2349356 w 4895850"/>
                <a:gd name="connsiteY19" fmla="*/ 3076647 h 6197600"/>
                <a:gd name="connsiteX20" fmla="*/ 2443307 w 4895850"/>
                <a:gd name="connsiteY20" fmla="*/ 2976563 h 6197600"/>
                <a:gd name="connsiteX21" fmla="*/ 2797035 w 4895850"/>
                <a:gd name="connsiteY21" fmla="*/ 2830513 h 6197600"/>
                <a:gd name="connsiteX22" fmla="*/ 2894153 w 4895850"/>
                <a:gd name="connsiteY22" fmla="*/ 2927424 h 6197600"/>
                <a:gd name="connsiteX23" fmla="*/ 2797035 w 4895850"/>
                <a:gd name="connsiteY23" fmla="*/ 3027363 h 6197600"/>
                <a:gd name="connsiteX24" fmla="*/ 2693848 w 4895850"/>
                <a:gd name="connsiteY24" fmla="*/ 2933481 h 6197600"/>
                <a:gd name="connsiteX25" fmla="*/ 2797035 w 4895850"/>
                <a:gd name="connsiteY25" fmla="*/ 2830513 h 6197600"/>
                <a:gd name="connsiteX26" fmla="*/ 2097965 w 4895850"/>
                <a:gd name="connsiteY26" fmla="*/ 2830513 h 6197600"/>
                <a:gd name="connsiteX27" fmla="*/ 2200276 w 4895850"/>
                <a:gd name="connsiteY27" fmla="*/ 2927424 h 6197600"/>
                <a:gd name="connsiteX28" fmla="*/ 2094956 w 4895850"/>
                <a:gd name="connsiteY28" fmla="*/ 3027363 h 6197600"/>
                <a:gd name="connsiteX29" fmla="*/ 1998663 w 4895850"/>
                <a:gd name="connsiteY29" fmla="*/ 2927424 h 6197600"/>
                <a:gd name="connsiteX30" fmla="*/ 2097965 w 4895850"/>
                <a:gd name="connsiteY30" fmla="*/ 2830513 h 6197600"/>
                <a:gd name="connsiteX31" fmla="*/ 2943012 w 4895850"/>
                <a:gd name="connsiteY31" fmla="*/ 2474913 h 6197600"/>
                <a:gd name="connsiteX32" fmla="*/ 3040063 w 4895850"/>
                <a:gd name="connsiteY32" fmla="*/ 2578030 h 6197600"/>
                <a:gd name="connsiteX33" fmla="*/ 2933914 w 4895850"/>
                <a:gd name="connsiteY33" fmla="*/ 2675080 h 6197600"/>
                <a:gd name="connsiteX34" fmla="*/ 2839896 w 4895850"/>
                <a:gd name="connsiteY34" fmla="*/ 2571964 h 6197600"/>
                <a:gd name="connsiteX35" fmla="*/ 2943012 w 4895850"/>
                <a:gd name="connsiteY35" fmla="*/ 2474913 h 6197600"/>
                <a:gd name="connsiteX36" fmla="*/ 1955729 w 4895850"/>
                <a:gd name="connsiteY36" fmla="*/ 2474913 h 6197600"/>
                <a:gd name="connsiteX37" fmla="*/ 2055813 w 4895850"/>
                <a:gd name="connsiteY37" fmla="*/ 2574926 h 6197600"/>
                <a:gd name="connsiteX38" fmla="*/ 1955729 w 4895850"/>
                <a:gd name="connsiteY38" fmla="*/ 2674938 h 6197600"/>
                <a:gd name="connsiteX39" fmla="*/ 1852613 w 4895850"/>
                <a:gd name="connsiteY39" fmla="*/ 2577956 h 6197600"/>
                <a:gd name="connsiteX40" fmla="*/ 1955729 w 4895850"/>
                <a:gd name="connsiteY40" fmla="*/ 2474913 h 6197600"/>
                <a:gd name="connsiteX41" fmla="*/ 2449364 w 4895850"/>
                <a:gd name="connsiteY41" fmla="*/ 2282825 h 6197600"/>
                <a:gd name="connsiteX42" fmla="*/ 2736850 w 4895850"/>
                <a:gd name="connsiteY42" fmla="*/ 2571882 h 6197600"/>
                <a:gd name="connsiteX43" fmla="*/ 2446338 w 4895850"/>
                <a:gd name="connsiteY43" fmla="*/ 2867025 h 6197600"/>
                <a:gd name="connsiteX44" fmla="*/ 2158851 w 4895850"/>
                <a:gd name="connsiteY44" fmla="*/ 2574925 h 6197600"/>
                <a:gd name="connsiteX45" fmla="*/ 2449364 w 4895850"/>
                <a:gd name="connsiteY45" fmla="*/ 2282825 h 6197600"/>
                <a:gd name="connsiteX46" fmla="*/ 2091934 w 4895850"/>
                <a:gd name="connsiteY46" fmla="*/ 2125521 h 6197600"/>
                <a:gd name="connsiteX47" fmla="*/ 2200437 w 4895850"/>
                <a:gd name="connsiteY47" fmla="*/ 2222571 h 6197600"/>
                <a:gd name="connsiteX48" fmla="*/ 2103990 w 4895850"/>
                <a:gd name="connsiteY48" fmla="*/ 2322655 h 6197600"/>
                <a:gd name="connsiteX49" fmla="*/ 1998502 w 4895850"/>
                <a:gd name="connsiteY49" fmla="*/ 2228637 h 6197600"/>
                <a:gd name="connsiteX50" fmla="*/ 2091934 w 4895850"/>
                <a:gd name="connsiteY50" fmla="*/ 2125521 h 6197600"/>
                <a:gd name="connsiteX51" fmla="*/ 2797104 w 4895850"/>
                <a:gd name="connsiteY51" fmla="*/ 2125519 h 6197600"/>
                <a:gd name="connsiteX52" fmla="*/ 2894155 w 4895850"/>
                <a:gd name="connsiteY52" fmla="*/ 2225531 h 6197600"/>
                <a:gd name="connsiteX53" fmla="*/ 2794072 w 4895850"/>
                <a:gd name="connsiteY53" fmla="*/ 2322513 h 6197600"/>
                <a:gd name="connsiteX54" fmla="*/ 2693988 w 4895850"/>
                <a:gd name="connsiteY54" fmla="*/ 2225531 h 6197600"/>
                <a:gd name="connsiteX55" fmla="*/ 2797104 w 4895850"/>
                <a:gd name="connsiteY55" fmla="*/ 2125519 h 6197600"/>
                <a:gd name="connsiteX56" fmla="*/ 2446338 w 4895850"/>
                <a:gd name="connsiteY56" fmla="*/ 1976438 h 6197600"/>
                <a:gd name="connsiteX57" fmla="*/ 2546350 w 4895850"/>
                <a:gd name="connsiteY57" fmla="*/ 2080299 h 6197600"/>
                <a:gd name="connsiteX58" fmla="*/ 2446338 w 4895850"/>
                <a:gd name="connsiteY58" fmla="*/ 2178051 h 6197600"/>
                <a:gd name="connsiteX59" fmla="*/ 2349356 w 4895850"/>
                <a:gd name="connsiteY59" fmla="*/ 2077244 h 6197600"/>
                <a:gd name="connsiteX60" fmla="*/ 2446338 w 4895850"/>
                <a:gd name="connsiteY60" fmla="*/ 1976438 h 6197600"/>
                <a:gd name="connsiteX61" fmla="*/ 2436813 w 4895850"/>
                <a:gd name="connsiteY61" fmla="*/ 1858575 h 6197600"/>
                <a:gd name="connsiteX62" fmla="*/ 1719669 w 4895850"/>
                <a:gd name="connsiteY62" fmla="*/ 2575719 h 6197600"/>
                <a:gd name="connsiteX63" fmla="*/ 2436813 w 4895850"/>
                <a:gd name="connsiteY63" fmla="*/ 3292863 h 6197600"/>
                <a:gd name="connsiteX64" fmla="*/ 3153957 w 4895850"/>
                <a:gd name="connsiteY64" fmla="*/ 2575719 h 6197600"/>
                <a:gd name="connsiteX65" fmla="*/ 2436813 w 4895850"/>
                <a:gd name="connsiteY65" fmla="*/ 1858575 h 6197600"/>
                <a:gd name="connsiteX66" fmla="*/ 2436813 w 4895850"/>
                <a:gd name="connsiteY66" fmla="*/ 1652587 h 6197600"/>
                <a:gd name="connsiteX67" fmla="*/ 3359945 w 4895850"/>
                <a:gd name="connsiteY67" fmla="*/ 2575719 h 6197600"/>
                <a:gd name="connsiteX68" fmla="*/ 2436813 w 4895850"/>
                <a:gd name="connsiteY68" fmla="*/ 3498851 h 6197600"/>
                <a:gd name="connsiteX69" fmla="*/ 1513681 w 4895850"/>
                <a:gd name="connsiteY69" fmla="*/ 2575719 h 6197600"/>
                <a:gd name="connsiteX70" fmla="*/ 2436813 w 4895850"/>
                <a:gd name="connsiteY70" fmla="*/ 1652587 h 6197600"/>
                <a:gd name="connsiteX71" fmla="*/ 2472274 w 4895850"/>
                <a:gd name="connsiteY71" fmla="*/ 612403 h 6197600"/>
                <a:gd name="connsiteX72" fmla="*/ 1676665 w 4895850"/>
                <a:gd name="connsiteY72" fmla="*/ 782870 h 6197600"/>
                <a:gd name="connsiteX73" fmla="*/ 504825 w 4895850"/>
                <a:gd name="connsiteY73" fmla="*/ 2565748 h 6197600"/>
                <a:gd name="connsiteX74" fmla="*/ 619890 w 4895850"/>
                <a:gd name="connsiteY74" fmla="*/ 3236985 h 6197600"/>
                <a:gd name="connsiteX75" fmla="*/ 1083175 w 4895850"/>
                <a:gd name="connsiteY75" fmla="*/ 3968968 h 6197600"/>
                <a:gd name="connsiteX76" fmla="*/ 1174015 w 4895850"/>
                <a:gd name="connsiteY76" fmla="*/ 3968968 h 6197600"/>
                <a:gd name="connsiteX77" fmla="*/ 1537376 w 4895850"/>
                <a:gd name="connsiteY77" fmla="*/ 3604495 h 6197600"/>
                <a:gd name="connsiteX78" fmla="*/ 1979466 w 4895850"/>
                <a:gd name="connsiteY78" fmla="*/ 3489079 h 6197600"/>
                <a:gd name="connsiteX79" fmla="*/ 2258042 w 4895850"/>
                <a:gd name="connsiteY79" fmla="*/ 4163353 h 6197600"/>
                <a:gd name="connsiteX80" fmla="*/ 2115726 w 4895850"/>
                <a:gd name="connsiteY80" fmla="*/ 4445819 h 6197600"/>
                <a:gd name="connsiteX81" fmla="*/ 2146006 w 4895850"/>
                <a:gd name="connsiteY81" fmla="*/ 4506565 h 6197600"/>
                <a:gd name="connsiteX82" fmla="*/ 2566899 w 4895850"/>
                <a:gd name="connsiteY82" fmla="*/ 4521751 h 6197600"/>
                <a:gd name="connsiteX83" fmla="*/ 3702403 w 4895850"/>
                <a:gd name="connsiteY83" fmla="*/ 4044899 h 6197600"/>
                <a:gd name="connsiteX84" fmla="*/ 4350397 w 4895850"/>
                <a:gd name="connsiteY84" fmla="*/ 2353139 h 6197600"/>
                <a:gd name="connsiteX85" fmla="*/ 3263342 w 4895850"/>
                <a:gd name="connsiteY85" fmla="*/ 813242 h 6197600"/>
                <a:gd name="connsiteX86" fmla="*/ 2472274 w 4895850"/>
                <a:gd name="connsiteY86" fmla="*/ 612403 h 6197600"/>
                <a:gd name="connsiteX87" fmla="*/ 4541481 w 4895850"/>
                <a:gd name="connsiteY87" fmla="*/ 163390 h 6197600"/>
                <a:gd name="connsiteX88" fmla="*/ 4398963 w 4895850"/>
                <a:gd name="connsiteY88" fmla="*/ 294606 h 6197600"/>
                <a:gd name="connsiteX89" fmla="*/ 4532384 w 4895850"/>
                <a:gd name="connsiteY89" fmla="*/ 434976 h 6197600"/>
                <a:gd name="connsiteX90" fmla="*/ 4668838 w 4895850"/>
                <a:gd name="connsiteY90" fmla="*/ 297657 h 6197600"/>
                <a:gd name="connsiteX91" fmla="*/ 4541481 w 4895850"/>
                <a:gd name="connsiteY91" fmla="*/ 163390 h 6197600"/>
                <a:gd name="connsiteX92" fmla="*/ 335919 w 4895850"/>
                <a:gd name="connsiteY92" fmla="*/ 160338 h 6197600"/>
                <a:gd name="connsiteX93" fmla="*/ 206375 w 4895850"/>
                <a:gd name="connsiteY93" fmla="*/ 300709 h 6197600"/>
                <a:gd name="connsiteX94" fmla="*/ 338932 w 4895850"/>
                <a:gd name="connsiteY94" fmla="*/ 434976 h 6197600"/>
                <a:gd name="connsiteX95" fmla="*/ 468476 w 4895850"/>
                <a:gd name="connsiteY95" fmla="*/ 294606 h 6197600"/>
                <a:gd name="connsiteX96" fmla="*/ 335919 w 4895850"/>
                <a:gd name="connsiteY96" fmla="*/ 160338 h 6197600"/>
                <a:gd name="connsiteX97" fmla="*/ 163498 w 4895850"/>
                <a:gd name="connsiteY97" fmla="*/ 0 h 6197600"/>
                <a:gd name="connsiteX98" fmla="*/ 224053 w 4895850"/>
                <a:gd name="connsiteY98" fmla="*/ 0 h 6197600"/>
                <a:gd name="connsiteX99" fmla="*/ 4665742 w 4895850"/>
                <a:gd name="connsiteY99" fmla="*/ 0 h 6197600"/>
                <a:gd name="connsiteX100" fmla="*/ 4738408 w 4895850"/>
                <a:gd name="connsiteY100" fmla="*/ 3037 h 6197600"/>
                <a:gd name="connsiteX101" fmla="*/ 4892822 w 4895850"/>
                <a:gd name="connsiteY101" fmla="*/ 154864 h 6197600"/>
                <a:gd name="connsiteX102" fmla="*/ 4892822 w 4895850"/>
                <a:gd name="connsiteY102" fmla="*/ 233815 h 6197600"/>
                <a:gd name="connsiteX103" fmla="*/ 4892822 w 4895850"/>
                <a:gd name="connsiteY103" fmla="*/ 3106392 h 6197600"/>
                <a:gd name="connsiteX104" fmla="*/ 4895850 w 4895850"/>
                <a:gd name="connsiteY104" fmla="*/ 5997188 h 6197600"/>
                <a:gd name="connsiteX105" fmla="*/ 4841350 w 4895850"/>
                <a:gd name="connsiteY105" fmla="*/ 6158125 h 6197600"/>
                <a:gd name="connsiteX106" fmla="*/ 4717214 w 4895850"/>
                <a:gd name="connsiteY106" fmla="*/ 6197600 h 6197600"/>
                <a:gd name="connsiteX107" fmla="*/ 175609 w 4895850"/>
                <a:gd name="connsiteY107" fmla="*/ 6197600 h 6197600"/>
                <a:gd name="connsiteX108" fmla="*/ 0 w 4895850"/>
                <a:gd name="connsiteY108" fmla="*/ 6024517 h 6197600"/>
                <a:gd name="connsiteX109" fmla="*/ 0 w 4895850"/>
                <a:gd name="connsiteY109" fmla="*/ 5975932 h 6197600"/>
                <a:gd name="connsiteX110" fmla="*/ 0 w 4895850"/>
                <a:gd name="connsiteY110" fmla="*/ 227741 h 6197600"/>
                <a:gd name="connsiteX111" fmla="*/ 0 w 4895850"/>
                <a:gd name="connsiteY111" fmla="*/ 160937 h 6197600"/>
                <a:gd name="connsiteX112" fmla="*/ 163498 w 4895850"/>
                <a:gd name="connsiteY112" fmla="*/ 0 h 61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895850" h="6197600">
                  <a:moveTo>
                    <a:pt x="4532384" y="5724525"/>
                  </a:moveTo>
                  <a:cubicBezTo>
                    <a:pt x="4459609" y="5724525"/>
                    <a:pt x="4401995" y="5782077"/>
                    <a:pt x="4398963" y="5854773"/>
                  </a:cubicBezTo>
                  <a:cubicBezTo>
                    <a:pt x="4398963" y="5927470"/>
                    <a:pt x="4456577" y="5988050"/>
                    <a:pt x="4532384" y="5988050"/>
                  </a:cubicBezTo>
                  <a:cubicBezTo>
                    <a:pt x="4611224" y="5988050"/>
                    <a:pt x="4665806" y="5936557"/>
                    <a:pt x="4668838" y="5857802"/>
                  </a:cubicBezTo>
                  <a:cubicBezTo>
                    <a:pt x="4668838" y="5782077"/>
                    <a:pt x="4608192" y="5724525"/>
                    <a:pt x="4532384" y="5724525"/>
                  </a:cubicBezTo>
                  <a:close/>
                  <a:moveTo>
                    <a:pt x="1858333" y="3651391"/>
                  </a:moveTo>
                  <a:cubicBezTo>
                    <a:pt x="1781878" y="3652150"/>
                    <a:pt x="1703152" y="3684801"/>
                    <a:pt x="1638052" y="3750101"/>
                  </a:cubicBezTo>
                  <a:cubicBezTo>
                    <a:pt x="1522991" y="3865516"/>
                    <a:pt x="1407930" y="3987006"/>
                    <a:pt x="1292869" y="4105458"/>
                  </a:cubicBezTo>
                  <a:cubicBezTo>
                    <a:pt x="1017329" y="4384883"/>
                    <a:pt x="738761" y="4664309"/>
                    <a:pt x="466248" y="4949809"/>
                  </a:cubicBezTo>
                  <a:cubicBezTo>
                    <a:pt x="293657" y="5129005"/>
                    <a:pt x="260350" y="5341612"/>
                    <a:pt x="360271" y="5566367"/>
                  </a:cubicBezTo>
                  <a:cubicBezTo>
                    <a:pt x="454137" y="5778973"/>
                    <a:pt x="623700" y="5885276"/>
                    <a:pt x="796291" y="5894388"/>
                  </a:cubicBezTo>
                  <a:cubicBezTo>
                    <a:pt x="1068804" y="5894388"/>
                    <a:pt x="1253506" y="5782010"/>
                    <a:pt x="1350400" y="5587628"/>
                  </a:cubicBezTo>
                  <a:cubicBezTo>
                    <a:pt x="1595661" y="5095596"/>
                    <a:pt x="1840922" y="4603564"/>
                    <a:pt x="2086183" y="4111532"/>
                  </a:cubicBezTo>
                  <a:cubicBezTo>
                    <a:pt x="2101323" y="4081160"/>
                    <a:pt x="2113434" y="4050787"/>
                    <a:pt x="2122518" y="4020415"/>
                  </a:cubicBezTo>
                  <a:cubicBezTo>
                    <a:pt x="2155825" y="3917149"/>
                    <a:pt x="2134630" y="3822995"/>
                    <a:pt x="2064988" y="3744027"/>
                  </a:cubicBezTo>
                  <a:cubicBezTo>
                    <a:pt x="2008971" y="3681763"/>
                    <a:pt x="1934787" y="3650632"/>
                    <a:pt x="1858333" y="3651391"/>
                  </a:cubicBezTo>
                  <a:close/>
                  <a:moveTo>
                    <a:pt x="2443307" y="2976563"/>
                  </a:moveTo>
                  <a:cubicBezTo>
                    <a:pt x="2500890" y="2976563"/>
                    <a:pt x="2543319" y="3015990"/>
                    <a:pt x="2546350" y="3073614"/>
                  </a:cubicBezTo>
                  <a:cubicBezTo>
                    <a:pt x="2546350" y="3134271"/>
                    <a:pt x="2506951" y="3176730"/>
                    <a:pt x="2446338" y="3176730"/>
                  </a:cubicBezTo>
                  <a:cubicBezTo>
                    <a:pt x="2394816" y="3179763"/>
                    <a:pt x="2349356" y="3134271"/>
                    <a:pt x="2349356" y="3076647"/>
                  </a:cubicBezTo>
                  <a:cubicBezTo>
                    <a:pt x="2346325" y="3019023"/>
                    <a:pt x="2385724" y="2976563"/>
                    <a:pt x="2443307" y="2976563"/>
                  </a:cubicBezTo>
                  <a:close/>
                  <a:moveTo>
                    <a:pt x="2797035" y="2830513"/>
                  </a:moveTo>
                  <a:cubicBezTo>
                    <a:pt x="2854699" y="2830513"/>
                    <a:pt x="2894153" y="2869883"/>
                    <a:pt x="2894153" y="2927424"/>
                  </a:cubicBezTo>
                  <a:cubicBezTo>
                    <a:pt x="2897188" y="2984965"/>
                    <a:pt x="2854699" y="3027363"/>
                    <a:pt x="2797035" y="3027363"/>
                  </a:cubicBezTo>
                  <a:cubicBezTo>
                    <a:pt x="2736337" y="3027363"/>
                    <a:pt x="2696883" y="2991022"/>
                    <a:pt x="2693848" y="2933481"/>
                  </a:cubicBezTo>
                  <a:cubicBezTo>
                    <a:pt x="2690813" y="2872912"/>
                    <a:pt x="2733302" y="2830513"/>
                    <a:pt x="2797035" y="2830513"/>
                  </a:cubicBezTo>
                  <a:close/>
                  <a:moveTo>
                    <a:pt x="2097965" y="2830513"/>
                  </a:moveTo>
                  <a:cubicBezTo>
                    <a:pt x="2155139" y="2830513"/>
                    <a:pt x="2200276" y="2872912"/>
                    <a:pt x="2200276" y="2927424"/>
                  </a:cubicBezTo>
                  <a:cubicBezTo>
                    <a:pt x="2200276" y="2984965"/>
                    <a:pt x="2155139" y="3027363"/>
                    <a:pt x="2094956" y="3027363"/>
                  </a:cubicBezTo>
                  <a:cubicBezTo>
                    <a:pt x="2040791" y="3027363"/>
                    <a:pt x="1998663" y="2984965"/>
                    <a:pt x="1998663" y="2927424"/>
                  </a:cubicBezTo>
                  <a:cubicBezTo>
                    <a:pt x="1998663" y="2872912"/>
                    <a:pt x="2040791" y="2830513"/>
                    <a:pt x="2097965" y="2830513"/>
                  </a:cubicBezTo>
                  <a:close/>
                  <a:moveTo>
                    <a:pt x="2943012" y="2474913"/>
                  </a:moveTo>
                  <a:cubicBezTo>
                    <a:pt x="2997603" y="2477946"/>
                    <a:pt x="3040063" y="2520406"/>
                    <a:pt x="3040063" y="2578030"/>
                  </a:cubicBezTo>
                  <a:cubicBezTo>
                    <a:pt x="3040063" y="2635653"/>
                    <a:pt x="2994570" y="2678113"/>
                    <a:pt x="2933914" y="2675080"/>
                  </a:cubicBezTo>
                  <a:cubicBezTo>
                    <a:pt x="2876290" y="2672047"/>
                    <a:pt x="2836863" y="2629588"/>
                    <a:pt x="2839896" y="2571964"/>
                  </a:cubicBezTo>
                  <a:cubicBezTo>
                    <a:pt x="2842929" y="2514340"/>
                    <a:pt x="2885388" y="2474913"/>
                    <a:pt x="2943012" y="2474913"/>
                  </a:cubicBezTo>
                  <a:close/>
                  <a:moveTo>
                    <a:pt x="1955729" y="2474913"/>
                  </a:moveTo>
                  <a:cubicBezTo>
                    <a:pt x="2010320" y="2474913"/>
                    <a:pt x="2055813" y="2520373"/>
                    <a:pt x="2055813" y="2574926"/>
                  </a:cubicBezTo>
                  <a:cubicBezTo>
                    <a:pt x="2055813" y="2626447"/>
                    <a:pt x="2010320" y="2674938"/>
                    <a:pt x="1955729" y="2674938"/>
                  </a:cubicBezTo>
                  <a:cubicBezTo>
                    <a:pt x="1898105" y="2674938"/>
                    <a:pt x="1855646" y="2632509"/>
                    <a:pt x="1852613" y="2577956"/>
                  </a:cubicBezTo>
                  <a:cubicBezTo>
                    <a:pt x="1852613" y="2520373"/>
                    <a:pt x="1898105" y="2474913"/>
                    <a:pt x="1955729" y="2474913"/>
                  </a:cubicBezTo>
                  <a:close/>
                  <a:moveTo>
                    <a:pt x="2449364" y="2282825"/>
                  </a:moveTo>
                  <a:cubicBezTo>
                    <a:pt x="2600672" y="2285868"/>
                    <a:pt x="2733824" y="2416704"/>
                    <a:pt x="2736850" y="2571882"/>
                  </a:cubicBezTo>
                  <a:cubicBezTo>
                    <a:pt x="2736850" y="2730103"/>
                    <a:pt x="2603698" y="2867025"/>
                    <a:pt x="2446338" y="2867025"/>
                  </a:cubicBezTo>
                  <a:cubicBezTo>
                    <a:pt x="2292003" y="2867025"/>
                    <a:pt x="2155825" y="2730103"/>
                    <a:pt x="2158851" y="2574925"/>
                  </a:cubicBezTo>
                  <a:cubicBezTo>
                    <a:pt x="2161877" y="2413661"/>
                    <a:pt x="2292003" y="2282825"/>
                    <a:pt x="2449364" y="2282825"/>
                  </a:cubicBezTo>
                  <a:close/>
                  <a:moveTo>
                    <a:pt x="2091934" y="2125521"/>
                  </a:moveTo>
                  <a:cubicBezTo>
                    <a:pt x="2152213" y="2122488"/>
                    <a:pt x="2197423" y="2164948"/>
                    <a:pt x="2200437" y="2222571"/>
                  </a:cubicBezTo>
                  <a:cubicBezTo>
                    <a:pt x="2203451" y="2277162"/>
                    <a:pt x="2158241" y="2322655"/>
                    <a:pt x="2103990" y="2322655"/>
                  </a:cubicBezTo>
                  <a:cubicBezTo>
                    <a:pt x="2046725" y="2325688"/>
                    <a:pt x="2001516" y="2283228"/>
                    <a:pt x="1998502" y="2228637"/>
                  </a:cubicBezTo>
                  <a:cubicBezTo>
                    <a:pt x="1995488" y="2174046"/>
                    <a:pt x="2037683" y="2128554"/>
                    <a:pt x="2091934" y="2125521"/>
                  </a:cubicBezTo>
                  <a:close/>
                  <a:moveTo>
                    <a:pt x="2797104" y="2125519"/>
                  </a:moveTo>
                  <a:cubicBezTo>
                    <a:pt x="2857761" y="2125519"/>
                    <a:pt x="2897188" y="2167949"/>
                    <a:pt x="2894155" y="2225531"/>
                  </a:cubicBezTo>
                  <a:cubicBezTo>
                    <a:pt x="2894155" y="2283114"/>
                    <a:pt x="2851695" y="2322513"/>
                    <a:pt x="2794072" y="2322513"/>
                  </a:cubicBezTo>
                  <a:cubicBezTo>
                    <a:pt x="2736448" y="2322513"/>
                    <a:pt x="2693988" y="2280084"/>
                    <a:pt x="2693988" y="2225531"/>
                  </a:cubicBezTo>
                  <a:cubicBezTo>
                    <a:pt x="2693988" y="2164918"/>
                    <a:pt x="2736448" y="2122488"/>
                    <a:pt x="2797104" y="2125519"/>
                  </a:cubicBezTo>
                  <a:close/>
                  <a:moveTo>
                    <a:pt x="2446338" y="1976438"/>
                  </a:moveTo>
                  <a:cubicBezTo>
                    <a:pt x="2506951" y="1976438"/>
                    <a:pt x="2546350" y="2019204"/>
                    <a:pt x="2546350" y="2080299"/>
                  </a:cubicBezTo>
                  <a:cubicBezTo>
                    <a:pt x="2543319" y="2138339"/>
                    <a:pt x="2503920" y="2178051"/>
                    <a:pt x="2446338" y="2178051"/>
                  </a:cubicBezTo>
                  <a:cubicBezTo>
                    <a:pt x="2388755" y="2178051"/>
                    <a:pt x="2346325" y="2135284"/>
                    <a:pt x="2349356" y="2077244"/>
                  </a:cubicBezTo>
                  <a:cubicBezTo>
                    <a:pt x="2349356" y="2022259"/>
                    <a:pt x="2391785" y="1976438"/>
                    <a:pt x="2446338" y="1976438"/>
                  </a:cubicBezTo>
                  <a:close/>
                  <a:moveTo>
                    <a:pt x="2436813" y="1858575"/>
                  </a:moveTo>
                  <a:cubicBezTo>
                    <a:pt x="2040745" y="1858575"/>
                    <a:pt x="1719669" y="2179651"/>
                    <a:pt x="1719669" y="2575719"/>
                  </a:cubicBezTo>
                  <a:cubicBezTo>
                    <a:pt x="1719669" y="2971787"/>
                    <a:pt x="2040745" y="3292863"/>
                    <a:pt x="2436813" y="3292863"/>
                  </a:cubicBezTo>
                  <a:cubicBezTo>
                    <a:pt x="2832881" y="3292863"/>
                    <a:pt x="3153957" y="2971787"/>
                    <a:pt x="3153957" y="2575719"/>
                  </a:cubicBezTo>
                  <a:cubicBezTo>
                    <a:pt x="3153957" y="2179651"/>
                    <a:pt x="2832881" y="1858575"/>
                    <a:pt x="2436813" y="1858575"/>
                  </a:cubicBezTo>
                  <a:close/>
                  <a:moveTo>
                    <a:pt x="2436813" y="1652587"/>
                  </a:moveTo>
                  <a:cubicBezTo>
                    <a:pt x="2946645" y="1652587"/>
                    <a:pt x="3359945" y="2065887"/>
                    <a:pt x="3359945" y="2575719"/>
                  </a:cubicBezTo>
                  <a:cubicBezTo>
                    <a:pt x="3359945" y="3085551"/>
                    <a:pt x="2946645" y="3498851"/>
                    <a:pt x="2436813" y="3498851"/>
                  </a:cubicBezTo>
                  <a:cubicBezTo>
                    <a:pt x="1926981" y="3498851"/>
                    <a:pt x="1513681" y="3085551"/>
                    <a:pt x="1513681" y="2575719"/>
                  </a:cubicBezTo>
                  <a:cubicBezTo>
                    <a:pt x="1513681" y="2065887"/>
                    <a:pt x="1926981" y="1652587"/>
                    <a:pt x="2436813" y="1652587"/>
                  </a:cubicBezTo>
                  <a:close/>
                  <a:moveTo>
                    <a:pt x="2472274" y="612403"/>
                  </a:moveTo>
                  <a:cubicBezTo>
                    <a:pt x="2206566" y="606708"/>
                    <a:pt x="1940102" y="662897"/>
                    <a:pt x="1676665" y="782870"/>
                  </a:cubicBezTo>
                  <a:cubicBezTo>
                    <a:pt x="919663" y="1126081"/>
                    <a:pt x="547217" y="1742648"/>
                    <a:pt x="504825" y="2565748"/>
                  </a:cubicBezTo>
                  <a:cubicBezTo>
                    <a:pt x="504825" y="2799618"/>
                    <a:pt x="541161" y="3021339"/>
                    <a:pt x="619890" y="3236985"/>
                  </a:cubicBezTo>
                  <a:cubicBezTo>
                    <a:pt x="719814" y="3513377"/>
                    <a:pt x="874242" y="3756359"/>
                    <a:pt x="1083175" y="3968968"/>
                  </a:cubicBezTo>
                  <a:cubicBezTo>
                    <a:pt x="1119511" y="4005415"/>
                    <a:pt x="1137679" y="4005415"/>
                    <a:pt x="1174015" y="3968968"/>
                  </a:cubicBezTo>
                  <a:cubicBezTo>
                    <a:pt x="1292108" y="3844439"/>
                    <a:pt x="1413228" y="3722949"/>
                    <a:pt x="1537376" y="3604495"/>
                  </a:cubicBezTo>
                  <a:cubicBezTo>
                    <a:pt x="1661525" y="3483004"/>
                    <a:pt x="1812925" y="3440482"/>
                    <a:pt x="1979466" y="3489079"/>
                  </a:cubicBezTo>
                  <a:cubicBezTo>
                    <a:pt x="2267126" y="3571085"/>
                    <a:pt x="2394303" y="3880887"/>
                    <a:pt x="2258042" y="4163353"/>
                  </a:cubicBezTo>
                  <a:cubicBezTo>
                    <a:pt x="2212622" y="4257508"/>
                    <a:pt x="2164174" y="4351664"/>
                    <a:pt x="2115726" y="4445819"/>
                  </a:cubicBezTo>
                  <a:cubicBezTo>
                    <a:pt x="2097558" y="4482267"/>
                    <a:pt x="2103614" y="4500490"/>
                    <a:pt x="2146006" y="4506565"/>
                  </a:cubicBezTo>
                  <a:cubicBezTo>
                    <a:pt x="2285294" y="4518714"/>
                    <a:pt x="2424583" y="4533900"/>
                    <a:pt x="2566899" y="4521751"/>
                  </a:cubicBezTo>
                  <a:cubicBezTo>
                    <a:pt x="2999905" y="4488341"/>
                    <a:pt x="3381434" y="4333440"/>
                    <a:pt x="3702403" y="4044899"/>
                  </a:cubicBezTo>
                  <a:cubicBezTo>
                    <a:pt x="4202024" y="3592346"/>
                    <a:pt x="4429125" y="3024377"/>
                    <a:pt x="4350397" y="2353139"/>
                  </a:cubicBezTo>
                  <a:cubicBezTo>
                    <a:pt x="4268640" y="1648492"/>
                    <a:pt x="3899224" y="1129119"/>
                    <a:pt x="3263342" y="813242"/>
                  </a:cubicBezTo>
                  <a:cubicBezTo>
                    <a:pt x="3002933" y="685677"/>
                    <a:pt x="2737982" y="618098"/>
                    <a:pt x="2472274" y="612403"/>
                  </a:cubicBezTo>
                  <a:close/>
                  <a:moveTo>
                    <a:pt x="4541481" y="163390"/>
                  </a:moveTo>
                  <a:cubicBezTo>
                    <a:pt x="4471738" y="160338"/>
                    <a:pt x="4401995" y="224420"/>
                    <a:pt x="4398963" y="294606"/>
                  </a:cubicBezTo>
                  <a:cubicBezTo>
                    <a:pt x="4398963" y="364791"/>
                    <a:pt x="4462641" y="431925"/>
                    <a:pt x="4532384" y="434976"/>
                  </a:cubicBezTo>
                  <a:cubicBezTo>
                    <a:pt x="4602127" y="434976"/>
                    <a:pt x="4665806" y="373945"/>
                    <a:pt x="4668838" y="297657"/>
                  </a:cubicBezTo>
                  <a:cubicBezTo>
                    <a:pt x="4668838" y="230523"/>
                    <a:pt x="4608192" y="166441"/>
                    <a:pt x="4541481" y="163390"/>
                  </a:cubicBezTo>
                  <a:close/>
                  <a:moveTo>
                    <a:pt x="335919" y="160338"/>
                  </a:moveTo>
                  <a:cubicBezTo>
                    <a:pt x="263616" y="163390"/>
                    <a:pt x="206375" y="224420"/>
                    <a:pt x="206375" y="300709"/>
                  </a:cubicBezTo>
                  <a:cubicBezTo>
                    <a:pt x="206375" y="376997"/>
                    <a:pt x="266628" y="434976"/>
                    <a:pt x="338932" y="434976"/>
                  </a:cubicBezTo>
                  <a:cubicBezTo>
                    <a:pt x="411235" y="434976"/>
                    <a:pt x="471488" y="367842"/>
                    <a:pt x="468476" y="294606"/>
                  </a:cubicBezTo>
                  <a:cubicBezTo>
                    <a:pt x="468476" y="221369"/>
                    <a:pt x="405210" y="160338"/>
                    <a:pt x="335919" y="160338"/>
                  </a:cubicBezTo>
                  <a:close/>
                  <a:moveTo>
                    <a:pt x="163498" y="0"/>
                  </a:moveTo>
                  <a:cubicBezTo>
                    <a:pt x="181664" y="0"/>
                    <a:pt x="202859" y="0"/>
                    <a:pt x="224053" y="0"/>
                  </a:cubicBezTo>
                  <a:cubicBezTo>
                    <a:pt x="1704616" y="0"/>
                    <a:pt x="3185179" y="0"/>
                    <a:pt x="4665742" y="0"/>
                  </a:cubicBezTo>
                  <a:cubicBezTo>
                    <a:pt x="4689964" y="0"/>
                    <a:pt x="4714186" y="0"/>
                    <a:pt x="4738408" y="3037"/>
                  </a:cubicBezTo>
                  <a:cubicBezTo>
                    <a:pt x="4826212" y="9110"/>
                    <a:pt x="4883739" y="69841"/>
                    <a:pt x="4892822" y="154864"/>
                  </a:cubicBezTo>
                  <a:cubicBezTo>
                    <a:pt x="4895850" y="182193"/>
                    <a:pt x="4892822" y="206486"/>
                    <a:pt x="4892822" y="233815"/>
                  </a:cubicBezTo>
                  <a:cubicBezTo>
                    <a:pt x="4892822" y="1190328"/>
                    <a:pt x="4892822" y="2149878"/>
                    <a:pt x="4892822" y="3106392"/>
                  </a:cubicBezTo>
                  <a:cubicBezTo>
                    <a:pt x="4892822" y="4068978"/>
                    <a:pt x="4892822" y="5031565"/>
                    <a:pt x="4895850" y="5997188"/>
                  </a:cubicBezTo>
                  <a:cubicBezTo>
                    <a:pt x="4895850" y="6057919"/>
                    <a:pt x="4889794" y="6112577"/>
                    <a:pt x="4841350" y="6158125"/>
                  </a:cubicBezTo>
                  <a:cubicBezTo>
                    <a:pt x="4805018" y="6188491"/>
                    <a:pt x="4762630" y="6197600"/>
                    <a:pt x="4717214" y="6197600"/>
                  </a:cubicBezTo>
                  <a:cubicBezTo>
                    <a:pt x="3203345" y="6197600"/>
                    <a:pt x="1689477" y="6197600"/>
                    <a:pt x="175609" y="6197600"/>
                  </a:cubicBezTo>
                  <a:cubicBezTo>
                    <a:pt x="66610" y="6197600"/>
                    <a:pt x="6056" y="6136869"/>
                    <a:pt x="0" y="6024517"/>
                  </a:cubicBezTo>
                  <a:cubicBezTo>
                    <a:pt x="0" y="6009334"/>
                    <a:pt x="0" y="5994151"/>
                    <a:pt x="0" y="5975932"/>
                  </a:cubicBezTo>
                  <a:cubicBezTo>
                    <a:pt x="0" y="4059868"/>
                    <a:pt x="0" y="2143806"/>
                    <a:pt x="0" y="227741"/>
                  </a:cubicBezTo>
                  <a:cubicBezTo>
                    <a:pt x="0" y="203449"/>
                    <a:pt x="0" y="182193"/>
                    <a:pt x="0" y="160937"/>
                  </a:cubicBezTo>
                  <a:cubicBezTo>
                    <a:pt x="9083" y="69841"/>
                    <a:pt x="75694" y="6073"/>
                    <a:pt x="16349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67" name="Rectangle 66">
            <a:extLst>
              <a:ext uri="{FF2B5EF4-FFF2-40B4-BE49-F238E27FC236}">
                <a16:creationId xmlns:a16="http://schemas.microsoft.com/office/drawing/2014/main" id="{2A0D51CF-C485-4604-8C02-E0B4349AB904}"/>
              </a:ext>
            </a:extLst>
          </p:cNvPr>
          <p:cNvSpPr/>
          <p:nvPr/>
        </p:nvSpPr>
        <p:spPr>
          <a:xfrm>
            <a:off x="9408325" y="3017250"/>
            <a:ext cx="2232486" cy="2581376"/>
          </a:xfrm>
          <a:prstGeom prst="rect">
            <a:avLst/>
          </a:prstGeom>
          <a:solidFill>
            <a:schemeClr val="bg1">
              <a:lumMod val="95000"/>
            </a:schemeClr>
          </a:solidFill>
          <a:ln w="19050" cap="flat" cmpd="sng" algn="ctr">
            <a:solidFill>
              <a:srgbClr val="353535"/>
            </a:solidFill>
            <a:prstDash val="sysDot"/>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lgn="ctr" defTabSz="932597">
              <a:defRPr/>
            </a:pPr>
            <a:r>
              <a:rPr lang="en-US" sz="1400" b="1" kern="0" dirty="0">
                <a:solidFill>
                  <a:srgbClr val="505050"/>
                </a:solidFill>
              </a:rPr>
              <a:t>PAGE BLOBS</a:t>
            </a:r>
          </a:p>
        </p:txBody>
      </p:sp>
      <p:sp>
        <p:nvSpPr>
          <p:cNvPr id="72" name="Right Brace 71">
            <a:extLst>
              <a:ext uri="{FF2B5EF4-FFF2-40B4-BE49-F238E27FC236}">
                <a16:creationId xmlns:a16="http://schemas.microsoft.com/office/drawing/2014/main" id="{8FCC8BE5-9C17-46BA-B642-7CBC3130D64B}"/>
              </a:ext>
            </a:extLst>
          </p:cNvPr>
          <p:cNvSpPr/>
          <p:nvPr/>
        </p:nvSpPr>
        <p:spPr>
          <a:xfrm rot="16200000">
            <a:off x="10367618" y="1385944"/>
            <a:ext cx="313901" cy="2232487"/>
          </a:xfrm>
          <a:prstGeom prst="rightBrace">
            <a:avLst>
              <a:gd name="adj1" fmla="val 0"/>
              <a:gd name="adj2" fmla="val 50000"/>
            </a:avLst>
          </a:prstGeom>
          <a:noFill/>
          <a:ln w="12700" cap="flat" cmpd="sng" algn="ctr">
            <a:solidFill>
              <a:schemeClr val="tx2"/>
            </a:solidFill>
            <a:prstDash val="solid"/>
            <a:headEnd type="none"/>
            <a:tailEnd type="none"/>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solidFill>
                <a:schemeClr val="tx2"/>
              </a:solidFill>
              <a:effectLst/>
              <a:uLnTx/>
              <a:uFillTx/>
              <a:ea typeface="+mn-ea"/>
              <a:cs typeface="+mn-cs"/>
            </a:endParaRPr>
          </a:p>
        </p:txBody>
      </p:sp>
      <p:sp>
        <p:nvSpPr>
          <p:cNvPr id="80" name="Rectangle: Rounded Corners 79">
            <a:extLst>
              <a:ext uri="{FF2B5EF4-FFF2-40B4-BE49-F238E27FC236}">
                <a16:creationId xmlns:a16="http://schemas.microsoft.com/office/drawing/2014/main" id="{75DDBFBA-1006-4E0B-AB83-A37B0D5411B3}"/>
              </a:ext>
            </a:extLst>
          </p:cNvPr>
          <p:cNvSpPr/>
          <p:nvPr/>
        </p:nvSpPr>
        <p:spPr bwMode="auto">
          <a:xfrm>
            <a:off x="10670810" y="2716381"/>
            <a:ext cx="756843" cy="657316"/>
          </a:xfrm>
          <a:prstGeom prst="roundRect">
            <a:avLst>
              <a:gd name="adj" fmla="val 5954"/>
            </a:avLst>
          </a:prstGeom>
          <a:solidFill>
            <a:schemeClr val="bg1">
              <a:lumMod val="95000"/>
            </a:schemeClr>
          </a:solidFill>
          <a:ln w="19050" cap="flat" cmpd="sng" algn="ctr">
            <a:solidFill>
              <a:srgbClr val="353535"/>
            </a:solidFill>
            <a:prstDash val="sysDot"/>
            <a:miter lim="800000"/>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1065" eaLnBrk="1" fontAlgn="auto"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solidFill>
                <a:schemeClr val="tx2"/>
              </a:solidFill>
              <a:effectLst/>
              <a:uLnTx/>
              <a:uFillTx/>
            </a:endParaRPr>
          </a:p>
        </p:txBody>
      </p:sp>
      <p:grpSp>
        <p:nvGrpSpPr>
          <p:cNvPr id="24" name="Group 23">
            <a:extLst>
              <a:ext uri="{FF2B5EF4-FFF2-40B4-BE49-F238E27FC236}">
                <a16:creationId xmlns:a16="http://schemas.microsoft.com/office/drawing/2014/main" id="{B7D297D9-DF27-479C-89D5-92D7EE106B3F}"/>
              </a:ext>
            </a:extLst>
          </p:cNvPr>
          <p:cNvGrpSpPr/>
          <p:nvPr/>
        </p:nvGrpSpPr>
        <p:grpSpPr>
          <a:xfrm>
            <a:off x="8676541" y="3710354"/>
            <a:ext cx="607241" cy="1195168"/>
            <a:chOff x="8737501" y="3800194"/>
            <a:chExt cx="607241" cy="1195168"/>
          </a:xfrm>
        </p:grpSpPr>
        <p:sp>
          <p:nvSpPr>
            <p:cNvPr id="77" name="Arrow: Right 76">
              <a:extLst>
                <a:ext uri="{FF2B5EF4-FFF2-40B4-BE49-F238E27FC236}">
                  <a16:creationId xmlns:a16="http://schemas.microsoft.com/office/drawing/2014/main" id="{435BDB43-60DD-4AEC-9E93-ABBD0D944642}"/>
                </a:ext>
              </a:extLst>
            </p:cNvPr>
            <p:cNvSpPr/>
            <p:nvPr/>
          </p:nvSpPr>
          <p:spPr bwMode="auto">
            <a:xfrm rot="10800000">
              <a:off x="8737501" y="3800194"/>
              <a:ext cx="607241" cy="302102"/>
            </a:xfrm>
            <a:prstGeom prst="rightArrow">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1" i="0" u="none" strike="noStrike" kern="0" cap="none" spc="0" normalizeH="0" baseline="0" noProof="0">
                <a:ln>
                  <a:noFill/>
                </a:ln>
                <a:solidFill>
                  <a:schemeClr val="tx2"/>
                </a:solidFill>
                <a:effectLst/>
                <a:uLnTx/>
                <a:uFillTx/>
                <a:ea typeface="Segoe UI" pitchFamily="34" charset="0"/>
                <a:cs typeface="Segoe UI" pitchFamily="34" charset="0"/>
              </a:endParaRPr>
            </a:p>
          </p:txBody>
        </p:sp>
        <p:sp>
          <p:nvSpPr>
            <p:cNvPr id="87" name="Arrow: Right 86">
              <a:extLst>
                <a:ext uri="{FF2B5EF4-FFF2-40B4-BE49-F238E27FC236}">
                  <a16:creationId xmlns:a16="http://schemas.microsoft.com/office/drawing/2014/main" id="{86A5CCB7-A2D9-4A9B-8C21-CC51178E3C2D}"/>
                </a:ext>
              </a:extLst>
            </p:cNvPr>
            <p:cNvSpPr/>
            <p:nvPr/>
          </p:nvSpPr>
          <p:spPr bwMode="auto">
            <a:xfrm rot="10800000">
              <a:off x="8737501" y="4693260"/>
              <a:ext cx="607241" cy="302102"/>
            </a:xfrm>
            <a:prstGeom prst="rightArrow">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1" i="0" u="none" strike="noStrike" kern="0" cap="none" spc="0" normalizeH="0" baseline="0" noProof="0">
                <a:ln>
                  <a:noFill/>
                </a:ln>
                <a:solidFill>
                  <a:schemeClr val="tx2"/>
                </a:solidFill>
                <a:effectLst/>
                <a:uLnTx/>
                <a:uFillTx/>
                <a:ea typeface="Segoe UI" pitchFamily="34" charset="0"/>
                <a:cs typeface="Segoe UI" pitchFamily="34" charset="0"/>
              </a:endParaRPr>
            </a:p>
          </p:txBody>
        </p:sp>
      </p:grpSp>
      <p:sp>
        <p:nvSpPr>
          <p:cNvPr id="98" name="Freeform 58">
            <a:extLst>
              <a:ext uri="{FF2B5EF4-FFF2-40B4-BE49-F238E27FC236}">
                <a16:creationId xmlns:a16="http://schemas.microsoft.com/office/drawing/2014/main" id="{BB5F1745-F221-41A2-A801-92F5CFFAB66C}"/>
              </a:ext>
            </a:extLst>
          </p:cNvPr>
          <p:cNvSpPr>
            <a:spLocks/>
          </p:cNvSpPr>
          <p:nvPr/>
        </p:nvSpPr>
        <p:spPr bwMode="auto">
          <a:xfrm>
            <a:off x="10095534" y="3501154"/>
            <a:ext cx="858069" cy="749498"/>
          </a:xfrm>
          <a:custGeom>
            <a:avLst/>
            <a:gdLst>
              <a:gd name="connsiteX0" fmla="*/ 2715505 w 6153926"/>
              <a:gd name="connsiteY0" fmla="*/ 2987675 h 5375275"/>
              <a:gd name="connsiteX1" fmla="*/ 2830615 w 6153926"/>
              <a:gd name="connsiteY1" fmla="*/ 3081961 h 5375275"/>
              <a:gd name="connsiteX2" fmla="*/ 2830615 w 6153926"/>
              <a:gd name="connsiteY2" fmla="*/ 3538182 h 5375275"/>
              <a:gd name="connsiteX3" fmla="*/ 2712476 w 6153926"/>
              <a:gd name="connsiteY3" fmla="*/ 3635509 h 5375275"/>
              <a:gd name="connsiteX4" fmla="*/ 2597366 w 6153926"/>
              <a:gd name="connsiteY4" fmla="*/ 3541223 h 5375275"/>
              <a:gd name="connsiteX5" fmla="*/ 2570103 w 6153926"/>
              <a:gd name="connsiteY5" fmla="*/ 3319196 h 5375275"/>
              <a:gd name="connsiteX6" fmla="*/ 2597366 w 6153926"/>
              <a:gd name="connsiteY6" fmla="*/ 3081961 h 5375275"/>
              <a:gd name="connsiteX7" fmla="*/ 2715505 w 6153926"/>
              <a:gd name="connsiteY7" fmla="*/ 2987675 h 5375275"/>
              <a:gd name="connsiteX8" fmla="*/ 3501273 w 6153926"/>
              <a:gd name="connsiteY8" fmla="*/ 2853918 h 5375275"/>
              <a:gd name="connsiteX9" fmla="*/ 3201995 w 6153926"/>
              <a:gd name="connsiteY9" fmla="*/ 3002840 h 5375275"/>
              <a:gd name="connsiteX10" fmla="*/ 3198973 w 6153926"/>
              <a:gd name="connsiteY10" fmla="*/ 3103134 h 5375275"/>
              <a:gd name="connsiteX11" fmla="*/ 3271525 w 6153926"/>
              <a:gd name="connsiteY11" fmla="*/ 3090978 h 5375275"/>
              <a:gd name="connsiteX12" fmla="*/ 3313847 w 6153926"/>
              <a:gd name="connsiteY12" fmla="*/ 3066664 h 5375275"/>
              <a:gd name="connsiteX13" fmla="*/ 3383375 w 6153926"/>
              <a:gd name="connsiteY13" fmla="*/ 3103134 h 5375275"/>
              <a:gd name="connsiteX14" fmla="*/ 3383375 w 6153926"/>
              <a:gd name="connsiteY14" fmla="*/ 3492156 h 5375275"/>
              <a:gd name="connsiteX15" fmla="*/ 3250363 w 6153926"/>
              <a:gd name="connsiteY15" fmla="*/ 3631960 h 5375275"/>
              <a:gd name="connsiteX16" fmla="*/ 3186881 w 6153926"/>
              <a:gd name="connsiteY16" fmla="*/ 3698823 h 5375275"/>
              <a:gd name="connsiteX17" fmla="*/ 3253387 w 6153926"/>
              <a:gd name="connsiteY17" fmla="*/ 3765686 h 5375275"/>
              <a:gd name="connsiteX18" fmla="*/ 3676607 w 6153926"/>
              <a:gd name="connsiteY18" fmla="*/ 3765686 h 5375275"/>
              <a:gd name="connsiteX19" fmla="*/ 3740091 w 6153926"/>
              <a:gd name="connsiteY19" fmla="*/ 3692745 h 5375275"/>
              <a:gd name="connsiteX20" fmla="*/ 3676607 w 6153926"/>
              <a:gd name="connsiteY20" fmla="*/ 3631960 h 5375275"/>
              <a:gd name="connsiteX21" fmla="*/ 3628239 w 6153926"/>
              <a:gd name="connsiteY21" fmla="*/ 3631960 h 5375275"/>
              <a:gd name="connsiteX22" fmla="*/ 3561733 w 6153926"/>
              <a:gd name="connsiteY22" fmla="*/ 3565097 h 5375275"/>
              <a:gd name="connsiteX23" fmla="*/ 3561733 w 6153926"/>
              <a:gd name="connsiteY23" fmla="*/ 3252057 h 5375275"/>
              <a:gd name="connsiteX24" fmla="*/ 3561733 w 6153926"/>
              <a:gd name="connsiteY24" fmla="*/ 2917742 h 5375275"/>
              <a:gd name="connsiteX25" fmla="*/ 3501273 w 6153926"/>
              <a:gd name="connsiteY25" fmla="*/ 2853918 h 5375275"/>
              <a:gd name="connsiteX26" fmla="*/ 2756101 w 6153926"/>
              <a:gd name="connsiteY26" fmla="*/ 2846544 h 5375275"/>
              <a:gd name="connsiteX27" fmla="*/ 2669771 w 6153926"/>
              <a:gd name="connsiteY27" fmla="*/ 2849012 h 5375275"/>
              <a:gd name="connsiteX28" fmla="*/ 2439935 w 6153926"/>
              <a:gd name="connsiteY28" fmla="*/ 3028205 h 5375275"/>
              <a:gd name="connsiteX29" fmla="*/ 2418766 w 6153926"/>
              <a:gd name="connsiteY29" fmla="*/ 3553638 h 5375275"/>
              <a:gd name="connsiteX30" fmla="*/ 2703037 w 6153926"/>
              <a:gd name="connsiteY30" fmla="*/ 3781426 h 5375275"/>
              <a:gd name="connsiteX31" fmla="*/ 3011501 w 6153926"/>
              <a:gd name="connsiteY31" fmla="*/ 3538452 h 5375275"/>
              <a:gd name="connsiteX32" fmla="*/ 3023597 w 6153926"/>
              <a:gd name="connsiteY32" fmla="*/ 3116284 h 5375275"/>
              <a:gd name="connsiteX33" fmla="*/ 2969163 w 6153926"/>
              <a:gd name="connsiteY33" fmla="*/ 2964425 h 5375275"/>
              <a:gd name="connsiteX34" fmla="*/ 2756101 w 6153926"/>
              <a:gd name="connsiteY34" fmla="*/ 2846544 h 5375275"/>
              <a:gd name="connsiteX35" fmla="*/ 3447343 w 6153926"/>
              <a:gd name="connsiteY35" fmla="*/ 1736726 h 5375275"/>
              <a:gd name="connsiteX36" fmla="*/ 3562455 w 6153926"/>
              <a:gd name="connsiteY36" fmla="*/ 1840157 h 5375275"/>
              <a:gd name="connsiteX37" fmla="*/ 3562455 w 6153926"/>
              <a:gd name="connsiteY37" fmla="*/ 2287345 h 5375275"/>
              <a:gd name="connsiteX38" fmla="*/ 3438255 w 6153926"/>
              <a:gd name="connsiteY38" fmla="*/ 2387734 h 5375275"/>
              <a:gd name="connsiteX39" fmla="*/ 3323147 w 6153926"/>
              <a:gd name="connsiteY39" fmla="*/ 2284303 h 5375275"/>
              <a:gd name="connsiteX40" fmla="*/ 3304971 w 6153926"/>
              <a:gd name="connsiteY40" fmla="*/ 2059188 h 5375275"/>
              <a:gd name="connsiteX41" fmla="*/ 3323147 w 6153926"/>
              <a:gd name="connsiteY41" fmla="*/ 1843199 h 5375275"/>
              <a:gd name="connsiteX42" fmla="*/ 3447343 w 6153926"/>
              <a:gd name="connsiteY42" fmla="*/ 1736726 h 5375275"/>
              <a:gd name="connsiteX43" fmla="*/ 2721400 w 6153926"/>
              <a:gd name="connsiteY43" fmla="*/ 1605002 h 5375275"/>
              <a:gd name="connsiteX44" fmla="*/ 2648022 w 6153926"/>
              <a:gd name="connsiteY44" fmla="*/ 1630452 h 5375275"/>
              <a:gd name="connsiteX45" fmla="*/ 2508830 w 6153926"/>
              <a:gd name="connsiteY45" fmla="*/ 1718576 h 5375275"/>
              <a:gd name="connsiteX46" fmla="*/ 2460416 w 6153926"/>
              <a:gd name="connsiteY46" fmla="*/ 1812778 h 5375275"/>
              <a:gd name="connsiteX47" fmla="*/ 2520934 w 6153926"/>
              <a:gd name="connsiteY47" fmla="*/ 1852283 h 5375275"/>
              <a:gd name="connsiteX48" fmla="*/ 2593556 w 6153926"/>
              <a:gd name="connsiteY48" fmla="*/ 1809740 h 5375275"/>
              <a:gd name="connsiteX49" fmla="*/ 2654074 w 6153926"/>
              <a:gd name="connsiteY49" fmla="*/ 1846205 h 5375275"/>
              <a:gd name="connsiteX50" fmla="*/ 2654074 w 6153926"/>
              <a:gd name="connsiteY50" fmla="*/ 2241246 h 5375275"/>
              <a:gd name="connsiteX51" fmla="*/ 2523960 w 6153926"/>
              <a:gd name="connsiteY51" fmla="*/ 2381030 h 5375275"/>
              <a:gd name="connsiteX52" fmla="*/ 2460416 w 6153926"/>
              <a:gd name="connsiteY52" fmla="*/ 2447883 h 5375275"/>
              <a:gd name="connsiteX53" fmla="*/ 2523960 w 6153926"/>
              <a:gd name="connsiteY53" fmla="*/ 2514736 h 5375275"/>
              <a:gd name="connsiteX54" fmla="*/ 2941535 w 6153926"/>
              <a:gd name="connsiteY54" fmla="*/ 2514736 h 5375275"/>
              <a:gd name="connsiteX55" fmla="*/ 3005079 w 6153926"/>
              <a:gd name="connsiteY55" fmla="*/ 2444844 h 5375275"/>
              <a:gd name="connsiteX56" fmla="*/ 2938509 w 6153926"/>
              <a:gd name="connsiteY56" fmla="*/ 2381030 h 5375275"/>
              <a:gd name="connsiteX57" fmla="*/ 2896145 w 6153926"/>
              <a:gd name="connsiteY57" fmla="*/ 2381030 h 5375275"/>
              <a:gd name="connsiteX58" fmla="*/ 2832601 w 6153926"/>
              <a:gd name="connsiteY58" fmla="*/ 2317216 h 5375275"/>
              <a:gd name="connsiteX59" fmla="*/ 2832601 w 6153926"/>
              <a:gd name="connsiteY59" fmla="*/ 1998144 h 5375275"/>
              <a:gd name="connsiteX60" fmla="*/ 2832601 w 6153926"/>
              <a:gd name="connsiteY60" fmla="*/ 1669956 h 5375275"/>
              <a:gd name="connsiteX61" fmla="*/ 2799317 w 6153926"/>
              <a:gd name="connsiteY61" fmla="*/ 1609180 h 5375275"/>
              <a:gd name="connsiteX62" fmla="*/ 2721400 w 6153926"/>
              <a:gd name="connsiteY62" fmla="*/ 1605002 h 5375275"/>
              <a:gd name="connsiteX63" fmla="*/ 3471919 w 6153926"/>
              <a:gd name="connsiteY63" fmla="*/ 1593715 h 5375275"/>
              <a:gd name="connsiteX64" fmla="*/ 3190671 w 6153926"/>
              <a:gd name="connsiteY64" fmla="*/ 1733485 h 5375275"/>
              <a:gd name="connsiteX65" fmla="*/ 3127167 w 6153926"/>
              <a:gd name="connsiteY65" fmla="*/ 2070759 h 5375275"/>
              <a:gd name="connsiteX66" fmla="*/ 3148335 w 6153926"/>
              <a:gd name="connsiteY66" fmla="*/ 2310800 h 5375275"/>
              <a:gd name="connsiteX67" fmla="*/ 3372123 w 6153926"/>
              <a:gd name="connsiteY67" fmla="*/ 2526533 h 5375275"/>
              <a:gd name="connsiteX68" fmla="*/ 3704779 w 6153926"/>
              <a:gd name="connsiteY68" fmla="*/ 2371570 h 5375275"/>
              <a:gd name="connsiteX69" fmla="*/ 3716875 w 6153926"/>
              <a:gd name="connsiteY69" fmla="*/ 1748678 h 5375275"/>
              <a:gd name="connsiteX70" fmla="*/ 3471919 w 6153926"/>
              <a:gd name="connsiteY70" fmla="*/ 1593715 h 5375275"/>
              <a:gd name="connsiteX71" fmla="*/ 1973628 w 6153926"/>
              <a:gd name="connsiteY71" fmla="*/ 1300163 h 5375275"/>
              <a:gd name="connsiteX72" fmla="*/ 3807727 w 6153926"/>
              <a:gd name="connsiteY72" fmla="*/ 1300163 h 5375275"/>
              <a:gd name="connsiteX73" fmla="*/ 3889445 w 6153926"/>
              <a:gd name="connsiteY73" fmla="*/ 1385185 h 5375275"/>
              <a:gd name="connsiteX74" fmla="*/ 3889445 w 6153926"/>
              <a:gd name="connsiteY74" fmla="*/ 1743493 h 5375275"/>
              <a:gd name="connsiteX75" fmla="*/ 3968135 w 6153926"/>
              <a:gd name="connsiteY75" fmla="*/ 1825479 h 5375275"/>
              <a:gd name="connsiteX76" fmla="*/ 4331325 w 6153926"/>
              <a:gd name="connsiteY76" fmla="*/ 1822442 h 5375275"/>
              <a:gd name="connsiteX77" fmla="*/ 4410015 w 6153926"/>
              <a:gd name="connsiteY77" fmla="*/ 1898355 h 5375275"/>
              <a:gd name="connsiteX78" fmla="*/ 4406989 w 6153926"/>
              <a:gd name="connsiteY78" fmla="*/ 3835645 h 5375275"/>
              <a:gd name="connsiteX79" fmla="*/ 4158809 w 6153926"/>
              <a:gd name="connsiteY79" fmla="*/ 4081602 h 5375275"/>
              <a:gd name="connsiteX80" fmla="*/ 1997840 w 6153926"/>
              <a:gd name="connsiteY80" fmla="*/ 4081602 h 5375275"/>
              <a:gd name="connsiteX81" fmla="*/ 1810193 w 6153926"/>
              <a:gd name="connsiteY81" fmla="*/ 4020872 h 5375275"/>
              <a:gd name="connsiteX82" fmla="*/ 1755715 w 6153926"/>
              <a:gd name="connsiteY82" fmla="*/ 3869046 h 5375275"/>
              <a:gd name="connsiteX83" fmla="*/ 1755715 w 6153926"/>
              <a:gd name="connsiteY83" fmla="*/ 2684809 h 5375275"/>
              <a:gd name="connsiteX84" fmla="*/ 1755715 w 6153926"/>
              <a:gd name="connsiteY84" fmla="*/ 1521828 h 5375275"/>
              <a:gd name="connsiteX85" fmla="*/ 1973628 w 6153926"/>
              <a:gd name="connsiteY85" fmla="*/ 1300163 h 5375275"/>
              <a:gd name="connsiteX86" fmla="*/ 1970524 w 6153926"/>
              <a:gd name="connsiteY86" fmla="*/ 1071563 h 5375275"/>
              <a:gd name="connsiteX87" fmla="*/ 1531729 w 6153926"/>
              <a:gd name="connsiteY87" fmla="*/ 1515054 h 5375275"/>
              <a:gd name="connsiteX88" fmla="*/ 1531729 w 6153926"/>
              <a:gd name="connsiteY88" fmla="*/ 3854010 h 5375275"/>
              <a:gd name="connsiteX89" fmla="*/ 1979603 w 6153926"/>
              <a:gd name="connsiteY89" fmla="*/ 4300538 h 5375275"/>
              <a:gd name="connsiteX90" fmla="*/ 3081129 w 6153926"/>
              <a:gd name="connsiteY90" fmla="*/ 4300538 h 5375275"/>
              <a:gd name="connsiteX91" fmla="*/ 4185683 w 6153926"/>
              <a:gd name="connsiteY91" fmla="*/ 4300538 h 5375275"/>
              <a:gd name="connsiteX92" fmla="*/ 4627503 w 6153926"/>
              <a:gd name="connsiteY92" fmla="*/ 3860085 h 5375275"/>
              <a:gd name="connsiteX93" fmla="*/ 4627503 w 6153926"/>
              <a:gd name="connsiteY93" fmla="*/ 1776288 h 5375275"/>
              <a:gd name="connsiteX94" fmla="*/ 4579085 w 6153926"/>
              <a:gd name="connsiteY94" fmla="*/ 1660859 h 5375275"/>
              <a:gd name="connsiteX95" fmla="*/ 4022269 w 6153926"/>
              <a:gd name="connsiteY95" fmla="*/ 1111052 h 5375275"/>
              <a:gd name="connsiteX96" fmla="*/ 3925431 w 6153926"/>
              <a:gd name="connsiteY96" fmla="*/ 1071563 h 5375275"/>
              <a:gd name="connsiteX97" fmla="*/ 1970524 w 6153926"/>
              <a:gd name="connsiteY97" fmla="*/ 1071563 h 5375275"/>
              <a:gd name="connsiteX98" fmla="*/ 1606981 w 6153926"/>
              <a:gd name="connsiteY98" fmla="*/ 0 h 5375275"/>
              <a:gd name="connsiteX99" fmla="*/ 3062967 w 6153926"/>
              <a:gd name="connsiteY99" fmla="*/ 0 h 5375275"/>
              <a:gd name="connsiteX100" fmla="*/ 4540143 w 6153926"/>
              <a:gd name="connsiteY100" fmla="*/ 0 h 5375275"/>
              <a:gd name="connsiteX101" fmla="*/ 4664251 w 6153926"/>
              <a:gd name="connsiteY101" fmla="*/ 72885 h 5375275"/>
              <a:gd name="connsiteX102" fmla="*/ 5944671 w 6153926"/>
              <a:gd name="connsiteY102" fmla="*/ 2295880 h 5375275"/>
              <a:gd name="connsiteX103" fmla="*/ 6132345 w 6153926"/>
              <a:gd name="connsiteY103" fmla="*/ 2620826 h 5375275"/>
              <a:gd name="connsiteX104" fmla="*/ 6132345 w 6153926"/>
              <a:gd name="connsiteY104" fmla="*/ 2754449 h 5375275"/>
              <a:gd name="connsiteX105" fmla="*/ 5366515 w 6153926"/>
              <a:gd name="connsiteY105" fmla="*/ 4084602 h 5375275"/>
              <a:gd name="connsiteX106" fmla="*/ 4661223 w 6153926"/>
              <a:gd name="connsiteY106" fmla="*/ 5308464 h 5375275"/>
              <a:gd name="connsiteX107" fmla="*/ 4552251 w 6153926"/>
              <a:gd name="connsiteY107" fmla="*/ 5372238 h 5375275"/>
              <a:gd name="connsiteX108" fmla="*/ 3075075 w 6153926"/>
              <a:gd name="connsiteY108" fmla="*/ 5372238 h 5375275"/>
              <a:gd name="connsiteX109" fmla="*/ 1616062 w 6153926"/>
              <a:gd name="connsiteY109" fmla="*/ 5375275 h 5375275"/>
              <a:gd name="connsiteX110" fmla="*/ 1491955 w 6153926"/>
              <a:gd name="connsiteY110" fmla="*/ 5302390 h 5375275"/>
              <a:gd name="connsiteX111" fmla="*/ 160075 w 6153926"/>
              <a:gd name="connsiteY111" fmla="*/ 2982215 h 5375275"/>
              <a:gd name="connsiteX112" fmla="*/ 14779 w 6153926"/>
              <a:gd name="connsiteY112" fmla="*/ 2736228 h 5375275"/>
              <a:gd name="connsiteX113" fmla="*/ 14779 w 6153926"/>
              <a:gd name="connsiteY113" fmla="*/ 2642084 h 5375275"/>
              <a:gd name="connsiteX114" fmla="*/ 1370875 w 6153926"/>
              <a:gd name="connsiteY114" fmla="*/ 285467 h 5375275"/>
              <a:gd name="connsiteX115" fmla="*/ 1501036 w 6153926"/>
              <a:gd name="connsiteY115" fmla="*/ 60738 h 5375275"/>
              <a:gd name="connsiteX116" fmla="*/ 1606981 w 6153926"/>
              <a:gd name="connsiteY116" fmla="*/ 0 h 537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6153926" h="5375275">
                <a:moveTo>
                  <a:pt x="2715505" y="2987675"/>
                </a:moveTo>
                <a:cubicBezTo>
                  <a:pt x="2779119" y="2987675"/>
                  <a:pt x="2818499" y="3024173"/>
                  <a:pt x="2830615" y="3081961"/>
                </a:cubicBezTo>
                <a:cubicBezTo>
                  <a:pt x="2866967" y="3234034"/>
                  <a:pt x="2866967" y="3389150"/>
                  <a:pt x="2830615" y="3538182"/>
                </a:cubicBezTo>
                <a:cubicBezTo>
                  <a:pt x="2815469" y="3611177"/>
                  <a:pt x="2776090" y="3635509"/>
                  <a:pt x="2712476" y="3635509"/>
                </a:cubicBezTo>
                <a:cubicBezTo>
                  <a:pt x="2642804" y="3638550"/>
                  <a:pt x="2612512" y="3599011"/>
                  <a:pt x="2597366" y="3541223"/>
                </a:cubicBezTo>
                <a:cubicBezTo>
                  <a:pt x="2573132" y="3465186"/>
                  <a:pt x="2576161" y="3389150"/>
                  <a:pt x="2570103" y="3319196"/>
                </a:cubicBezTo>
                <a:cubicBezTo>
                  <a:pt x="2573132" y="3234034"/>
                  <a:pt x="2576161" y="3157998"/>
                  <a:pt x="2597366" y="3081961"/>
                </a:cubicBezTo>
                <a:cubicBezTo>
                  <a:pt x="2615541" y="3027214"/>
                  <a:pt x="2648863" y="2987675"/>
                  <a:pt x="2715505" y="2987675"/>
                </a:cubicBezTo>
                <a:close/>
                <a:moveTo>
                  <a:pt x="3501273" y="2853918"/>
                </a:moveTo>
                <a:cubicBezTo>
                  <a:pt x="3371283" y="2844800"/>
                  <a:pt x="3292685" y="2939016"/>
                  <a:pt x="3201995" y="3002840"/>
                </a:cubicBezTo>
                <a:cubicBezTo>
                  <a:pt x="3171765" y="3021075"/>
                  <a:pt x="3174789" y="3075781"/>
                  <a:pt x="3198973" y="3103134"/>
                </a:cubicBezTo>
                <a:cubicBezTo>
                  <a:pt x="3220133" y="3133527"/>
                  <a:pt x="3247341" y="3100095"/>
                  <a:pt x="3271525" y="3090978"/>
                </a:cubicBezTo>
                <a:cubicBezTo>
                  <a:pt x="3286639" y="3084899"/>
                  <a:pt x="3298731" y="3075781"/>
                  <a:pt x="3313847" y="3066664"/>
                </a:cubicBezTo>
                <a:cubicBezTo>
                  <a:pt x="3374307" y="3033232"/>
                  <a:pt x="3380353" y="3036271"/>
                  <a:pt x="3383375" y="3103134"/>
                </a:cubicBezTo>
                <a:cubicBezTo>
                  <a:pt x="3383375" y="3233821"/>
                  <a:pt x="3383375" y="3364508"/>
                  <a:pt x="3383375" y="3492156"/>
                </a:cubicBezTo>
                <a:cubicBezTo>
                  <a:pt x="3383375" y="3625882"/>
                  <a:pt x="3383375" y="3628921"/>
                  <a:pt x="3250363" y="3631960"/>
                </a:cubicBezTo>
                <a:cubicBezTo>
                  <a:pt x="3201995" y="3634999"/>
                  <a:pt x="3186881" y="3656274"/>
                  <a:pt x="3186881" y="3698823"/>
                </a:cubicBezTo>
                <a:cubicBezTo>
                  <a:pt x="3189903" y="3744411"/>
                  <a:pt x="3205019" y="3768725"/>
                  <a:pt x="3253387" y="3765686"/>
                </a:cubicBezTo>
                <a:cubicBezTo>
                  <a:pt x="3392445" y="3765686"/>
                  <a:pt x="3534525" y="3765686"/>
                  <a:pt x="3676607" y="3765686"/>
                </a:cubicBezTo>
                <a:cubicBezTo>
                  <a:pt x="3727999" y="3768725"/>
                  <a:pt x="3740091" y="3735294"/>
                  <a:pt x="3740091" y="3692745"/>
                </a:cubicBezTo>
                <a:cubicBezTo>
                  <a:pt x="3740091" y="3650195"/>
                  <a:pt x="3718929" y="3631960"/>
                  <a:pt x="3676607" y="3631960"/>
                </a:cubicBezTo>
                <a:cubicBezTo>
                  <a:pt x="3658469" y="3634999"/>
                  <a:pt x="3643353" y="3631960"/>
                  <a:pt x="3628239" y="3631960"/>
                </a:cubicBezTo>
                <a:cubicBezTo>
                  <a:pt x="3576847" y="3638038"/>
                  <a:pt x="3558709" y="3616764"/>
                  <a:pt x="3561733" y="3565097"/>
                </a:cubicBezTo>
                <a:cubicBezTo>
                  <a:pt x="3561733" y="3461763"/>
                  <a:pt x="3561733" y="3355390"/>
                  <a:pt x="3561733" y="3252057"/>
                </a:cubicBezTo>
                <a:cubicBezTo>
                  <a:pt x="3561733" y="3139605"/>
                  <a:pt x="3558709" y="3027154"/>
                  <a:pt x="3561733" y="2917742"/>
                </a:cubicBezTo>
                <a:cubicBezTo>
                  <a:pt x="3561733" y="2872153"/>
                  <a:pt x="3543595" y="2856957"/>
                  <a:pt x="3501273" y="2853918"/>
                </a:cubicBezTo>
                <a:close/>
                <a:moveTo>
                  <a:pt x="2756101" y="2846544"/>
                </a:moveTo>
                <a:cubicBezTo>
                  <a:pt x="2728175" y="2844836"/>
                  <a:pt x="2699257" y="2845975"/>
                  <a:pt x="2669771" y="2849012"/>
                </a:cubicBezTo>
                <a:cubicBezTo>
                  <a:pt x="2560901" y="2861161"/>
                  <a:pt x="2479249" y="2924941"/>
                  <a:pt x="2439935" y="3028205"/>
                </a:cubicBezTo>
                <a:cubicBezTo>
                  <a:pt x="2376428" y="3201325"/>
                  <a:pt x="2379452" y="3377481"/>
                  <a:pt x="2418766" y="3553638"/>
                </a:cubicBezTo>
                <a:cubicBezTo>
                  <a:pt x="2452032" y="3711571"/>
                  <a:pt x="2542756" y="3778389"/>
                  <a:pt x="2703037" y="3781426"/>
                </a:cubicBezTo>
                <a:cubicBezTo>
                  <a:pt x="2869365" y="3781426"/>
                  <a:pt x="2969163" y="3702460"/>
                  <a:pt x="3011501" y="3538452"/>
                </a:cubicBezTo>
                <a:cubicBezTo>
                  <a:pt x="3044767" y="3398742"/>
                  <a:pt x="3041741" y="3259031"/>
                  <a:pt x="3023597" y="3116284"/>
                </a:cubicBezTo>
                <a:cubicBezTo>
                  <a:pt x="3014525" y="3064652"/>
                  <a:pt x="2999403" y="3009982"/>
                  <a:pt x="2969163" y="2964425"/>
                </a:cubicBezTo>
                <a:cubicBezTo>
                  <a:pt x="2914727" y="2882421"/>
                  <a:pt x="2839879" y="2851669"/>
                  <a:pt x="2756101" y="2846544"/>
                </a:cubicBezTo>
                <a:close/>
                <a:moveTo>
                  <a:pt x="3447343" y="1736726"/>
                </a:moveTo>
                <a:cubicBezTo>
                  <a:pt x="3507927" y="1736726"/>
                  <a:pt x="3544279" y="1767147"/>
                  <a:pt x="3562455" y="1840157"/>
                </a:cubicBezTo>
                <a:cubicBezTo>
                  <a:pt x="3595775" y="1989220"/>
                  <a:pt x="3598803" y="2138282"/>
                  <a:pt x="3562455" y="2287345"/>
                </a:cubicBezTo>
                <a:cubicBezTo>
                  <a:pt x="3547307" y="2357313"/>
                  <a:pt x="3498839" y="2390776"/>
                  <a:pt x="3438255" y="2387734"/>
                </a:cubicBezTo>
                <a:cubicBezTo>
                  <a:pt x="3377671" y="2387734"/>
                  <a:pt x="3341319" y="2354271"/>
                  <a:pt x="3323147" y="2284303"/>
                </a:cubicBezTo>
                <a:cubicBezTo>
                  <a:pt x="3301939" y="2211293"/>
                  <a:pt x="3304971" y="2135240"/>
                  <a:pt x="3304971" y="2059188"/>
                </a:cubicBezTo>
                <a:cubicBezTo>
                  <a:pt x="3307999" y="1986178"/>
                  <a:pt x="3301939" y="1913168"/>
                  <a:pt x="3323147" y="1843199"/>
                </a:cubicBezTo>
                <a:cubicBezTo>
                  <a:pt x="3344351" y="1773231"/>
                  <a:pt x="3386759" y="1736726"/>
                  <a:pt x="3447343" y="1736726"/>
                </a:cubicBezTo>
                <a:close/>
                <a:moveTo>
                  <a:pt x="2721400" y="1605002"/>
                </a:moveTo>
                <a:cubicBezTo>
                  <a:pt x="2695680" y="1606901"/>
                  <a:pt x="2670716" y="1613738"/>
                  <a:pt x="2648022" y="1630452"/>
                </a:cubicBezTo>
                <a:cubicBezTo>
                  <a:pt x="2602633" y="1660839"/>
                  <a:pt x="2557245" y="1691227"/>
                  <a:pt x="2508830" y="1718576"/>
                </a:cubicBezTo>
                <a:cubicBezTo>
                  <a:pt x="2472520" y="1739848"/>
                  <a:pt x="2457390" y="1770236"/>
                  <a:pt x="2460416" y="1812778"/>
                </a:cubicBezTo>
                <a:cubicBezTo>
                  <a:pt x="2463442" y="1867476"/>
                  <a:pt x="2472520" y="1876593"/>
                  <a:pt x="2520934" y="1852283"/>
                </a:cubicBezTo>
                <a:cubicBezTo>
                  <a:pt x="2545141" y="1840127"/>
                  <a:pt x="2569348" y="1824934"/>
                  <a:pt x="2593556" y="1809740"/>
                </a:cubicBezTo>
                <a:cubicBezTo>
                  <a:pt x="2638944" y="1785429"/>
                  <a:pt x="2657099" y="1794546"/>
                  <a:pt x="2654074" y="1846205"/>
                </a:cubicBezTo>
                <a:cubicBezTo>
                  <a:pt x="2654074" y="1976873"/>
                  <a:pt x="2654074" y="2110579"/>
                  <a:pt x="2654074" y="2241246"/>
                </a:cubicBezTo>
                <a:cubicBezTo>
                  <a:pt x="2654074" y="2374953"/>
                  <a:pt x="2654074" y="2377991"/>
                  <a:pt x="2523960" y="2381030"/>
                </a:cubicBezTo>
                <a:cubicBezTo>
                  <a:pt x="2475545" y="2384069"/>
                  <a:pt x="2460416" y="2405340"/>
                  <a:pt x="2460416" y="2447883"/>
                </a:cubicBezTo>
                <a:cubicBezTo>
                  <a:pt x="2460416" y="2493465"/>
                  <a:pt x="2475545" y="2517775"/>
                  <a:pt x="2523960" y="2514736"/>
                </a:cubicBezTo>
                <a:cubicBezTo>
                  <a:pt x="2663151" y="2514736"/>
                  <a:pt x="2802343" y="2514736"/>
                  <a:pt x="2941535" y="2514736"/>
                </a:cubicBezTo>
                <a:cubicBezTo>
                  <a:pt x="2992975" y="2517775"/>
                  <a:pt x="3005079" y="2490426"/>
                  <a:pt x="3005079" y="2444844"/>
                </a:cubicBezTo>
                <a:cubicBezTo>
                  <a:pt x="3005079" y="2396224"/>
                  <a:pt x="2983897" y="2377991"/>
                  <a:pt x="2938509" y="2381030"/>
                </a:cubicBezTo>
                <a:cubicBezTo>
                  <a:pt x="2926405" y="2384069"/>
                  <a:pt x="2911275" y="2381030"/>
                  <a:pt x="2896145" y="2381030"/>
                </a:cubicBezTo>
                <a:cubicBezTo>
                  <a:pt x="2850757" y="2387108"/>
                  <a:pt x="2832601" y="2365836"/>
                  <a:pt x="2832601" y="2317216"/>
                </a:cubicBezTo>
                <a:cubicBezTo>
                  <a:pt x="2835627" y="2210858"/>
                  <a:pt x="2832601" y="2104501"/>
                  <a:pt x="2832601" y="1998144"/>
                </a:cubicBezTo>
                <a:cubicBezTo>
                  <a:pt x="2832601" y="1888748"/>
                  <a:pt x="2832601" y="1779352"/>
                  <a:pt x="2832601" y="1669956"/>
                </a:cubicBezTo>
                <a:cubicBezTo>
                  <a:pt x="2832601" y="1642607"/>
                  <a:pt x="2835627" y="1612219"/>
                  <a:pt x="2799317" y="1609180"/>
                </a:cubicBezTo>
                <a:cubicBezTo>
                  <a:pt x="2773597" y="1606141"/>
                  <a:pt x="2747120" y="1603103"/>
                  <a:pt x="2721400" y="1605002"/>
                </a:cubicBezTo>
                <a:close/>
                <a:moveTo>
                  <a:pt x="3471919" y="1593715"/>
                </a:moveTo>
                <a:cubicBezTo>
                  <a:pt x="3353975" y="1590676"/>
                  <a:pt x="3254179" y="1624100"/>
                  <a:pt x="3190671" y="1733485"/>
                </a:cubicBezTo>
                <a:cubicBezTo>
                  <a:pt x="3130191" y="1839833"/>
                  <a:pt x="3124139" y="1952257"/>
                  <a:pt x="3127167" y="2070759"/>
                </a:cubicBezTo>
                <a:cubicBezTo>
                  <a:pt x="3127167" y="2149760"/>
                  <a:pt x="3127167" y="2231799"/>
                  <a:pt x="3148335" y="2310800"/>
                </a:cubicBezTo>
                <a:cubicBezTo>
                  <a:pt x="3181599" y="2438417"/>
                  <a:pt x="3257203" y="2511341"/>
                  <a:pt x="3372123" y="2526533"/>
                </a:cubicBezTo>
                <a:cubicBezTo>
                  <a:pt x="3538451" y="2544764"/>
                  <a:pt x="3650343" y="2499187"/>
                  <a:pt x="3704779" y="2371570"/>
                </a:cubicBezTo>
                <a:cubicBezTo>
                  <a:pt x="3792479" y="2167991"/>
                  <a:pt x="3789455" y="1955296"/>
                  <a:pt x="3716875" y="1748678"/>
                </a:cubicBezTo>
                <a:cubicBezTo>
                  <a:pt x="3677563" y="1639292"/>
                  <a:pt x="3580787" y="1599792"/>
                  <a:pt x="3471919" y="1593715"/>
                </a:cubicBezTo>
                <a:close/>
                <a:moveTo>
                  <a:pt x="1973628" y="1300163"/>
                </a:moveTo>
                <a:cubicBezTo>
                  <a:pt x="2584995" y="1300163"/>
                  <a:pt x="3196361" y="1300163"/>
                  <a:pt x="3807727" y="1300163"/>
                </a:cubicBezTo>
                <a:cubicBezTo>
                  <a:pt x="3889445" y="1300163"/>
                  <a:pt x="3889445" y="1300163"/>
                  <a:pt x="3889445" y="1385185"/>
                </a:cubicBezTo>
                <a:cubicBezTo>
                  <a:pt x="3889445" y="1503609"/>
                  <a:pt x="3892471" y="1625069"/>
                  <a:pt x="3889445" y="1743493"/>
                </a:cubicBezTo>
                <a:cubicBezTo>
                  <a:pt x="3886419" y="1804223"/>
                  <a:pt x="3904579" y="1825479"/>
                  <a:pt x="3968135" y="1825479"/>
                </a:cubicBezTo>
                <a:cubicBezTo>
                  <a:pt x="4089199" y="1819405"/>
                  <a:pt x="4210261" y="1825479"/>
                  <a:pt x="4331325" y="1822442"/>
                </a:cubicBezTo>
                <a:cubicBezTo>
                  <a:pt x="4385803" y="1822442"/>
                  <a:pt x="4410015" y="1837625"/>
                  <a:pt x="4410015" y="1898355"/>
                </a:cubicBezTo>
                <a:cubicBezTo>
                  <a:pt x="4406989" y="2545130"/>
                  <a:pt x="4410015" y="3188869"/>
                  <a:pt x="4406989" y="3835645"/>
                </a:cubicBezTo>
                <a:cubicBezTo>
                  <a:pt x="4406989" y="4008726"/>
                  <a:pt x="4331325" y="4081602"/>
                  <a:pt x="4158809" y="4081602"/>
                </a:cubicBezTo>
                <a:cubicBezTo>
                  <a:pt x="3438487" y="4084638"/>
                  <a:pt x="2718164" y="4081602"/>
                  <a:pt x="1997840" y="4081602"/>
                </a:cubicBezTo>
                <a:cubicBezTo>
                  <a:pt x="1928229" y="4081602"/>
                  <a:pt x="1861645" y="4072492"/>
                  <a:pt x="1810193" y="4020872"/>
                </a:cubicBezTo>
                <a:cubicBezTo>
                  <a:pt x="1767821" y="3978360"/>
                  <a:pt x="1755715" y="3926740"/>
                  <a:pt x="1755715" y="3869046"/>
                </a:cubicBezTo>
                <a:cubicBezTo>
                  <a:pt x="1755715" y="3474301"/>
                  <a:pt x="1755715" y="3079555"/>
                  <a:pt x="1755715" y="2684809"/>
                </a:cubicBezTo>
                <a:cubicBezTo>
                  <a:pt x="1755715" y="2296137"/>
                  <a:pt x="1755715" y="1910501"/>
                  <a:pt x="1755715" y="1521828"/>
                </a:cubicBezTo>
                <a:cubicBezTo>
                  <a:pt x="1755715" y="1373039"/>
                  <a:pt x="1825326" y="1300163"/>
                  <a:pt x="1973628" y="1300163"/>
                </a:cubicBezTo>
                <a:close/>
                <a:moveTo>
                  <a:pt x="1970524" y="1071563"/>
                </a:moveTo>
                <a:cubicBezTo>
                  <a:pt x="1707247" y="1071563"/>
                  <a:pt x="1531729" y="1250782"/>
                  <a:pt x="1531729" y="1515054"/>
                </a:cubicBezTo>
                <a:cubicBezTo>
                  <a:pt x="1528703" y="2295718"/>
                  <a:pt x="1528703" y="3076383"/>
                  <a:pt x="1531729" y="3854010"/>
                </a:cubicBezTo>
                <a:cubicBezTo>
                  <a:pt x="1531729" y="4130432"/>
                  <a:pt x="1704221" y="4300538"/>
                  <a:pt x="1979603" y="4300538"/>
                </a:cubicBezTo>
                <a:cubicBezTo>
                  <a:pt x="2345769" y="4300538"/>
                  <a:pt x="2711936" y="4300538"/>
                  <a:pt x="3081129" y="4300538"/>
                </a:cubicBezTo>
                <a:cubicBezTo>
                  <a:pt x="3450323" y="4300538"/>
                  <a:pt x="3816489" y="4300538"/>
                  <a:pt x="4185683" y="4300538"/>
                </a:cubicBezTo>
                <a:cubicBezTo>
                  <a:pt x="4455011" y="4300538"/>
                  <a:pt x="4627503" y="4130432"/>
                  <a:pt x="4627503" y="3860085"/>
                </a:cubicBezTo>
                <a:cubicBezTo>
                  <a:pt x="4627503" y="3167511"/>
                  <a:pt x="4627503" y="2471899"/>
                  <a:pt x="4627503" y="1776288"/>
                </a:cubicBezTo>
                <a:cubicBezTo>
                  <a:pt x="4627503" y="1727686"/>
                  <a:pt x="4612373" y="1694272"/>
                  <a:pt x="4579085" y="1660859"/>
                </a:cubicBezTo>
                <a:cubicBezTo>
                  <a:pt x="4391461" y="1478602"/>
                  <a:pt x="4206865" y="1296346"/>
                  <a:pt x="4022269" y="1111052"/>
                </a:cubicBezTo>
                <a:cubicBezTo>
                  <a:pt x="3995033" y="1083714"/>
                  <a:pt x="3964771" y="1071563"/>
                  <a:pt x="3925431" y="1071563"/>
                </a:cubicBezTo>
                <a:cubicBezTo>
                  <a:pt x="3274805" y="1071563"/>
                  <a:pt x="2621151" y="1071563"/>
                  <a:pt x="1970524" y="1071563"/>
                </a:cubicBezTo>
                <a:close/>
                <a:moveTo>
                  <a:pt x="1606981" y="0"/>
                </a:moveTo>
                <a:cubicBezTo>
                  <a:pt x="2091301" y="3037"/>
                  <a:pt x="2578647" y="0"/>
                  <a:pt x="3062967" y="0"/>
                </a:cubicBezTo>
                <a:cubicBezTo>
                  <a:pt x="3556369" y="0"/>
                  <a:pt x="4049769" y="3037"/>
                  <a:pt x="4540143" y="0"/>
                </a:cubicBezTo>
                <a:cubicBezTo>
                  <a:pt x="4600683" y="0"/>
                  <a:pt x="4633979" y="18221"/>
                  <a:pt x="4664251" y="72885"/>
                </a:cubicBezTo>
                <a:cubicBezTo>
                  <a:pt x="5091057" y="813884"/>
                  <a:pt x="5517863" y="1554882"/>
                  <a:pt x="5944671" y="2295880"/>
                </a:cubicBezTo>
                <a:cubicBezTo>
                  <a:pt x="6005211" y="2405208"/>
                  <a:pt x="6065751" y="2514536"/>
                  <a:pt x="6132345" y="2620826"/>
                </a:cubicBezTo>
                <a:cubicBezTo>
                  <a:pt x="6162615" y="2669416"/>
                  <a:pt x="6159587" y="2708896"/>
                  <a:pt x="6132345" y="2754449"/>
                </a:cubicBezTo>
                <a:cubicBezTo>
                  <a:pt x="5875051" y="3197833"/>
                  <a:pt x="5620783" y="3641217"/>
                  <a:pt x="5366515" y="4084602"/>
                </a:cubicBezTo>
                <a:cubicBezTo>
                  <a:pt x="5130407" y="4491544"/>
                  <a:pt x="4894303" y="4901522"/>
                  <a:pt x="4661223" y="5308464"/>
                </a:cubicBezTo>
                <a:cubicBezTo>
                  <a:pt x="4633979" y="5357054"/>
                  <a:pt x="4606737" y="5375275"/>
                  <a:pt x="4552251" y="5372238"/>
                </a:cubicBezTo>
                <a:cubicBezTo>
                  <a:pt x="4058851" y="5372238"/>
                  <a:pt x="3568477" y="5372238"/>
                  <a:pt x="3075075" y="5372238"/>
                </a:cubicBezTo>
                <a:cubicBezTo>
                  <a:pt x="2587729" y="5372238"/>
                  <a:pt x="2103409" y="5372238"/>
                  <a:pt x="1616062" y="5375275"/>
                </a:cubicBezTo>
                <a:cubicBezTo>
                  <a:pt x="1555522" y="5375275"/>
                  <a:pt x="1522225" y="5357054"/>
                  <a:pt x="1491955" y="5302390"/>
                </a:cubicBezTo>
                <a:cubicBezTo>
                  <a:pt x="1050013" y="4527986"/>
                  <a:pt x="605044" y="3756619"/>
                  <a:pt x="160075" y="2982215"/>
                </a:cubicBezTo>
                <a:cubicBezTo>
                  <a:pt x="111643" y="2900219"/>
                  <a:pt x="63211" y="2818223"/>
                  <a:pt x="14779" y="2736228"/>
                </a:cubicBezTo>
                <a:cubicBezTo>
                  <a:pt x="-3383" y="2705859"/>
                  <a:pt x="-6410" y="2678527"/>
                  <a:pt x="14779" y="2642084"/>
                </a:cubicBezTo>
                <a:cubicBezTo>
                  <a:pt x="465802" y="1858570"/>
                  <a:pt x="919852" y="1072018"/>
                  <a:pt x="1370875" y="285467"/>
                </a:cubicBezTo>
                <a:cubicBezTo>
                  <a:pt x="1413253" y="212582"/>
                  <a:pt x="1458658" y="136660"/>
                  <a:pt x="1501036" y="60738"/>
                </a:cubicBezTo>
                <a:cubicBezTo>
                  <a:pt x="1522225" y="15184"/>
                  <a:pt x="1555522" y="0"/>
                  <a:pt x="1606981"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12" name="Freeform 58">
            <a:extLst>
              <a:ext uri="{FF2B5EF4-FFF2-40B4-BE49-F238E27FC236}">
                <a16:creationId xmlns:a16="http://schemas.microsoft.com/office/drawing/2014/main" id="{CC8B618B-580A-4A7A-A205-AE2C688390E0}"/>
              </a:ext>
            </a:extLst>
          </p:cNvPr>
          <p:cNvSpPr>
            <a:spLocks/>
          </p:cNvSpPr>
          <p:nvPr/>
        </p:nvSpPr>
        <p:spPr bwMode="auto">
          <a:xfrm>
            <a:off x="10095534" y="4457597"/>
            <a:ext cx="858069" cy="749498"/>
          </a:xfrm>
          <a:custGeom>
            <a:avLst/>
            <a:gdLst>
              <a:gd name="connsiteX0" fmla="*/ 2715505 w 6153926"/>
              <a:gd name="connsiteY0" fmla="*/ 2987675 h 5375275"/>
              <a:gd name="connsiteX1" fmla="*/ 2830615 w 6153926"/>
              <a:gd name="connsiteY1" fmla="*/ 3081961 h 5375275"/>
              <a:gd name="connsiteX2" fmla="*/ 2830615 w 6153926"/>
              <a:gd name="connsiteY2" fmla="*/ 3538182 h 5375275"/>
              <a:gd name="connsiteX3" fmla="*/ 2712476 w 6153926"/>
              <a:gd name="connsiteY3" fmla="*/ 3635509 h 5375275"/>
              <a:gd name="connsiteX4" fmla="*/ 2597366 w 6153926"/>
              <a:gd name="connsiteY4" fmla="*/ 3541223 h 5375275"/>
              <a:gd name="connsiteX5" fmla="*/ 2570103 w 6153926"/>
              <a:gd name="connsiteY5" fmla="*/ 3319196 h 5375275"/>
              <a:gd name="connsiteX6" fmla="*/ 2597366 w 6153926"/>
              <a:gd name="connsiteY6" fmla="*/ 3081961 h 5375275"/>
              <a:gd name="connsiteX7" fmla="*/ 2715505 w 6153926"/>
              <a:gd name="connsiteY7" fmla="*/ 2987675 h 5375275"/>
              <a:gd name="connsiteX8" fmla="*/ 3501273 w 6153926"/>
              <a:gd name="connsiteY8" fmla="*/ 2853918 h 5375275"/>
              <a:gd name="connsiteX9" fmla="*/ 3201995 w 6153926"/>
              <a:gd name="connsiteY9" fmla="*/ 3002840 h 5375275"/>
              <a:gd name="connsiteX10" fmla="*/ 3198973 w 6153926"/>
              <a:gd name="connsiteY10" fmla="*/ 3103134 h 5375275"/>
              <a:gd name="connsiteX11" fmla="*/ 3271525 w 6153926"/>
              <a:gd name="connsiteY11" fmla="*/ 3090978 h 5375275"/>
              <a:gd name="connsiteX12" fmla="*/ 3313847 w 6153926"/>
              <a:gd name="connsiteY12" fmla="*/ 3066664 h 5375275"/>
              <a:gd name="connsiteX13" fmla="*/ 3383375 w 6153926"/>
              <a:gd name="connsiteY13" fmla="*/ 3103134 h 5375275"/>
              <a:gd name="connsiteX14" fmla="*/ 3383375 w 6153926"/>
              <a:gd name="connsiteY14" fmla="*/ 3492156 h 5375275"/>
              <a:gd name="connsiteX15" fmla="*/ 3250363 w 6153926"/>
              <a:gd name="connsiteY15" fmla="*/ 3631960 h 5375275"/>
              <a:gd name="connsiteX16" fmla="*/ 3186881 w 6153926"/>
              <a:gd name="connsiteY16" fmla="*/ 3698823 h 5375275"/>
              <a:gd name="connsiteX17" fmla="*/ 3253387 w 6153926"/>
              <a:gd name="connsiteY17" fmla="*/ 3765686 h 5375275"/>
              <a:gd name="connsiteX18" fmla="*/ 3676607 w 6153926"/>
              <a:gd name="connsiteY18" fmla="*/ 3765686 h 5375275"/>
              <a:gd name="connsiteX19" fmla="*/ 3740091 w 6153926"/>
              <a:gd name="connsiteY19" fmla="*/ 3692745 h 5375275"/>
              <a:gd name="connsiteX20" fmla="*/ 3676607 w 6153926"/>
              <a:gd name="connsiteY20" fmla="*/ 3631960 h 5375275"/>
              <a:gd name="connsiteX21" fmla="*/ 3628239 w 6153926"/>
              <a:gd name="connsiteY21" fmla="*/ 3631960 h 5375275"/>
              <a:gd name="connsiteX22" fmla="*/ 3561733 w 6153926"/>
              <a:gd name="connsiteY22" fmla="*/ 3565097 h 5375275"/>
              <a:gd name="connsiteX23" fmla="*/ 3561733 w 6153926"/>
              <a:gd name="connsiteY23" fmla="*/ 3252057 h 5375275"/>
              <a:gd name="connsiteX24" fmla="*/ 3561733 w 6153926"/>
              <a:gd name="connsiteY24" fmla="*/ 2917742 h 5375275"/>
              <a:gd name="connsiteX25" fmla="*/ 3501273 w 6153926"/>
              <a:gd name="connsiteY25" fmla="*/ 2853918 h 5375275"/>
              <a:gd name="connsiteX26" fmla="*/ 2756101 w 6153926"/>
              <a:gd name="connsiteY26" fmla="*/ 2846544 h 5375275"/>
              <a:gd name="connsiteX27" fmla="*/ 2669771 w 6153926"/>
              <a:gd name="connsiteY27" fmla="*/ 2849012 h 5375275"/>
              <a:gd name="connsiteX28" fmla="*/ 2439935 w 6153926"/>
              <a:gd name="connsiteY28" fmla="*/ 3028205 h 5375275"/>
              <a:gd name="connsiteX29" fmla="*/ 2418766 w 6153926"/>
              <a:gd name="connsiteY29" fmla="*/ 3553638 h 5375275"/>
              <a:gd name="connsiteX30" fmla="*/ 2703037 w 6153926"/>
              <a:gd name="connsiteY30" fmla="*/ 3781426 h 5375275"/>
              <a:gd name="connsiteX31" fmla="*/ 3011501 w 6153926"/>
              <a:gd name="connsiteY31" fmla="*/ 3538452 h 5375275"/>
              <a:gd name="connsiteX32" fmla="*/ 3023597 w 6153926"/>
              <a:gd name="connsiteY32" fmla="*/ 3116284 h 5375275"/>
              <a:gd name="connsiteX33" fmla="*/ 2969163 w 6153926"/>
              <a:gd name="connsiteY33" fmla="*/ 2964425 h 5375275"/>
              <a:gd name="connsiteX34" fmla="*/ 2756101 w 6153926"/>
              <a:gd name="connsiteY34" fmla="*/ 2846544 h 5375275"/>
              <a:gd name="connsiteX35" fmla="*/ 3447343 w 6153926"/>
              <a:gd name="connsiteY35" fmla="*/ 1736726 h 5375275"/>
              <a:gd name="connsiteX36" fmla="*/ 3562455 w 6153926"/>
              <a:gd name="connsiteY36" fmla="*/ 1840157 h 5375275"/>
              <a:gd name="connsiteX37" fmla="*/ 3562455 w 6153926"/>
              <a:gd name="connsiteY37" fmla="*/ 2287345 h 5375275"/>
              <a:gd name="connsiteX38" fmla="*/ 3438255 w 6153926"/>
              <a:gd name="connsiteY38" fmla="*/ 2387734 h 5375275"/>
              <a:gd name="connsiteX39" fmla="*/ 3323147 w 6153926"/>
              <a:gd name="connsiteY39" fmla="*/ 2284303 h 5375275"/>
              <a:gd name="connsiteX40" fmla="*/ 3304971 w 6153926"/>
              <a:gd name="connsiteY40" fmla="*/ 2059188 h 5375275"/>
              <a:gd name="connsiteX41" fmla="*/ 3323147 w 6153926"/>
              <a:gd name="connsiteY41" fmla="*/ 1843199 h 5375275"/>
              <a:gd name="connsiteX42" fmla="*/ 3447343 w 6153926"/>
              <a:gd name="connsiteY42" fmla="*/ 1736726 h 5375275"/>
              <a:gd name="connsiteX43" fmla="*/ 2721400 w 6153926"/>
              <a:gd name="connsiteY43" fmla="*/ 1605002 h 5375275"/>
              <a:gd name="connsiteX44" fmla="*/ 2648022 w 6153926"/>
              <a:gd name="connsiteY44" fmla="*/ 1630452 h 5375275"/>
              <a:gd name="connsiteX45" fmla="*/ 2508830 w 6153926"/>
              <a:gd name="connsiteY45" fmla="*/ 1718576 h 5375275"/>
              <a:gd name="connsiteX46" fmla="*/ 2460416 w 6153926"/>
              <a:gd name="connsiteY46" fmla="*/ 1812778 h 5375275"/>
              <a:gd name="connsiteX47" fmla="*/ 2520934 w 6153926"/>
              <a:gd name="connsiteY47" fmla="*/ 1852283 h 5375275"/>
              <a:gd name="connsiteX48" fmla="*/ 2593556 w 6153926"/>
              <a:gd name="connsiteY48" fmla="*/ 1809740 h 5375275"/>
              <a:gd name="connsiteX49" fmla="*/ 2654074 w 6153926"/>
              <a:gd name="connsiteY49" fmla="*/ 1846205 h 5375275"/>
              <a:gd name="connsiteX50" fmla="*/ 2654074 w 6153926"/>
              <a:gd name="connsiteY50" fmla="*/ 2241246 h 5375275"/>
              <a:gd name="connsiteX51" fmla="*/ 2523960 w 6153926"/>
              <a:gd name="connsiteY51" fmla="*/ 2381030 h 5375275"/>
              <a:gd name="connsiteX52" fmla="*/ 2460416 w 6153926"/>
              <a:gd name="connsiteY52" fmla="*/ 2447883 h 5375275"/>
              <a:gd name="connsiteX53" fmla="*/ 2523960 w 6153926"/>
              <a:gd name="connsiteY53" fmla="*/ 2514736 h 5375275"/>
              <a:gd name="connsiteX54" fmla="*/ 2941535 w 6153926"/>
              <a:gd name="connsiteY54" fmla="*/ 2514736 h 5375275"/>
              <a:gd name="connsiteX55" fmla="*/ 3005079 w 6153926"/>
              <a:gd name="connsiteY55" fmla="*/ 2444844 h 5375275"/>
              <a:gd name="connsiteX56" fmla="*/ 2938509 w 6153926"/>
              <a:gd name="connsiteY56" fmla="*/ 2381030 h 5375275"/>
              <a:gd name="connsiteX57" fmla="*/ 2896145 w 6153926"/>
              <a:gd name="connsiteY57" fmla="*/ 2381030 h 5375275"/>
              <a:gd name="connsiteX58" fmla="*/ 2832601 w 6153926"/>
              <a:gd name="connsiteY58" fmla="*/ 2317216 h 5375275"/>
              <a:gd name="connsiteX59" fmla="*/ 2832601 w 6153926"/>
              <a:gd name="connsiteY59" fmla="*/ 1998144 h 5375275"/>
              <a:gd name="connsiteX60" fmla="*/ 2832601 w 6153926"/>
              <a:gd name="connsiteY60" fmla="*/ 1669956 h 5375275"/>
              <a:gd name="connsiteX61" fmla="*/ 2799317 w 6153926"/>
              <a:gd name="connsiteY61" fmla="*/ 1609180 h 5375275"/>
              <a:gd name="connsiteX62" fmla="*/ 2721400 w 6153926"/>
              <a:gd name="connsiteY62" fmla="*/ 1605002 h 5375275"/>
              <a:gd name="connsiteX63" fmla="*/ 3471919 w 6153926"/>
              <a:gd name="connsiteY63" fmla="*/ 1593715 h 5375275"/>
              <a:gd name="connsiteX64" fmla="*/ 3190671 w 6153926"/>
              <a:gd name="connsiteY64" fmla="*/ 1733485 h 5375275"/>
              <a:gd name="connsiteX65" fmla="*/ 3127167 w 6153926"/>
              <a:gd name="connsiteY65" fmla="*/ 2070759 h 5375275"/>
              <a:gd name="connsiteX66" fmla="*/ 3148335 w 6153926"/>
              <a:gd name="connsiteY66" fmla="*/ 2310800 h 5375275"/>
              <a:gd name="connsiteX67" fmla="*/ 3372123 w 6153926"/>
              <a:gd name="connsiteY67" fmla="*/ 2526533 h 5375275"/>
              <a:gd name="connsiteX68" fmla="*/ 3704779 w 6153926"/>
              <a:gd name="connsiteY68" fmla="*/ 2371570 h 5375275"/>
              <a:gd name="connsiteX69" fmla="*/ 3716875 w 6153926"/>
              <a:gd name="connsiteY69" fmla="*/ 1748678 h 5375275"/>
              <a:gd name="connsiteX70" fmla="*/ 3471919 w 6153926"/>
              <a:gd name="connsiteY70" fmla="*/ 1593715 h 5375275"/>
              <a:gd name="connsiteX71" fmla="*/ 1973628 w 6153926"/>
              <a:gd name="connsiteY71" fmla="*/ 1300163 h 5375275"/>
              <a:gd name="connsiteX72" fmla="*/ 3807727 w 6153926"/>
              <a:gd name="connsiteY72" fmla="*/ 1300163 h 5375275"/>
              <a:gd name="connsiteX73" fmla="*/ 3889445 w 6153926"/>
              <a:gd name="connsiteY73" fmla="*/ 1385185 h 5375275"/>
              <a:gd name="connsiteX74" fmla="*/ 3889445 w 6153926"/>
              <a:gd name="connsiteY74" fmla="*/ 1743493 h 5375275"/>
              <a:gd name="connsiteX75" fmla="*/ 3968135 w 6153926"/>
              <a:gd name="connsiteY75" fmla="*/ 1825479 h 5375275"/>
              <a:gd name="connsiteX76" fmla="*/ 4331325 w 6153926"/>
              <a:gd name="connsiteY76" fmla="*/ 1822442 h 5375275"/>
              <a:gd name="connsiteX77" fmla="*/ 4410015 w 6153926"/>
              <a:gd name="connsiteY77" fmla="*/ 1898355 h 5375275"/>
              <a:gd name="connsiteX78" fmla="*/ 4406989 w 6153926"/>
              <a:gd name="connsiteY78" fmla="*/ 3835645 h 5375275"/>
              <a:gd name="connsiteX79" fmla="*/ 4158809 w 6153926"/>
              <a:gd name="connsiteY79" fmla="*/ 4081602 h 5375275"/>
              <a:gd name="connsiteX80" fmla="*/ 1997840 w 6153926"/>
              <a:gd name="connsiteY80" fmla="*/ 4081602 h 5375275"/>
              <a:gd name="connsiteX81" fmla="*/ 1810193 w 6153926"/>
              <a:gd name="connsiteY81" fmla="*/ 4020872 h 5375275"/>
              <a:gd name="connsiteX82" fmla="*/ 1755715 w 6153926"/>
              <a:gd name="connsiteY82" fmla="*/ 3869046 h 5375275"/>
              <a:gd name="connsiteX83" fmla="*/ 1755715 w 6153926"/>
              <a:gd name="connsiteY83" fmla="*/ 2684809 h 5375275"/>
              <a:gd name="connsiteX84" fmla="*/ 1755715 w 6153926"/>
              <a:gd name="connsiteY84" fmla="*/ 1521828 h 5375275"/>
              <a:gd name="connsiteX85" fmla="*/ 1973628 w 6153926"/>
              <a:gd name="connsiteY85" fmla="*/ 1300163 h 5375275"/>
              <a:gd name="connsiteX86" fmla="*/ 1970524 w 6153926"/>
              <a:gd name="connsiteY86" fmla="*/ 1071563 h 5375275"/>
              <a:gd name="connsiteX87" fmla="*/ 1531729 w 6153926"/>
              <a:gd name="connsiteY87" fmla="*/ 1515054 h 5375275"/>
              <a:gd name="connsiteX88" fmla="*/ 1531729 w 6153926"/>
              <a:gd name="connsiteY88" fmla="*/ 3854010 h 5375275"/>
              <a:gd name="connsiteX89" fmla="*/ 1979603 w 6153926"/>
              <a:gd name="connsiteY89" fmla="*/ 4300538 h 5375275"/>
              <a:gd name="connsiteX90" fmla="*/ 3081129 w 6153926"/>
              <a:gd name="connsiteY90" fmla="*/ 4300538 h 5375275"/>
              <a:gd name="connsiteX91" fmla="*/ 4185683 w 6153926"/>
              <a:gd name="connsiteY91" fmla="*/ 4300538 h 5375275"/>
              <a:gd name="connsiteX92" fmla="*/ 4627503 w 6153926"/>
              <a:gd name="connsiteY92" fmla="*/ 3860085 h 5375275"/>
              <a:gd name="connsiteX93" fmla="*/ 4627503 w 6153926"/>
              <a:gd name="connsiteY93" fmla="*/ 1776288 h 5375275"/>
              <a:gd name="connsiteX94" fmla="*/ 4579085 w 6153926"/>
              <a:gd name="connsiteY94" fmla="*/ 1660859 h 5375275"/>
              <a:gd name="connsiteX95" fmla="*/ 4022269 w 6153926"/>
              <a:gd name="connsiteY95" fmla="*/ 1111052 h 5375275"/>
              <a:gd name="connsiteX96" fmla="*/ 3925431 w 6153926"/>
              <a:gd name="connsiteY96" fmla="*/ 1071563 h 5375275"/>
              <a:gd name="connsiteX97" fmla="*/ 1970524 w 6153926"/>
              <a:gd name="connsiteY97" fmla="*/ 1071563 h 5375275"/>
              <a:gd name="connsiteX98" fmla="*/ 1606981 w 6153926"/>
              <a:gd name="connsiteY98" fmla="*/ 0 h 5375275"/>
              <a:gd name="connsiteX99" fmla="*/ 3062967 w 6153926"/>
              <a:gd name="connsiteY99" fmla="*/ 0 h 5375275"/>
              <a:gd name="connsiteX100" fmla="*/ 4540143 w 6153926"/>
              <a:gd name="connsiteY100" fmla="*/ 0 h 5375275"/>
              <a:gd name="connsiteX101" fmla="*/ 4664251 w 6153926"/>
              <a:gd name="connsiteY101" fmla="*/ 72885 h 5375275"/>
              <a:gd name="connsiteX102" fmla="*/ 5944671 w 6153926"/>
              <a:gd name="connsiteY102" fmla="*/ 2295880 h 5375275"/>
              <a:gd name="connsiteX103" fmla="*/ 6132345 w 6153926"/>
              <a:gd name="connsiteY103" fmla="*/ 2620826 h 5375275"/>
              <a:gd name="connsiteX104" fmla="*/ 6132345 w 6153926"/>
              <a:gd name="connsiteY104" fmla="*/ 2754449 h 5375275"/>
              <a:gd name="connsiteX105" fmla="*/ 5366515 w 6153926"/>
              <a:gd name="connsiteY105" fmla="*/ 4084602 h 5375275"/>
              <a:gd name="connsiteX106" fmla="*/ 4661223 w 6153926"/>
              <a:gd name="connsiteY106" fmla="*/ 5308464 h 5375275"/>
              <a:gd name="connsiteX107" fmla="*/ 4552251 w 6153926"/>
              <a:gd name="connsiteY107" fmla="*/ 5372238 h 5375275"/>
              <a:gd name="connsiteX108" fmla="*/ 3075075 w 6153926"/>
              <a:gd name="connsiteY108" fmla="*/ 5372238 h 5375275"/>
              <a:gd name="connsiteX109" fmla="*/ 1616062 w 6153926"/>
              <a:gd name="connsiteY109" fmla="*/ 5375275 h 5375275"/>
              <a:gd name="connsiteX110" fmla="*/ 1491955 w 6153926"/>
              <a:gd name="connsiteY110" fmla="*/ 5302390 h 5375275"/>
              <a:gd name="connsiteX111" fmla="*/ 160075 w 6153926"/>
              <a:gd name="connsiteY111" fmla="*/ 2982215 h 5375275"/>
              <a:gd name="connsiteX112" fmla="*/ 14779 w 6153926"/>
              <a:gd name="connsiteY112" fmla="*/ 2736228 h 5375275"/>
              <a:gd name="connsiteX113" fmla="*/ 14779 w 6153926"/>
              <a:gd name="connsiteY113" fmla="*/ 2642084 h 5375275"/>
              <a:gd name="connsiteX114" fmla="*/ 1370875 w 6153926"/>
              <a:gd name="connsiteY114" fmla="*/ 285467 h 5375275"/>
              <a:gd name="connsiteX115" fmla="*/ 1501036 w 6153926"/>
              <a:gd name="connsiteY115" fmla="*/ 60738 h 5375275"/>
              <a:gd name="connsiteX116" fmla="*/ 1606981 w 6153926"/>
              <a:gd name="connsiteY116" fmla="*/ 0 h 537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6153926" h="5375275">
                <a:moveTo>
                  <a:pt x="2715505" y="2987675"/>
                </a:moveTo>
                <a:cubicBezTo>
                  <a:pt x="2779119" y="2987675"/>
                  <a:pt x="2818499" y="3024173"/>
                  <a:pt x="2830615" y="3081961"/>
                </a:cubicBezTo>
                <a:cubicBezTo>
                  <a:pt x="2866967" y="3234034"/>
                  <a:pt x="2866967" y="3389150"/>
                  <a:pt x="2830615" y="3538182"/>
                </a:cubicBezTo>
                <a:cubicBezTo>
                  <a:pt x="2815469" y="3611177"/>
                  <a:pt x="2776090" y="3635509"/>
                  <a:pt x="2712476" y="3635509"/>
                </a:cubicBezTo>
                <a:cubicBezTo>
                  <a:pt x="2642804" y="3638550"/>
                  <a:pt x="2612512" y="3599011"/>
                  <a:pt x="2597366" y="3541223"/>
                </a:cubicBezTo>
                <a:cubicBezTo>
                  <a:pt x="2573132" y="3465186"/>
                  <a:pt x="2576161" y="3389150"/>
                  <a:pt x="2570103" y="3319196"/>
                </a:cubicBezTo>
                <a:cubicBezTo>
                  <a:pt x="2573132" y="3234034"/>
                  <a:pt x="2576161" y="3157998"/>
                  <a:pt x="2597366" y="3081961"/>
                </a:cubicBezTo>
                <a:cubicBezTo>
                  <a:pt x="2615541" y="3027214"/>
                  <a:pt x="2648863" y="2987675"/>
                  <a:pt x="2715505" y="2987675"/>
                </a:cubicBezTo>
                <a:close/>
                <a:moveTo>
                  <a:pt x="3501273" y="2853918"/>
                </a:moveTo>
                <a:cubicBezTo>
                  <a:pt x="3371283" y="2844800"/>
                  <a:pt x="3292685" y="2939016"/>
                  <a:pt x="3201995" y="3002840"/>
                </a:cubicBezTo>
                <a:cubicBezTo>
                  <a:pt x="3171765" y="3021075"/>
                  <a:pt x="3174789" y="3075781"/>
                  <a:pt x="3198973" y="3103134"/>
                </a:cubicBezTo>
                <a:cubicBezTo>
                  <a:pt x="3220133" y="3133527"/>
                  <a:pt x="3247341" y="3100095"/>
                  <a:pt x="3271525" y="3090978"/>
                </a:cubicBezTo>
                <a:cubicBezTo>
                  <a:pt x="3286639" y="3084899"/>
                  <a:pt x="3298731" y="3075781"/>
                  <a:pt x="3313847" y="3066664"/>
                </a:cubicBezTo>
                <a:cubicBezTo>
                  <a:pt x="3374307" y="3033232"/>
                  <a:pt x="3380353" y="3036271"/>
                  <a:pt x="3383375" y="3103134"/>
                </a:cubicBezTo>
                <a:cubicBezTo>
                  <a:pt x="3383375" y="3233821"/>
                  <a:pt x="3383375" y="3364508"/>
                  <a:pt x="3383375" y="3492156"/>
                </a:cubicBezTo>
                <a:cubicBezTo>
                  <a:pt x="3383375" y="3625882"/>
                  <a:pt x="3383375" y="3628921"/>
                  <a:pt x="3250363" y="3631960"/>
                </a:cubicBezTo>
                <a:cubicBezTo>
                  <a:pt x="3201995" y="3634999"/>
                  <a:pt x="3186881" y="3656274"/>
                  <a:pt x="3186881" y="3698823"/>
                </a:cubicBezTo>
                <a:cubicBezTo>
                  <a:pt x="3189903" y="3744411"/>
                  <a:pt x="3205019" y="3768725"/>
                  <a:pt x="3253387" y="3765686"/>
                </a:cubicBezTo>
                <a:cubicBezTo>
                  <a:pt x="3392445" y="3765686"/>
                  <a:pt x="3534525" y="3765686"/>
                  <a:pt x="3676607" y="3765686"/>
                </a:cubicBezTo>
                <a:cubicBezTo>
                  <a:pt x="3727999" y="3768725"/>
                  <a:pt x="3740091" y="3735294"/>
                  <a:pt x="3740091" y="3692745"/>
                </a:cubicBezTo>
                <a:cubicBezTo>
                  <a:pt x="3740091" y="3650195"/>
                  <a:pt x="3718929" y="3631960"/>
                  <a:pt x="3676607" y="3631960"/>
                </a:cubicBezTo>
                <a:cubicBezTo>
                  <a:pt x="3658469" y="3634999"/>
                  <a:pt x="3643353" y="3631960"/>
                  <a:pt x="3628239" y="3631960"/>
                </a:cubicBezTo>
                <a:cubicBezTo>
                  <a:pt x="3576847" y="3638038"/>
                  <a:pt x="3558709" y="3616764"/>
                  <a:pt x="3561733" y="3565097"/>
                </a:cubicBezTo>
                <a:cubicBezTo>
                  <a:pt x="3561733" y="3461763"/>
                  <a:pt x="3561733" y="3355390"/>
                  <a:pt x="3561733" y="3252057"/>
                </a:cubicBezTo>
                <a:cubicBezTo>
                  <a:pt x="3561733" y="3139605"/>
                  <a:pt x="3558709" y="3027154"/>
                  <a:pt x="3561733" y="2917742"/>
                </a:cubicBezTo>
                <a:cubicBezTo>
                  <a:pt x="3561733" y="2872153"/>
                  <a:pt x="3543595" y="2856957"/>
                  <a:pt x="3501273" y="2853918"/>
                </a:cubicBezTo>
                <a:close/>
                <a:moveTo>
                  <a:pt x="2756101" y="2846544"/>
                </a:moveTo>
                <a:cubicBezTo>
                  <a:pt x="2728175" y="2844836"/>
                  <a:pt x="2699257" y="2845975"/>
                  <a:pt x="2669771" y="2849012"/>
                </a:cubicBezTo>
                <a:cubicBezTo>
                  <a:pt x="2560901" y="2861161"/>
                  <a:pt x="2479249" y="2924941"/>
                  <a:pt x="2439935" y="3028205"/>
                </a:cubicBezTo>
                <a:cubicBezTo>
                  <a:pt x="2376428" y="3201325"/>
                  <a:pt x="2379452" y="3377481"/>
                  <a:pt x="2418766" y="3553638"/>
                </a:cubicBezTo>
                <a:cubicBezTo>
                  <a:pt x="2452032" y="3711571"/>
                  <a:pt x="2542756" y="3778389"/>
                  <a:pt x="2703037" y="3781426"/>
                </a:cubicBezTo>
                <a:cubicBezTo>
                  <a:pt x="2869365" y="3781426"/>
                  <a:pt x="2969163" y="3702460"/>
                  <a:pt x="3011501" y="3538452"/>
                </a:cubicBezTo>
                <a:cubicBezTo>
                  <a:pt x="3044767" y="3398742"/>
                  <a:pt x="3041741" y="3259031"/>
                  <a:pt x="3023597" y="3116284"/>
                </a:cubicBezTo>
                <a:cubicBezTo>
                  <a:pt x="3014525" y="3064652"/>
                  <a:pt x="2999403" y="3009982"/>
                  <a:pt x="2969163" y="2964425"/>
                </a:cubicBezTo>
                <a:cubicBezTo>
                  <a:pt x="2914727" y="2882421"/>
                  <a:pt x="2839879" y="2851669"/>
                  <a:pt x="2756101" y="2846544"/>
                </a:cubicBezTo>
                <a:close/>
                <a:moveTo>
                  <a:pt x="3447343" y="1736726"/>
                </a:moveTo>
                <a:cubicBezTo>
                  <a:pt x="3507927" y="1736726"/>
                  <a:pt x="3544279" y="1767147"/>
                  <a:pt x="3562455" y="1840157"/>
                </a:cubicBezTo>
                <a:cubicBezTo>
                  <a:pt x="3595775" y="1989220"/>
                  <a:pt x="3598803" y="2138282"/>
                  <a:pt x="3562455" y="2287345"/>
                </a:cubicBezTo>
                <a:cubicBezTo>
                  <a:pt x="3547307" y="2357313"/>
                  <a:pt x="3498839" y="2390776"/>
                  <a:pt x="3438255" y="2387734"/>
                </a:cubicBezTo>
                <a:cubicBezTo>
                  <a:pt x="3377671" y="2387734"/>
                  <a:pt x="3341319" y="2354271"/>
                  <a:pt x="3323147" y="2284303"/>
                </a:cubicBezTo>
                <a:cubicBezTo>
                  <a:pt x="3301939" y="2211293"/>
                  <a:pt x="3304971" y="2135240"/>
                  <a:pt x="3304971" y="2059188"/>
                </a:cubicBezTo>
                <a:cubicBezTo>
                  <a:pt x="3307999" y="1986178"/>
                  <a:pt x="3301939" y="1913168"/>
                  <a:pt x="3323147" y="1843199"/>
                </a:cubicBezTo>
                <a:cubicBezTo>
                  <a:pt x="3344351" y="1773231"/>
                  <a:pt x="3386759" y="1736726"/>
                  <a:pt x="3447343" y="1736726"/>
                </a:cubicBezTo>
                <a:close/>
                <a:moveTo>
                  <a:pt x="2721400" y="1605002"/>
                </a:moveTo>
                <a:cubicBezTo>
                  <a:pt x="2695680" y="1606901"/>
                  <a:pt x="2670716" y="1613738"/>
                  <a:pt x="2648022" y="1630452"/>
                </a:cubicBezTo>
                <a:cubicBezTo>
                  <a:pt x="2602633" y="1660839"/>
                  <a:pt x="2557245" y="1691227"/>
                  <a:pt x="2508830" y="1718576"/>
                </a:cubicBezTo>
                <a:cubicBezTo>
                  <a:pt x="2472520" y="1739848"/>
                  <a:pt x="2457390" y="1770236"/>
                  <a:pt x="2460416" y="1812778"/>
                </a:cubicBezTo>
                <a:cubicBezTo>
                  <a:pt x="2463442" y="1867476"/>
                  <a:pt x="2472520" y="1876593"/>
                  <a:pt x="2520934" y="1852283"/>
                </a:cubicBezTo>
                <a:cubicBezTo>
                  <a:pt x="2545141" y="1840127"/>
                  <a:pt x="2569348" y="1824934"/>
                  <a:pt x="2593556" y="1809740"/>
                </a:cubicBezTo>
                <a:cubicBezTo>
                  <a:pt x="2638944" y="1785429"/>
                  <a:pt x="2657099" y="1794546"/>
                  <a:pt x="2654074" y="1846205"/>
                </a:cubicBezTo>
                <a:cubicBezTo>
                  <a:pt x="2654074" y="1976873"/>
                  <a:pt x="2654074" y="2110579"/>
                  <a:pt x="2654074" y="2241246"/>
                </a:cubicBezTo>
                <a:cubicBezTo>
                  <a:pt x="2654074" y="2374953"/>
                  <a:pt x="2654074" y="2377991"/>
                  <a:pt x="2523960" y="2381030"/>
                </a:cubicBezTo>
                <a:cubicBezTo>
                  <a:pt x="2475545" y="2384069"/>
                  <a:pt x="2460416" y="2405340"/>
                  <a:pt x="2460416" y="2447883"/>
                </a:cubicBezTo>
                <a:cubicBezTo>
                  <a:pt x="2460416" y="2493465"/>
                  <a:pt x="2475545" y="2517775"/>
                  <a:pt x="2523960" y="2514736"/>
                </a:cubicBezTo>
                <a:cubicBezTo>
                  <a:pt x="2663151" y="2514736"/>
                  <a:pt x="2802343" y="2514736"/>
                  <a:pt x="2941535" y="2514736"/>
                </a:cubicBezTo>
                <a:cubicBezTo>
                  <a:pt x="2992975" y="2517775"/>
                  <a:pt x="3005079" y="2490426"/>
                  <a:pt x="3005079" y="2444844"/>
                </a:cubicBezTo>
                <a:cubicBezTo>
                  <a:pt x="3005079" y="2396224"/>
                  <a:pt x="2983897" y="2377991"/>
                  <a:pt x="2938509" y="2381030"/>
                </a:cubicBezTo>
                <a:cubicBezTo>
                  <a:pt x="2926405" y="2384069"/>
                  <a:pt x="2911275" y="2381030"/>
                  <a:pt x="2896145" y="2381030"/>
                </a:cubicBezTo>
                <a:cubicBezTo>
                  <a:pt x="2850757" y="2387108"/>
                  <a:pt x="2832601" y="2365836"/>
                  <a:pt x="2832601" y="2317216"/>
                </a:cubicBezTo>
                <a:cubicBezTo>
                  <a:pt x="2835627" y="2210858"/>
                  <a:pt x="2832601" y="2104501"/>
                  <a:pt x="2832601" y="1998144"/>
                </a:cubicBezTo>
                <a:cubicBezTo>
                  <a:pt x="2832601" y="1888748"/>
                  <a:pt x="2832601" y="1779352"/>
                  <a:pt x="2832601" y="1669956"/>
                </a:cubicBezTo>
                <a:cubicBezTo>
                  <a:pt x="2832601" y="1642607"/>
                  <a:pt x="2835627" y="1612219"/>
                  <a:pt x="2799317" y="1609180"/>
                </a:cubicBezTo>
                <a:cubicBezTo>
                  <a:pt x="2773597" y="1606141"/>
                  <a:pt x="2747120" y="1603103"/>
                  <a:pt x="2721400" y="1605002"/>
                </a:cubicBezTo>
                <a:close/>
                <a:moveTo>
                  <a:pt x="3471919" y="1593715"/>
                </a:moveTo>
                <a:cubicBezTo>
                  <a:pt x="3353975" y="1590676"/>
                  <a:pt x="3254179" y="1624100"/>
                  <a:pt x="3190671" y="1733485"/>
                </a:cubicBezTo>
                <a:cubicBezTo>
                  <a:pt x="3130191" y="1839833"/>
                  <a:pt x="3124139" y="1952257"/>
                  <a:pt x="3127167" y="2070759"/>
                </a:cubicBezTo>
                <a:cubicBezTo>
                  <a:pt x="3127167" y="2149760"/>
                  <a:pt x="3127167" y="2231799"/>
                  <a:pt x="3148335" y="2310800"/>
                </a:cubicBezTo>
                <a:cubicBezTo>
                  <a:pt x="3181599" y="2438417"/>
                  <a:pt x="3257203" y="2511341"/>
                  <a:pt x="3372123" y="2526533"/>
                </a:cubicBezTo>
                <a:cubicBezTo>
                  <a:pt x="3538451" y="2544764"/>
                  <a:pt x="3650343" y="2499187"/>
                  <a:pt x="3704779" y="2371570"/>
                </a:cubicBezTo>
                <a:cubicBezTo>
                  <a:pt x="3792479" y="2167991"/>
                  <a:pt x="3789455" y="1955296"/>
                  <a:pt x="3716875" y="1748678"/>
                </a:cubicBezTo>
                <a:cubicBezTo>
                  <a:pt x="3677563" y="1639292"/>
                  <a:pt x="3580787" y="1599792"/>
                  <a:pt x="3471919" y="1593715"/>
                </a:cubicBezTo>
                <a:close/>
                <a:moveTo>
                  <a:pt x="1973628" y="1300163"/>
                </a:moveTo>
                <a:cubicBezTo>
                  <a:pt x="2584995" y="1300163"/>
                  <a:pt x="3196361" y="1300163"/>
                  <a:pt x="3807727" y="1300163"/>
                </a:cubicBezTo>
                <a:cubicBezTo>
                  <a:pt x="3889445" y="1300163"/>
                  <a:pt x="3889445" y="1300163"/>
                  <a:pt x="3889445" y="1385185"/>
                </a:cubicBezTo>
                <a:cubicBezTo>
                  <a:pt x="3889445" y="1503609"/>
                  <a:pt x="3892471" y="1625069"/>
                  <a:pt x="3889445" y="1743493"/>
                </a:cubicBezTo>
                <a:cubicBezTo>
                  <a:pt x="3886419" y="1804223"/>
                  <a:pt x="3904579" y="1825479"/>
                  <a:pt x="3968135" y="1825479"/>
                </a:cubicBezTo>
                <a:cubicBezTo>
                  <a:pt x="4089199" y="1819405"/>
                  <a:pt x="4210261" y="1825479"/>
                  <a:pt x="4331325" y="1822442"/>
                </a:cubicBezTo>
                <a:cubicBezTo>
                  <a:pt x="4385803" y="1822442"/>
                  <a:pt x="4410015" y="1837625"/>
                  <a:pt x="4410015" y="1898355"/>
                </a:cubicBezTo>
                <a:cubicBezTo>
                  <a:pt x="4406989" y="2545130"/>
                  <a:pt x="4410015" y="3188869"/>
                  <a:pt x="4406989" y="3835645"/>
                </a:cubicBezTo>
                <a:cubicBezTo>
                  <a:pt x="4406989" y="4008726"/>
                  <a:pt x="4331325" y="4081602"/>
                  <a:pt x="4158809" y="4081602"/>
                </a:cubicBezTo>
                <a:cubicBezTo>
                  <a:pt x="3438487" y="4084638"/>
                  <a:pt x="2718164" y="4081602"/>
                  <a:pt x="1997840" y="4081602"/>
                </a:cubicBezTo>
                <a:cubicBezTo>
                  <a:pt x="1928229" y="4081602"/>
                  <a:pt x="1861645" y="4072492"/>
                  <a:pt x="1810193" y="4020872"/>
                </a:cubicBezTo>
                <a:cubicBezTo>
                  <a:pt x="1767821" y="3978360"/>
                  <a:pt x="1755715" y="3926740"/>
                  <a:pt x="1755715" y="3869046"/>
                </a:cubicBezTo>
                <a:cubicBezTo>
                  <a:pt x="1755715" y="3474301"/>
                  <a:pt x="1755715" y="3079555"/>
                  <a:pt x="1755715" y="2684809"/>
                </a:cubicBezTo>
                <a:cubicBezTo>
                  <a:pt x="1755715" y="2296137"/>
                  <a:pt x="1755715" y="1910501"/>
                  <a:pt x="1755715" y="1521828"/>
                </a:cubicBezTo>
                <a:cubicBezTo>
                  <a:pt x="1755715" y="1373039"/>
                  <a:pt x="1825326" y="1300163"/>
                  <a:pt x="1973628" y="1300163"/>
                </a:cubicBezTo>
                <a:close/>
                <a:moveTo>
                  <a:pt x="1970524" y="1071563"/>
                </a:moveTo>
                <a:cubicBezTo>
                  <a:pt x="1707247" y="1071563"/>
                  <a:pt x="1531729" y="1250782"/>
                  <a:pt x="1531729" y="1515054"/>
                </a:cubicBezTo>
                <a:cubicBezTo>
                  <a:pt x="1528703" y="2295718"/>
                  <a:pt x="1528703" y="3076383"/>
                  <a:pt x="1531729" y="3854010"/>
                </a:cubicBezTo>
                <a:cubicBezTo>
                  <a:pt x="1531729" y="4130432"/>
                  <a:pt x="1704221" y="4300538"/>
                  <a:pt x="1979603" y="4300538"/>
                </a:cubicBezTo>
                <a:cubicBezTo>
                  <a:pt x="2345769" y="4300538"/>
                  <a:pt x="2711936" y="4300538"/>
                  <a:pt x="3081129" y="4300538"/>
                </a:cubicBezTo>
                <a:cubicBezTo>
                  <a:pt x="3450323" y="4300538"/>
                  <a:pt x="3816489" y="4300538"/>
                  <a:pt x="4185683" y="4300538"/>
                </a:cubicBezTo>
                <a:cubicBezTo>
                  <a:pt x="4455011" y="4300538"/>
                  <a:pt x="4627503" y="4130432"/>
                  <a:pt x="4627503" y="3860085"/>
                </a:cubicBezTo>
                <a:cubicBezTo>
                  <a:pt x="4627503" y="3167511"/>
                  <a:pt x="4627503" y="2471899"/>
                  <a:pt x="4627503" y="1776288"/>
                </a:cubicBezTo>
                <a:cubicBezTo>
                  <a:pt x="4627503" y="1727686"/>
                  <a:pt x="4612373" y="1694272"/>
                  <a:pt x="4579085" y="1660859"/>
                </a:cubicBezTo>
                <a:cubicBezTo>
                  <a:pt x="4391461" y="1478602"/>
                  <a:pt x="4206865" y="1296346"/>
                  <a:pt x="4022269" y="1111052"/>
                </a:cubicBezTo>
                <a:cubicBezTo>
                  <a:pt x="3995033" y="1083714"/>
                  <a:pt x="3964771" y="1071563"/>
                  <a:pt x="3925431" y="1071563"/>
                </a:cubicBezTo>
                <a:cubicBezTo>
                  <a:pt x="3274805" y="1071563"/>
                  <a:pt x="2621151" y="1071563"/>
                  <a:pt x="1970524" y="1071563"/>
                </a:cubicBezTo>
                <a:close/>
                <a:moveTo>
                  <a:pt x="1606981" y="0"/>
                </a:moveTo>
                <a:cubicBezTo>
                  <a:pt x="2091301" y="3037"/>
                  <a:pt x="2578647" y="0"/>
                  <a:pt x="3062967" y="0"/>
                </a:cubicBezTo>
                <a:cubicBezTo>
                  <a:pt x="3556369" y="0"/>
                  <a:pt x="4049769" y="3037"/>
                  <a:pt x="4540143" y="0"/>
                </a:cubicBezTo>
                <a:cubicBezTo>
                  <a:pt x="4600683" y="0"/>
                  <a:pt x="4633979" y="18221"/>
                  <a:pt x="4664251" y="72885"/>
                </a:cubicBezTo>
                <a:cubicBezTo>
                  <a:pt x="5091057" y="813884"/>
                  <a:pt x="5517863" y="1554882"/>
                  <a:pt x="5944671" y="2295880"/>
                </a:cubicBezTo>
                <a:cubicBezTo>
                  <a:pt x="6005211" y="2405208"/>
                  <a:pt x="6065751" y="2514536"/>
                  <a:pt x="6132345" y="2620826"/>
                </a:cubicBezTo>
                <a:cubicBezTo>
                  <a:pt x="6162615" y="2669416"/>
                  <a:pt x="6159587" y="2708896"/>
                  <a:pt x="6132345" y="2754449"/>
                </a:cubicBezTo>
                <a:cubicBezTo>
                  <a:pt x="5875051" y="3197833"/>
                  <a:pt x="5620783" y="3641217"/>
                  <a:pt x="5366515" y="4084602"/>
                </a:cubicBezTo>
                <a:cubicBezTo>
                  <a:pt x="5130407" y="4491544"/>
                  <a:pt x="4894303" y="4901522"/>
                  <a:pt x="4661223" y="5308464"/>
                </a:cubicBezTo>
                <a:cubicBezTo>
                  <a:pt x="4633979" y="5357054"/>
                  <a:pt x="4606737" y="5375275"/>
                  <a:pt x="4552251" y="5372238"/>
                </a:cubicBezTo>
                <a:cubicBezTo>
                  <a:pt x="4058851" y="5372238"/>
                  <a:pt x="3568477" y="5372238"/>
                  <a:pt x="3075075" y="5372238"/>
                </a:cubicBezTo>
                <a:cubicBezTo>
                  <a:pt x="2587729" y="5372238"/>
                  <a:pt x="2103409" y="5372238"/>
                  <a:pt x="1616062" y="5375275"/>
                </a:cubicBezTo>
                <a:cubicBezTo>
                  <a:pt x="1555522" y="5375275"/>
                  <a:pt x="1522225" y="5357054"/>
                  <a:pt x="1491955" y="5302390"/>
                </a:cubicBezTo>
                <a:cubicBezTo>
                  <a:pt x="1050013" y="4527986"/>
                  <a:pt x="605044" y="3756619"/>
                  <a:pt x="160075" y="2982215"/>
                </a:cubicBezTo>
                <a:cubicBezTo>
                  <a:pt x="111643" y="2900219"/>
                  <a:pt x="63211" y="2818223"/>
                  <a:pt x="14779" y="2736228"/>
                </a:cubicBezTo>
                <a:cubicBezTo>
                  <a:pt x="-3383" y="2705859"/>
                  <a:pt x="-6410" y="2678527"/>
                  <a:pt x="14779" y="2642084"/>
                </a:cubicBezTo>
                <a:cubicBezTo>
                  <a:pt x="465802" y="1858570"/>
                  <a:pt x="919852" y="1072018"/>
                  <a:pt x="1370875" y="285467"/>
                </a:cubicBezTo>
                <a:cubicBezTo>
                  <a:pt x="1413253" y="212582"/>
                  <a:pt x="1458658" y="136660"/>
                  <a:pt x="1501036" y="60738"/>
                </a:cubicBezTo>
                <a:cubicBezTo>
                  <a:pt x="1522225" y="15184"/>
                  <a:pt x="1555522" y="0"/>
                  <a:pt x="1606981"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15" name="Freeform 69">
            <a:extLst>
              <a:ext uri="{FF2B5EF4-FFF2-40B4-BE49-F238E27FC236}">
                <a16:creationId xmlns:a16="http://schemas.microsoft.com/office/drawing/2014/main" id="{97807A58-CC0D-4B71-9EFC-FDCBDEF9F234}"/>
              </a:ext>
            </a:extLst>
          </p:cNvPr>
          <p:cNvSpPr>
            <a:spLocks noEditPoints="1"/>
          </p:cNvSpPr>
          <p:nvPr/>
        </p:nvSpPr>
        <p:spPr bwMode="auto">
          <a:xfrm>
            <a:off x="10803828" y="2833432"/>
            <a:ext cx="490807" cy="423214"/>
          </a:xfrm>
          <a:custGeom>
            <a:avLst/>
            <a:gdLst>
              <a:gd name="T0" fmla="*/ 1609 w 2041"/>
              <a:gd name="T1" fmla="*/ 89 h 1754"/>
              <a:gd name="T2" fmla="*/ 1721 w 2041"/>
              <a:gd name="T3" fmla="*/ 684 h 1754"/>
              <a:gd name="T4" fmla="*/ 2032 w 2041"/>
              <a:gd name="T5" fmla="*/ 1238 h 1754"/>
              <a:gd name="T6" fmla="*/ 1148 w 2041"/>
              <a:gd name="T7" fmla="*/ 1754 h 1754"/>
              <a:gd name="T8" fmla="*/ 879 w 2041"/>
              <a:gd name="T9" fmla="*/ 1372 h 1754"/>
              <a:gd name="T10" fmla="*/ 1 w 2041"/>
              <a:gd name="T11" fmla="*/ 1309 h 1754"/>
              <a:gd name="T12" fmla="*/ 84 w 2041"/>
              <a:gd name="T13" fmla="*/ 0 h 1754"/>
              <a:gd name="T14" fmla="*/ 400 w 2041"/>
              <a:gd name="T15" fmla="*/ 536 h 1754"/>
              <a:gd name="T16" fmla="*/ 399 w 2041"/>
              <a:gd name="T17" fmla="*/ 360 h 1754"/>
              <a:gd name="T18" fmla="*/ 125 w 2041"/>
              <a:gd name="T19" fmla="*/ 514 h 1754"/>
              <a:gd name="T20" fmla="*/ 629 w 2041"/>
              <a:gd name="T21" fmla="*/ 536 h 1754"/>
              <a:gd name="T22" fmla="*/ 777 w 2041"/>
              <a:gd name="T23" fmla="*/ 383 h 1754"/>
              <a:gd name="T24" fmla="*/ 481 w 2041"/>
              <a:gd name="T25" fmla="*/ 382 h 1754"/>
              <a:gd name="T26" fmla="*/ 629 w 2041"/>
              <a:gd name="T27" fmla="*/ 536 h 1754"/>
              <a:gd name="T28" fmla="*/ 1489 w 2041"/>
              <a:gd name="T29" fmla="*/ 514 h 1754"/>
              <a:gd name="T30" fmla="*/ 1215 w 2041"/>
              <a:gd name="T31" fmla="*/ 360 h 1754"/>
              <a:gd name="T32" fmla="*/ 1215 w 2041"/>
              <a:gd name="T33" fmla="*/ 537 h 1754"/>
              <a:gd name="T34" fmla="*/ 147 w 2041"/>
              <a:gd name="T35" fmla="*/ 596 h 1754"/>
              <a:gd name="T36" fmla="*/ 145 w 2041"/>
              <a:gd name="T37" fmla="*/ 772 h 1754"/>
              <a:gd name="T38" fmla="*/ 420 w 2041"/>
              <a:gd name="T39" fmla="*/ 618 h 1754"/>
              <a:gd name="T40" fmla="*/ 627 w 2041"/>
              <a:gd name="T41" fmla="*/ 772 h 1754"/>
              <a:gd name="T42" fmla="*/ 777 w 2041"/>
              <a:gd name="T43" fmla="*/ 619 h 1754"/>
              <a:gd name="T44" fmla="*/ 481 w 2041"/>
              <a:gd name="T45" fmla="*/ 618 h 1754"/>
              <a:gd name="T46" fmla="*/ 627 w 2041"/>
              <a:gd name="T47" fmla="*/ 772 h 1754"/>
              <a:gd name="T48" fmla="*/ 420 w 2041"/>
              <a:gd name="T49" fmla="*/ 992 h 1754"/>
              <a:gd name="T50" fmla="*/ 146 w 2041"/>
              <a:gd name="T51" fmla="*/ 836 h 1754"/>
              <a:gd name="T52" fmla="*/ 147 w 2041"/>
              <a:gd name="T53" fmla="*/ 1013 h 1754"/>
              <a:gd name="T54" fmla="*/ 757 w 2041"/>
              <a:gd name="T55" fmla="*/ 1012 h 1754"/>
              <a:gd name="T56" fmla="*/ 755 w 2041"/>
              <a:gd name="T57" fmla="*/ 836 h 1754"/>
              <a:gd name="T58" fmla="*/ 481 w 2041"/>
              <a:gd name="T59" fmla="*/ 990 h 1754"/>
              <a:gd name="T60" fmla="*/ 272 w 2041"/>
              <a:gd name="T61" fmla="*/ 1248 h 1754"/>
              <a:gd name="T62" fmla="*/ 420 w 2041"/>
              <a:gd name="T63" fmla="*/ 1095 h 1754"/>
              <a:gd name="T64" fmla="*/ 125 w 2041"/>
              <a:gd name="T65" fmla="*/ 1094 h 1754"/>
              <a:gd name="T66" fmla="*/ 272 w 2041"/>
              <a:gd name="T67" fmla="*/ 1248 h 1754"/>
              <a:gd name="T68" fmla="*/ 777 w 2041"/>
              <a:gd name="T69" fmla="*/ 1228 h 1754"/>
              <a:gd name="T70" fmla="*/ 501 w 2041"/>
              <a:gd name="T71" fmla="*/ 1072 h 1754"/>
              <a:gd name="T72" fmla="*/ 503 w 2041"/>
              <a:gd name="T73" fmla="*/ 1248 h 1754"/>
              <a:gd name="T74" fmla="*/ 858 w 2041"/>
              <a:gd name="T75" fmla="*/ 360 h 1754"/>
              <a:gd name="T76" fmla="*/ 859 w 2041"/>
              <a:gd name="T77" fmla="*/ 537 h 1754"/>
              <a:gd name="T78" fmla="*/ 1129 w 2041"/>
              <a:gd name="T79" fmla="*/ 383 h 1754"/>
              <a:gd name="T80" fmla="*/ 957 w 2041"/>
              <a:gd name="T81" fmla="*/ 772 h 1754"/>
              <a:gd name="T82" fmla="*/ 1130 w 2041"/>
              <a:gd name="T83" fmla="*/ 617 h 1754"/>
              <a:gd name="T84" fmla="*/ 836 w 2041"/>
              <a:gd name="T85" fmla="*/ 617 h 1754"/>
              <a:gd name="T86" fmla="*/ 957 w 2041"/>
              <a:gd name="T87" fmla="*/ 772 h 1754"/>
              <a:gd name="T88" fmla="*/ 837 w 2041"/>
              <a:gd name="T89" fmla="*/ 855 h 1754"/>
              <a:gd name="T90" fmla="*/ 923 w 2041"/>
              <a:gd name="T91" fmla="*/ 1012 h 1754"/>
              <a:gd name="T92" fmla="*/ 1014 w 2041"/>
              <a:gd name="T93" fmla="*/ 836 h 1754"/>
              <a:gd name="T94" fmla="*/ 1466 w 2041"/>
              <a:gd name="T95" fmla="*/ 684 h 1754"/>
              <a:gd name="T96" fmla="*/ 1471 w 2041"/>
              <a:gd name="T97" fmla="*/ 596 h 1754"/>
              <a:gd name="T98" fmla="*/ 1193 w 2041"/>
              <a:gd name="T99" fmla="*/ 658 h 1754"/>
              <a:gd name="T100" fmla="*/ 837 w 2041"/>
              <a:gd name="T101" fmla="*/ 1173 h 1754"/>
              <a:gd name="T102" fmla="*/ 894 w 2041"/>
              <a:gd name="T103" fmla="*/ 1076 h 1754"/>
              <a:gd name="T104" fmla="*/ 837 w 2041"/>
              <a:gd name="T105" fmla="*/ 1173 h 1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41" h="1754">
                <a:moveTo>
                  <a:pt x="804" y="0"/>
                </a:moveTo>
                <a:cubicBezTo>
                  <a:pt x="1043" y="0"/>
                  <a:pt x="1282" y="0"/>
                  <a:pt x="1522" y="0"/>
                </a:cubicBezTo>
                <a:cubicBezTo>
                  <a:pt x="1587" y="0"/>
                  <a:pt x="1609" y="22"/>
                  <a:pt x="1609" y="89"/>
                </a:cubicBezTo>
                <a:cubicBezTo>
                  <a:pt x="1609" y="277"/>
                  <a:pt x="1609" y="464"/>
                  <a:pt x="1609" y="652"/>
                </a:cubicBezTo>
                <a:cubicBezTo>
                  <a:pt x="1609" y="684"/>
                  <a:pt x="1609" y="684"/>
                  <a:pt x="1639" y="684"/>
                </a:cubicBezTo>
                <a:cubicBezTo>
                  <a:pt x="1667" y="684"/>
                  <a:pt x="1694" y="684"/>
                  <a:pt x="1721" y="684"/>
                </a:cubicBezTo>
                <a:cubicBezTo>
                  <a:pt x="1736" y="683"/>
                  <a:pt x="1744" y="688"/>
                  <a:pt x="1752" y="701"/>
                </a:cubicBezTo>
                <a:cubicBezTo>
                  <a:pt x="1844" y="867"/>
                  <a:pt x="1938" y="1034"/>
                  <a:pt x="2031" y="1200"/>
                </a:cubicBezTo>
                <a:cubicBezTo>
                  <a:pt x="2038" y="1213"/>
                  <a:pt x="2041" y="1224"/>
                  <a:pt x="2032" y="1238"/>
                </a:cubicBezTo>
                <a:cubicBezTo>
                  <a:pt x="1938" y="1402"/>
                  <a:pt x="1844" y="1566"/>
                  <a:pt x="1751" y="1729"/>
                </a:cubicBezTo>
                <a:cubicBezTo>
                  <a:pt x="1741" y="1746"/>
                  <a:pt x="1731" y="1754"/>
                  <a:pt x="1710" y="1754"/>
                </a:cubicBezTo>
                <a:cubicBezTo>
                  <a:pt x="1523" y="1753"/>
                  <a:pt x="1336" y="1753"/>
                  <a:pt x="1148" y="1754"/>
                </a:cubicBezTo>
                <a:cubicBezTo>
                  <a:pt x="1129" y="1754"/>
                  <a:pt x="1119" y="1748"/>
                  <a:pt x="1109" y="1731"/>
                </a:cubicBezTo>
                <a:cubicBezTo>
                  <a:pt x="1044" y="1617"/>
                  <a:pt x="978" y="1503"/>
                  <a:pt x="914" y="1389"/>
                </a:cubicBezTo>
                <a:cubicBezTo>
                  <a:pt x="905" y="1374"/>
                  <a:pt x="894" y="1372"/>
                  <a:pt x="879" y="1372"/>
                </a:cubicBezTo>
                <a:cubicBezTo>
                  <a:pt x="614" y="1372"/>
                  <a:pt x="350" y="1372"/>
                  <a:pt x="85" y="1372"/>
                </a:cubicBezTo>
                <a:cubicBezTo>
                  <a:pt x="74" y="1372"/>
                  <a:pt x="64" y="1372"/>
                  <a:pt x="53" y="1370"/>
                </a:cubicBezTo>
                <a:cubicBezTo>
                  <a:pt x="21" y="1364"/>
                  <a:pt x="2" y="1341"/>
                  <a:pt x="1" y="1309"/>
                </a:cubicBezTo>
                <a:cubicBezTo>
                  <a:pt x="0" y="1302"/>
                  <a:pt x="0" y="1295"/>
                  <a:pt x="0" y="1289"/>
                </a:cubicBezTo>
                <a:cubicBezTo>
                  <a:pt x="0" y="887"/>
                  <a:pt x="0" y="485"/>
                  <a:pt x="0" y="83"/>
                </a:cubicBezTo>
                <a:cubicBezTo>
                  <a:pt x="0" y="22"/>
                  <a:pt x="22" y="0"/>
                  <a:pt x="84" y="0"/>
                </a:cubicBezTo>
                <a:cubicBezTo>
                  <a:pt x="324" y="0"/>
                  <a:pt x="564" y="0"/>
                  <a:pt x="804" y="0"/>
                </a:cubicBezTo>
                <a:close/>
                <a:moveTo>
                  <a:pt x="272" y="536"/>
                </a:moveTo>
                <a:cubicBezTo>
                  <a:pt x="315" y="536"/>
                  <a:pt x="357" y="536"/>
                  <a:pt x="400" y="536"/>
                </a:cubicBezTo>
                <a:cubicBezTo>
                  <a:pt x="414" y="537"/>
                  <a:pt x="421" y="532"/>
                  <a:pt x="420" y="517"/>
                </a:cubicBezTo>
                <a:cubicBezTo>
                  <a:pt x="420" y="472"/>
                  <a:pt x="420" y="426"/>
                  <a:pt x="420" y="381"/>
                </a:cubicBezTo>
                <a:cubicBezTo>
                  <a:pt x="421" y="365"/>
                  <a:pt x="414" y="360"/>
                  <a:pt x="399" y="360"/>
                </a:cubicBezTo>
                <a:cubicBezTo>
                  <a:pt x="315" y="361"/>
                  <a:pt x="231" y="361"/>
                  <a:pt x="147" y="360"/>
                </a:cubicBezTo>
                <a:cubicBezTo>
                  <a:pt x="131" y="360"/>
                  <a:pt x="124" y="365"/>
                  <a:pt x="125" y="382"/>
                </a:cubicBezTo>
                <a:cubicBezTo>
                  <a:pt x="125" y="426"/>
                  <a:pt x="125" y="470"/>
                  <a:pt x="125" y="514"/>
                </a:cubicBezTo>
                <a:cubicBezTo>
                  <a:pt x="124" y="532"/>
                  <a:pt x="131" y="537"/>
                  <a:pt x="148" y="537"/>
                </a:cubicBezTo>
                <a:cubicBezTo>
                  <a:pt x="190" y="536"/>
                  <a:pt x="231" y="536"/>
                  <a:pt x="272" y="536"/>
                </a:cubicBezTo>
                <a:close/>
                <a:moveTo>
                  <a:pt x="629" y="536"/>
                </a:moveTo>
                <a:cubicBezTo>
                  <a:pt x="671" y="536"/>
                  <a:pt x="713" y="536"/>
                  <a:pt x="755" y="537"/>
                </a:cubicBezTo>
                <a:cubicBezTo>
                  <a:pt x="771" y="537"/>
                  <a:pt x="777" y="531"/>
                  <a:pt x="777" y="514"/>
                </a:cubicBezTo>
                <a:cubicBezTo>
                  <a:pt x="776" y="471"/>
                  <a:pt x="776" y="427"/>
                  <a:pt x="777" y="383"/>
                </a:cubicBezTo>
                <a:cubicBezTo>
                  <a:pt x="777" y="366"/>
                  <a:pt x="772" y="360"/>
                  <a:pt x="755" y="360"/>
                </a:cubicBezTo>
                <a:cubicBezTo>
                  <a:pt x="671" y="361"/>
                  <a:pt x="587" y="361"/>
                  <a:pt x="503" y="360"/>
                </a:cubicBezTo>
                <a:cubicBezTo>
                  <a:pt x="487" y="360"/>
                  <a:pt x="481" y="366"/>
                  <a:pt x="481" y="382"/>
                </a:cubicBezTo>
                <a:cubicBezTo>
                  <a:pt x="482" y="426"/>
                  <a:pt x="482" y="470"/>
                  <a:pt x="481" y="514"/>
                </a:cubicBezTo>
                <a:cubicBezTo>
                  <a:pt x="481" y="531"/>
                  <a:pt x="486" y="537"/>
                  <a:pt x="503" y="537"/>
                </a:cubicBezTo>
                <a:cubicBezTo>
                  <a:pt x="545" y="536"/>
                  <a:pt x="587" y="536"/>
                  <a:pt x="629" y="536"/>
                </a:cubicBezTo>
                <a:close/>
                <a:moveTo>
                  <a:pt x="1341" y="536"/>
                </a:moveTo>
                <a:cubicBezTo>
                  <a:pt x="1382" y="536"/>
                  <a:pt x="1424" y="536"/>
                  <a:pt x="1465" y="537"/>
                </a:cubicBezTo>
                <a:cubicBezTo>
                  <a:pt x="1482" y="537"/>
                  <a:pt x="1489" y="532"/>
                  <a:pt x="1489" y="514"/>
                </a:cubicBezTo>
                <a:cubicBezTo>
                  <a:pt x="1488" y="470"/>
                  <a:pt x="1488" y="426"/>
                  <a:pt x="1489" y="382"/>
                </a:cubicBezTo>
                <a:cubicBezTo>
                  <a:pt x="1489" y="366"/>
                  <a:pt x="1483" y="360"/>
                  <a:pt x="1467" y="360"/>
                </a:cubicBezTo>
                <a:cubicBezTo>
                  <a:pt x="1383" y="361"/>
                  <a:pt x="1299" y="361"/>
                  <a:pt x="1215" y="360"/>
                </a:cubicBezTo>
                <a:cubicBezTo>
                  <a:pt x="1198" y="360"/>
                  <a:pt x="1193" y="367"/>
                  <a:pt x="1193" y="383"/>
                </a:cubicBezTo>
                <a:cubicBezTo>
                  <a:pt x="1194" y="427"/>
                  <a:pt x="1194" y="471"/>
                  <a:pt x="1193" y="515"/>
                </a:cubicBezTo>
                <a:cubicBezTo>
                  <a:pt x="1193" y="531"/>
                  <a:pt x="1199" y="537"/>
                  <a:pt x="1215" y="537"/>
                </a:cubicBezTo>
                <a:cubicBezTo>
                  <a:pt x="1257" y="536"/>
                  <a:pt x="1299" y="536"/>
                  <a:pt x="1341" y="536"/>
                </a:cubicBezTo>
                <a:close/>
                <a:moveTo>
                  <a:pt x="273" y="596"/>
                </a:moveTo>
                <a:cubicBezTo>
                  <a:pt x="231" y="596"/>
                  <a:pt x="189" y="597"/>
                  <a:pt x="147" y="596"/>
                </a:cubicBezTo>
                <a:cubicBezTo>
                  <a:pt x="132" y="596"/>
                  <a:pt x="124" y="600"/>
                  <a:pt x="125" y="617"/>
                </a:cubicBezTo>
                <a:cubicBezTo>
                  <a:pt x="125" y="662"/>
                  <a:pt x="125" y="707"/>
                  <a:pt x="125" y="752"/>
                </a:cubicBezTo>
                <a:cubicBezTo>
                  <a:pt x="125" y="767"/>
                  <a:pt x="130" y="773"/>
                  <a:pt x="145" y="772"/>
                </a:cubicBezTo>
                <a:cubicBezTo>
                  <a:pt x="230" y="772"/>
                  <a:pt x="315" y="772"/>
                  <a:pt x="401" y="772"/>
                </a:cubicBezTo>
                <a:cubicBezTo>
                  <a:pt x="416" y="773"/>
                  <a:pt x="421" y="767"/>
                  <a:pt x="420" y="752"/>
                </a:cubicBezTo>
                <a:cubicBezTo>
                  <a:pt x="420" y="708"/>
                  <a:pt x="420" y="663"/>
                  <a:pt x="420" y="618"/>
                </a:cubicBezTo>
                <a:cubicBezTo>
                  <a:pt x="421" y="602"/>
                  <a:pt x="415" y="596"/>
                  <a:pt x="398" y="596"/>
                </a:cubicBezTo>
                <a:cubicBezTo>
                  <a:pt x="357" y="597"/>
                  <a:pt x="315" y="596"/>
                  <a:pt x="273" y="596"/>
                </a:cubicBezTo>
                <a:close/>
                <a:moveTo>
                  <a:pt x="627" y="772"/>
                </a:moveTo>
                <a:cubicBezTo>
                  <a:pt x="670" y="772"/>
                  <a:pt x="712" y="772"/>
                  <a:pt x="755" y="773"/>
                </a:cubicBezTo>
                <a:cubicBezTo>
                  <a:pt x="771" y="773"/>
                  <a:pt x="777" y="767"/>
                  <a:pt x="777" y="750"/>
                </a:cubicBezTo>
                <a:cubicBezTo>
                  <a:pt x="776" y="707"/>
                  <a:pt x="776" y="663"/>
                  <a:pt x="777" y="619"/>
                </a:cubicBezTo>
                <a:cubicBezTo>
                  <a:pt x="777" y="602"/>
                  <a:pt x="772" y="596"/>
                  <a:pt x="755" y="596"/>
                </a:cubicBezTo>
                <a:cubicBezTo>
                  <a:pt x="671" y="597"/>
                  <a:pt x="587" y="597"/>
                  <a:pt x="503" y="596"/>
                </a:cubicBezTo>
                <a:cubicBezTo>
                  <a:pt x="487" y="596"/>
                  <a:pt x="481" y="602"/>
                  <a:pt x="481" y="618"/>
                </a:cubicBezTo>
                <a:cubicBezTo>
                  <a:pt x="482" y="662"/>
                  <a:pt x="482" y="706"/>
                  <a:pt x="481" y="750"/>
                </a:cubicBezTo>
                <a:cubicBezTo>
                  <a:pt x="481" y="767"/>
                  <a:pt x="486" y="773"/>
                  <a:pt x="503" y="773"/>
                </a:cubicBezTo>
                <a:cubicBezTo>
                  <a:pt x="544" y="772"/>
                  <a:pt x="586" y="772"/>
                  <a:pt x="627" y="772"/>
                </a:cubicBezTo>
                <a:close/>
                <a:moveTo>
                  <a:pt x="273" y="1012"/>
                </a:moveTo>
                <a:cubicBezTo>
                  <a:pt x="315" y="1012"/>
                  <a:pt x="357" y="1012"/>
                  <a:pt x="399" y="1013"/>
                </a:cubicBezTo>
                <a:cubicBezTo>
                  <a:pt x="414" y="1013"/>
                  <a:pt x="421" y="1008"/>
                  <a:pt x="420" y="992"/>
                </a:cubicBezTo>
                <a:cubicBezTo>
                  <a:pt x="420" y="947"/>
                  <a:pt x="420" y="901"/>
                  <a:pt x="420" y="856"/>
                </a:cubicBezTo>
                <a:cubicBezTo>
                  <a:pt x="421" y="841"/>
                  <a:pt x="415" y="836"/>
                  <a:pt x="400" y="836"/>
                </a:cubicBezTo>
                <a:cubicBezTo>
                  <a:pt x="316" y="837"/>
                  <a:pt x="231" y="837"/>
                  <a:pt x="146" y="836"/>
                </a:cubicBezTo>
                <a:cubicBezTo>
                  <a:pt x="130" y="836"/>
                  <a:pt x="124" y="843"/>
                  <a:pt x="125" y="859"/>
                </a:cubicBezTo>
                <a:cubicBezTo>
                  <a:pt x="125" y="903"/>
                  <a:pt x="125" y="947"/>
                  <a:pt x="125" y="991"/>
                </a:cubicBezTo>
                <a:cubicBezTo>
                  <a:pt x="124" y="1008"/>
                  <a:pt x="131" y="1013"/>
                  <a:pt x="147" y="1013"/>
                </a:cubicBezTo>
                <a:cubicBezTo>
                  <a:pt x="189" y="1012"/>
                  <a:pt x="231" y="1012"/>
                  <a:pt x="273" y="1012"/>
                </a:cubicBezTo>
                <a:close/>
                <a:moveTo>
                  <a:pt x="629" y="1012"/>
                </a:moveTo>
                <a:cubicBezTo>
                  <a:pt x="672" y="1012"/>
                  <a:pt x="714" y="1012"/>
                  <a:pt x="757" y="1012"/>
                </a:cubicBezTo>
                <a:cubicBezTo>
                  <a:pt x="772" y="1013"/>
                  <a:pt x="777" y="1007"/>
                  <a:pt x="777" y="992"/>
                </a:cubicBezTo>
                <a:cubicBezTo>
                  <a:pt x="776" y="947"/>
                  <a:pt x="776" y="902"/>
                  <a:pt x="777" y="857"/>
                </a:cubicBezTo>
                <a:cubicBezTo>
                  <a:pt x="777" y="840"/>
                  <a:pt x="770" y="836"/>
                  <a:pt x="755" y="836"/>
                </a:cubicBezTo>
                <a:cubicBezTo>
                  <a:pt x="671" y="837"/>
                  <a:pt x="587" y="837"/>
                  <a:pt x="503" y="836"/>
                </a:cubicBezTo>
                <a:cubicBezTo>
                  <a:pt x="487" y="836"/>
                  <a:pt x="481" y="842"/>
                  <a:pt x="481" y="859"/>
                </a:cubicBezTo>
                <a:cubicBezTo>
                  <a:pt x="482" y="902"/>
                  <a:pt x="482" y="946"/>
                  <a:pt x="481" y="990"/>
                </a:cubicBezTo>
                <a:cubicBezTo>
                  <a:pt x="481" y="1007"/>
                  <a:pt x="486" y="1013"/>
                  <a:pt x="503" y="1013"/>
                </a:cubicBezTo>
                <a:cubicBezTo>
                  <a:pt x="545" y="1012"/>
                  <a:pt x="587" y="1012"/>
                  <a:pt x="629" y="1012"/>
                </a:cubicBezTo>
                <a:close/>
                <a:moveTo>
                  <a:pt x="272" y="1248"/>
                </a:moveTo>
                <a:cubicBezTo>
                  <a:pt x="314" y="1248"/>
                  <a:pt x="356" y="1247"/>
                  <a:pt x="398" y="1248"/>
                </a:cubicBezTo>
                <a:cubicBezTo>
                  <a:pt x="414" y="1249"/>
                  <a:pt x="421" y="1243"/>
                  <a:pt x="420" y="1227"/>
                </a:cubicBezTo>
                <a:cubicBezTo>
                  <a:pt x="420" y="1183"/>
                  <a:pt x="420" y="1139"/>
                  <a:pt x="420" y="1095"/>
                </a:cubicBezTo>
                <a:cubicBezTo>
                  <a:pt x="421" y="1079"/>
                  <a:pt x="416" y="1072"/>
                  <a:pt x="399" y="1072"/>
                </a:cubicBezTo>
                <a:cubicBezTo>
                  <a:pt x="315" y="1073"/>
                  <a:pt x="231" y="1073"/>
                  <a:pt x="147" y="1072"/>
                </a:cubicBezTo>
                <a:cubicBezTo>
                  <a:pt x="131" y="1072"/>
                  <a:pt x="124" y="1078"/>
                  <a:pt x="125" y="1094"/>
                </a:cubicBezTo>
                <a:cubicBezTo>
                  <a:pt x="125" y="1138"/>
                  <a:pt x="125" y="1182"/>
                  <a:pt x="125" y="1226"/>
                </a:cubicBezTo>
                <a:cubicBezTo>
                  <a:pt x="124" y="1242"/>
                  <a:pt x="130" y="1249"/>
                  <a:pt x="147" y="1248"/>
                </a:cubicBezTo>
                <a:cubicBezTo>
                  <a:pt x="188" y="1247"/>
                  <a:pt x="230" y="1248"/>
                  <a:pt x="272" y="1248"/>
                </a:cubicBezTo>
                <a:close/>
                <a:moveTo>
                  <a:pt x="629" y="1248"/>
                </a:moveTo>
                <a:cubicBezTo>
                  <a:pt x="672" y="1248"/>
                  <a:pt x="714" y="1248"/>
                  <a:pt x="757" y="1248"/>
                </a:cubicBezTo>
                <a:cubicBezTo>
                  <a:pt x="772" y="1248"/>
                  <a:pt x="777" y="1243"/>
                  <a:pt x="777" y="1228"/>
                </a:cubicBezTo>
                <a:cubicBezTo>
                  <a:pt x="776" y="1183"/>
                  <a:pt x="776" y="1138"/>
                  <a:pt x="777" y="1092"/>
                </a:cubicBezTo>
                <a:cubicBezTo>
                  <a:pt x="777" y="1078"/>
                  <a:pt x="771" y="1072"/>
                  <a:pt x="757" y="1072"/>
                </a:cubicBezTo>
                <a:cubicBezTo>
                  <a:pt x="672" y="1073"/>
                  <a:pt x="586" y="1073"/>
                  <a:pt x="501" y="1072"/>
                </a:cubicBezTo>
                <a:cubicBezTo>
                  <a:pt x="486" y="1072"/>
                  <a:pt x="481" y="1078"/>
                  <a:pt x="481" y="1093"/>
                </a:cubicBezTo>
                <a:cubicBezTo>
                  <a:pt x="482" y="1137"/>
                  <a:pt x="482" y="1182"/>
                  <a:pt x="481" y="1226"/>
                </a:cubicBezTo>
                <a:cubicBezTo>
                  <a:pt x="481" y="1243"/>
                  <a:pt x="487" y="1249"/>
                  <a:pt x="503" y="1248"/>
                </a:cubicBezTo>
                <a:cubicBezTo>
                  <a:pt x="545" y="1247"/>
                  <a:pt x="587" y="1248"/>
                  <a:pt x="629" y="1248"/>
                </a:cubicBezTo>
                <a:close/>
                <a:moveTo>
                  <a:pt x="984" y="360"/>
                </a:moveTo>
                <a:cubicBezTo>
                  <a:pt x="942" y="360"/>
                  <a:pt x="900" y="361"/>
                  <a:pt x="858" y="360"/>
                </a:cubicBezTo>
                <a:cubicBezTo>
                  <a:pt x="843" y="360"/>
                  <a:pt x="836" y="366"/>
                  <a:pt x="836" y="381"/>
                </a:cubicBezTo>
                <a:cubicBezTo>
                  <a:pt x="837" y="426"/>
                  <a:pt x="837" y="471"/>
                  <a:pt x="836" y="515"/>
                </a:cubicBezTo>
                <a:cubicBezTo>
                  <a:pt x="836" y="532"/>
                  <a:pt x="844" y="537"/>
                  <a:pt x="859" y="537"/>
                </a:cubicBezTo>
                <a:cubicBezTo>
                  <a:pt x="942" y="536"/>
                  <a:pt x="1024" y="536"/>
                  <a:pt x="1107" y="537"/>
                </a:cubicBezTo>
                <a:cubicBezTo>
                  <a:pt x="1123" y="537"/>
                  <a:pt x="1130" y="531"/>
                  <a:pt x="1129" y="515"/>
                </a:cubicBezTo>
                <a:cubicBezTo>
                  <a:pt x="1129" y="471"/>
                  <a:pt x="1129" y="427"/>
                  <a:pt x="1129" y="383"/>
                </a:cubicBezTo>
                <a:cubicBezTo>
                  <a:pt x="1130" y="365"/>
                  <a:pt x="1122" y="360"/>
                  <a:pt x="1106" y="360"/>
                </a:cubicBezTo>
                <a:cubicBezTo>
                  <a:pt x="1065" y="361"/>
                  <a:pt x="1024" y="360"/>
                  <a:pt x="984" y="360"/>
                </a:cubicBezTo>
                <a:close/>
                <a:moveTo>
                  <a:pt x="957" y="772"/>
                </a:moveTo>
                <a:cubicBezTo>
                  <a:pt x="990" y="772"/>
                  <a:pt x="1023" y="772"/>
                  <a:pt x="1056" y="772"/>
                </a:cubicBezTo>
                <a:cubicBezTo>
                  <a:pt x="1064" y="772"/>
                  <a:pt x="1073" y="773"/>
                  <a:pt x="1078" y="765"/>
                </a:cubicBezTo>
                <a:cubicBezTo>
                  <a:pt x="1106" y="719"/>
                  <a:pt x="1140" y="676"/>
                  <a:pt x="1130" y="617"/>
                </a:cubicBezTo>
                <a:cubicBezTo>
                  <a:pt x="1127" y="602"/>
                  <a:pt x="1123" y="596"/>
                  <a:pt x="1108" y="596"/>
                </a:cubicBezTo>
                <a:cubicBezTo>
                  <a:pt x="1025" y="597"/>
                  <a:pt x="941" y="597"/>
                  <a:pt x="858" y="596"/>
                </a:cubicBezTo>
                <a:cubicBezTo>
                  <a:pt x="843" y="596"/>
                  <a:pt x="836" y="601"/>
                  <a:pt x="836" y="617"/>
                </a:cubicBezTo>
                <a:cubicBezTo>
                  <a:pt x="837" y="662"/>
                  <a:pt x="837" y="707"/>
                  <a:pt x="837" y="753"/>
                </a:cubicBezTo>
                <a:cubicBezTo>
                  <a:pt x="836" y="767"/>
                  <a:pt x="843" y="773"/>
                  <a:pt x="857" y="772"/>
                </a:cubicBezTo>
                <a:cubicBezTo>
                  <a:pt x="890" y="772"/>
                  <a:pt x="923" y="772"/>
                  <a:pt x="957" y="772"/>
                </a:cubicBezTo>
                <a:close/>
                <a:moveTo>
                  <a:pt x="937" y="836"/>
                </a:moveTo>
                <a:cubicBezTo>
                  <a:pt x="910" y="836"/>
                  <a:pt x="883" y="837"/>
                  <a:pt x="857" y="836"/>
                </a:cubicBezTo>
                <a:cubicBezTo>
                  <a:pt x="844" y="836"/>
                  <a:pt x="837" y="840"/>
                  <a:pt x="837" y="855"/>
                </a:cubicBezTo>
                <a:cubicBezTo>
                  <a:pt x="837" y="901"/>
                  <a:pt x="837" y="948"/>
                  <a:pt x="837" y="994"/>
                </a:cubicBezTo>
                <a:cubicBezTo>
                  <a:pt x="837" y="1007"/>
                  <a:pt x="842" y="1013"/>
                  <a:pt x="855" y="1012"/>
                </a:cubicBezTo>
                <a:cubicBezTo>
                  <a:pt x="877" y="1012"/>
                  <a:pt x="900" y="1012"/>
                  <a:pt x="923" y="1012"/>
                </a:cubicBezTo>
                <a:cubicBezTo>
                  <a:pt x="931" y="1012"/>
                  <a:pt x="938" y="1009"/>
                  <a:pt x="942" y="1001"/>
                </a:cubicBezTo>
                <a:cubicBezTo>
                  <a:pt x="970" y="952"/>
                  <a:pt x="998" y="903"/>
                  <a:pt x="1026" y="854"/>
                </a:cubicBezTo>
                <a:cubicBezTo>
                  <a:pt x="1034" y="839"/>
                  <a:pt x="1027" y="836"/>
                  <a:pt x="1014" y="836"/>
                </a:cubicBezTo>
                <a:cubicBezTo>
                  <a:pt x="988" y="837"/>
                  <a:pt x="962" y="836"/>
                  <a:pt x="937" y="836"/>
                </a:cubicBezTo>
                <a:close/>
                <a:moveTo>
                  <a:pt x="1340" y="684"/>
                </a:moveTo>
                <a:cubicBezTo>
                  <a:pt x="1382" y="684"/>
                  <a:pt x="1424" y="683"/>
                  <a:pt x="1466" y="684"/>
                </a:cubicBezTo>
                <a:cubicBezTo>
                  <a:pt x="1484" y="685"/>
                  <a:pt x="1490" y="678"/>
                  <a:pt x="1489" y="661"/>
                </a:cubicBezTo>
                <a:cubicBezTo>
                  <a:pt x="1487" y="646"/>
                  <a:pt x="1488" y="630"/>
                  <a:pt x="1488" y="615"/>
                </a:cubicBezTo>
                <a:cubicBezTo>
                  <a:pt x="1489" y="603"/>
                  <a:pt x="1484" y="596"/>
                  <a:pt x="1471" y="596"/>
                </a:cubicBezTo>
                <a:cubicBezTo>
                  <a:pt x="1384" y="597"/>
                  <a:pt x="1297" y="597"/>
                  <a:pt x="1210" y="596"/>
                </a:cubicBezTo>
                <a:cubicBezTo>
                  <a:pt x="1198" y="596"/>
                  <a:pt x="1193" y="602"/>
                  <a:pt x="1193" y="614"/>
                </a:cubicBezTo>
                <a:cubicBezTo>
                  <a:pt x="1194" y="628"/>
                  <a:pt x="1194" y="643"/>
                  <a:pt x="1193" y="658"/>
                </a:cubicBezTo>
                <a:cubicBezTo>
                  <a:pt x="1191" y="677"/>
                  <a:pt x="1198" y="685"/>
                  <a:pt x="1219" y="684"/>
                </a:cubicBezTo>
                <a:cubicBezTo>
                  <a:pt x="1259" y="683"/>
                  <a:pt x="1300" y="684"/>
                  <a:pt x="1340" y="684"/>
                </a:cubicBezTo>
                <a:close/>
                <a:moveTo>
                  <a:pt x="837" y="1173"/>
                </a:moveTo>
                <a:cubicBezTo>
                  <a:pt x="838" y="1173"/>
                  <a:pt x="840" y="1174"/>
                  <a:pt x="841" y="1174"/>
                </a:cubicBezTo>
                <a:cubicBezTo>
                  <a:pt x="854" y="1153"/>
                  <a:pt x="867" y="1133"/>
                  <a:pt x="878" y="1112"/>
                </a:cubicBezTo>
                <a:cubicBezTo>
                  <a:pt x="884" y="1100"/>
                  <a:pt x="901" y="1087"/>
                  <a:pt x="894" y="1076"/>
                </a:cubicBezTo>
                <a:cubicBezTo>
                  <a:pt x="887" y="1066"/>
                  <a:pt x="868" y="1073"/>
                  <a:pt x="854" y="1073"/>
                </a:cubicBezTo>
                <a:cubicBezTo>
                  <a:pt x="842" y="1072"/>
                  <a:pt x="837" y="1077"/>
                  <a:pt x="837" y="1089"/>
                </a:cubicBezTo>
                <a:cubicBezTo>
                  <a:pt x="837" y="1117"/>
                  <a:pt x="837" y="1145"/>
                  <a:pt x="837" y="11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0609136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6B9F4FD-FAD5-4E29-A693-849BAC4E3408}"/>
              </a:ext>
            </a:extLst>
          </p:cNvPr>
          <p:cNvSpPr>
            <a:spLocks noGrp="1"/>
          </p:cNvSpPr>
          <p:nvPr>
            <p:ph type="title"/>
          </p:nvPr>
        </p:nvSpPr>
        <p:spPr/>
        <p:txBody>
          <a:bodyPr/>
          <a:lstStyle/>
          <a:p>
            <a:r>
              <a:rPr lang="en-US" dirty="0"/>
              <a:t>Managed Disks – Best Practices</a:t>
            </a:r>
          </a:p>
        </p:txBody>
      </p:sp>
      <p:sp>
        <p:nvSpPr>
          <p:cNvPr id="9" name="Rectangle 8">
            <a:extLst>
              <a:ext uri="{FF2B5EF4-FFF2-40B4-BE49-F238E27FC236}">
                <a16:creationId xmlns:a16="http://schemas.microsoft.com/office/drawing/2014/main" id="{4EEF8163-D7C9-4866-A338-07AEB9408BB0}"/>
              </a:ext>
            </a:extLst>
          </p:cNvPr>
          <p:cNvSpPr/>
          <p:nvPr/>
        </p:nvSpPr>
        <p:spPr>
          <a:xfrm>
            <a:off x="868680" y="1367444"/>
            <a:ext cx="11109960" cy="441372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ct val="0"/>
              </a:spcBef>
              <a:spcAft>
                <a:spcPts val="1800"/>
              </a:spcAft>
            </a:pPr>
            <a:r>
              <a:rPr lang="en-GB" sz="2800" dirty="0">
                <a:solidFill>
                  <a:schemeClr val="accent1"/>
                </a:solidFill>
                <a:latin typeface="+mj-lt"/>
              </a:rPr>
              <a:t>Use SSD Disks for Production workloads</a:t>
            </a:r>
          </a:p>
          <a:p>
            <a:pPr lvl="0" defTabSz="444500">
              <a:spcBef>
                <a:spcPts val="1200"/>
              </a:spcBef>
              <a:spcAft>
                <a:spcPts val="400"/>
              </a:spcAft>
            </a:pPr>
            <a:r>
              <a:rPr lang="en-GB" sz="2800" dirty="0">
                <a:solidFill>
                  <a:schemeClr val="accent1"/>
                </a:solidFill>
                <a:latin typeface="+mj-lt"/>
              </a:rPr>
              <a:t>Only Managed Disks for new workloads</a:t>
            </a:r>
          </a:p>
          <a:p>
            <a:pPr defTabSz="444500">
              <a:spcBef>
                <a:spcPct val="0"/>
              </a:spcBef>
              <a:spcAft>
                <a:spcPts val="1800"/>
              </a:spcAft>
            </a:pPr>
            <a:r>
              <a:rPr lang="en-GB" sz="2000" dirty="0">
                <a:solidFill>
                  <a:schemeClr val="tx2"/>
                </a:solidFill>
                <a:latin typeface="+mj-lt"/>
              </a:rPr>
              <a:t>Upgrade legacy unmanaged to managed when possible</a:t>
            </a:r>
          </a:p>
          <a:p>
            <a:pPr defTabSz="444500">
              <a:spcBef>
                <a:spcPts val="1200"/>
              </a:spcBef>
              <a:spcAft>
                <a:spcPts val="400"/>
              </a:spcAft>
            </a:pPr>
            <a:r>
              <a:rPr lang="en-GB" sz="2800" dirty="0">
                <a:solidFill>
                  <a:schemeClr val="accent1"/>
                </a:solidFill>
                <a:latin typeface="+mj-lt"/>
              </a:rPr>
              <a:t>RAID for redundancy is not necessary</a:t>
            </a:r>
          </a:p>
          <a:p>
            <a:pPr defTabSz="444500">
              <a:spcBef>
                <a:spcPct val="0"/>
              </a:spcBef>
              <a:spcAft>
                <a:spcPts val="400"/>
              </a:spcAft>
            </a:pPr>
            <a:r>
              <a:rPr lang="en-GB" sz="2000" dirty="0">
                <a:solidFill>
                  <a:schemeClr val="tx2"/>
                </a:solidFill>
                <a:latin typeface="+mj-lt"/>
              </a:rPr>
              <a:t>RAID/</a:t>
            </a:r>
            <a:r>
              <a:rPr lang="en-GB" sz="2000" dirty="0" err="1">
                <a:solidFill>
                  <a:schemeClr val="tx2"/>
                </a:solidFill>
                <a:latin typeface="+mj-lt"/>
              </a:rPr>
              <a:t>StorageSpaces</a:t>
            </a:r>
            <a:r>
              <a:rPr lang="en-GB" sz="2000" dirty="0">
                <a:solidFill>
                  <a:schemeClr val="tx2"/>
                </a:solidFill>
                <a:latin typeface="+mj-lt"/>
              </a:rPr>
              <a:t> for performance as needed</a:t>
            </a:r>
          </a:p>
          <a:p>
            <a:pPr defTabSz="444500">
              <a:spcBef>
                <a:spcPct val="0"/>
              </a:spcBef>
              <a:spcAft>
                <a:spcPts val="400"/>
              </a:spcAft>
            </a:pPr>
            <a:r>
              <a:rPr lang="en-GB" sz="2000" dirty="0">
                <a:solidFill>
                  <a:schemeClr val="tx2"/>
                </a:solidFill>
                <a:latin typeface="+mj-lt"/>
              </a:rPr>
              <a:t>Durability doesn’t remove the need for backups</a:t>
            </a:r>
            <a:endParaRPr lang="en-GB" sz="2400" dirty="0">
              <a:solidFill>
                <a:schemeClr val="tx2"/>
              </a:solidFill>
              <a:latin typeface="+mj-lt"/>
            </a:endParaRPr>
          </a:p>
          <a:p>
            <a:pPr lvl="0" defTabSz="444500">
              <a:spcBef>
                <a:spcPts val="1200"/>
              </a:spcBef>
              <a:spcAft>
                <a:spcPts val="400"/>
              </a:spcAft>
            </a:pPr>
            <a:r>
              <a:rPr lang="en-GB" sz="2800" dirty="0">
                <a:solidFill>
                  <a:schemeClr val="accent1"/>
                </a:solidFill>
                <a:latin typeface="+mj-lt"/>
              </a:rPr>
              <a:t>Performance</a:t>
            </a:r>
          </a:p>
          <a:p>
            <a:pPr lvl="0" defTabSz="444500">
              <a:spcBef>
                <a:spcPct val="0"/>
              </a:spcBef>
              <a:spcAft>
                <a:spcPts val="400"/>
              </a:spcAft>
            </a:pPr>
            <a:r>
              <a:rPr lang="en-GB" sz="2000" dirty="0">
                <a:solidFill>
                  <a:schemeClr val="tx2"/>
                </a:solidFill>
                <a:latin typeface="+mj-lt"/>
              </a:rPr>
              <a:t>Local SSD is</a:t>
            </a:r>
            <a:r>
              <a:rPr lang="en-GB" sz="2000" dirty="0">
                <a:solidFill>
                  <a:schemeClr val="tx2"/>
                </a:solidFill>
                <a:latin typeface="Segoe UI" panose="020B0502040204020203" pitchFamily="34" charset="0"/>
                <a:cs typeface="Segoe UI" panose="020B0502040204020203" pitchFamily="34" charset="0"/>
              </a:rPr>
              <a:t> </a:t>
            </a:r>
            <a:r>
              <a:rPr lang="en-GB" sz="2000" b="1" dirty="0">
                <a:solidFill>
                  <a:schemeClr val="tx2"/>
                </a:solidFill>
                <a:latin typeface="Segoe UI" panose="020B0502040204020203" pitchFamily="34" charset="0"/>
                <a:cs typeface="Segoe UI" panose="020B0502040204020203" pitchFamily="34" charset="0"/>
              </a:rPr>
              <a:t>definitely</a:t>
            </a:r>
            <a:r>
              <a:rPr lang="en-GB" sz="2000" dirty="0">
                <a:solidFill>
                  <a:schemeClr val="tx2"/>
                </a:solidFill>
                <a:latin typeface="Segoe UI" panose="020B0502040204020203" pitchFamily="34" charset="0"/>
                <a:cs typeface="Segoe UI" panose="020B0502040204020203" pitchFamily="34" charset="0"/>
              </a:rPr>
              <a:t> </a:t>
            </a:r>
            <a:r>
              <a:rPr lang="en-GB" sz="2000" dirty="0">
                <a:solidFill>
                  <a:schemeClr val="tx2"/>
                </a:solidFill>
                <a:latin typeface="+mj-lt"/>
              </a:rPr>
              <a:t>temporary, use if you can tolerate loss</a:t>
            </a:r>
          </a:p>
          <a:p>
            <a:pPr lvl="0" defTabSz="444500">
              <a:spcBef>
                <a:spcPct val="0"/>
              </a:spcBef>
              <a:spcAft>
                <a:spcPts val="400"/>
              </a:spcAft>
            </a:pPr>
            <a:r>
              <a:rPr lang="en-GB" sz="2000" dirty="0">
                <a:solidFill>
                  <a:schemeClr val="tx2"/>
                </a:solidFill>
                <a:latin typeface="+mj-lt"/>
              </a:rPr>
              <a:t>Enable read caching where appropriate for better performance</a:t>
            </a:r>
          </a:p>
          <a:p>
            <a:pPr lvl="0" defTabSz="444500">
              <a:spcBef>
                <a:spcPct val="0"/>
              </a:spcBef>
              <a:spcAft>
                <a:spcPts val="400"/>
              </a:spcAft>
            </a:pPr>
            <a:r>
              <a:rPr lang="en-GB" sz="2000" dirty="0">
                <a:solidFill>
                  <a:schemeClr val="tx2"/>
                </a:solidFill>
                <a:latin typeface="+mj-lt"/>
              </a:rPr>
              <a:t>Understand VM limits vs Disk limits vs Network throughput limits</a:t>
            </a:r>
          </a:p>
        </p:txBody>
      </p:sp>
      <p:sp>
        <p:nvSpPr>
          <p:cNvPr id="10" name="Graphic 8">
            <a:extLst>
              <a:ext uri="{FF2B5EF4-FFF2-40B4-BE49-F238E27FC236}">
                <a16:creationId xmlns:a16="http://schemas.microsoft.com/office/drawing/2014/main" id="{DB2170F5-B146-45F8-B1FE-7BF5CD149393}"/>
              </a:ext>
            </a:extLst>
          </p:cNvPr>
          <p:cNvSpPr/>
          <p:nvPr/>
        </p:nvSpPr>
        <p:spPr>
          <a:xfrm rot="10800000">
            <a:off x="365138" y="1470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1" name="Graphic 8">
            <a:extLst>
              <a:ext uri="{FF2B5EF4-FFF2-40B4-BE49-F238E27FC236}">
                <a16:creationId xmlns:a16="http://schemas.microsoft.com/office/drawing/2014/main" id="{D7A3A320-3B16-4196-8619-EE58783FF1E5}"/>
              </a:ext>
            </a:extLst>
          </p:cNvPr>
          <p:cNvSpPr/>
          <p:nvPr/>
        </p:nvSpPr>
        <p:spPr>
          <a:xfrm rot="10800000">
            <a:off x="365138" y="2298715"/>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3" name="Graphic 8">
            <a:extLst>
              <a:ext uri="{FF2B5EF4-FFF2-40B4-BE49-F238E27FC236}">
                <a16:creationId xmlns:a16="http://schemas.microsoft.com/office/drawing/2014/main" id="{0A48DE99-B05F-425A-A5C4-61C78D8EC783}"/>
              </a:ext>
            </a:extLst>
          </p:cNvPr>
          <p:cNvSpPr/>
          <p:nvPr/>
        </p:nvSpPr>
        <p:spPr>
          <a:xfrm rot="10800000">
            <a:off x="365138" y="3468231"/>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4" name="Graphic 8">
            <a:extLst>
              <a:ext uri="{FF2B5EF4-FFF2-40B4-BE49-F238E27FC236}">
                <a16:creationId xmlns:a16="http://schemas.microsoft.com/office/drawing/2014/main" id="{B29D8473-1B6E-46D1-838D-75366C9034E4}"/>
              </a:ext>
            </a:extLst>
          </p:cNvPr>
          <p:cNvSpPr/>
          <p:nvPr/>
        </p:nvSpPr>
        <p:spPr>
          <a:xfrm rot="10800000">
            <a:off x="365138" y="4808180"/>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cxnSp>
        <p:nvCxnSpPr>
          <p:cNvPr id="3" name="Straight Connector 2">
            <a:extLst>
              <a:ext uri="{FF2B5EF4-FFF2-40B4-BE49-F238E27FC236}">
                <a16:creationId xmlns:a16="http://schemas.microsoft.com/office/drawing/2014/main" id="{81C8C203-2555-42AD-910F-ED982293F08A}"/>
              </a:ext>
            </a:extLst>
          </p:cNvPr>
          <p:cNvCxnSpPr/>
          <p:nvPr/>
        </p:nvCxnSpPr>
        <p:spPr>
          <a:xfrm>
            <a:off x="868680" y="1903227"/>
            <a:ext cx="1110996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749D569-42B7-45CE-885D-E9354D0A5F66}"/>
              </a:ext>
            </a:extLst>
          </p:cNvPr>
          <p:cNvCxnSpPr/>
          <p:nvPr/>
        </p:nvCxnSpPr>
        <p:spPr>
          <a:xfrm>
            <a:off x="868680" y="3174466"/>
            <a:ext cx="1110996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29545B8-F68D-487C-B139-E9B3D34E828A}"/>
              </a:ext>
            </a:extLst>
          </p:cNvPr>
          <p:cNvCxnSpPr/>
          <p:nvPr/>
        </p:nvCxnSpPr>
        <p:spPr>
          <a:xfrm>
            <a:off x="868680" y="4612974"/>
            <a:ext cx="1110996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2585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wipe(left)">
                                      <p:cBhvr>
                                        <p:cTn id="11" dur="500"/>
                                        <p:tgtEl>
                                          <p:spTgt spid="9">
                                            <p:txEl>
                                              <p:pRg st="0" end="0"/>
                                            </p:txEl>
                                          </p:spTgt>
                                        </p:tgtEl>
                                      </p:cBhvr>
                                    </p:animEffect>
                                  </p:childTnLst>
                                </p:cTn>
                              </p:par>
                              <p:par>
                                <p:cTn id="12" presetID="22" presetClass="entr" presetSubtype="8" fill="hold" nodeType="with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wipe(left)">
                                      <p:cBhvr>
                                        <p:cTn id="14" dur="500"/>
                                        <p:tgtEl>
                                          <p:spTgt spid="3"/>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wipe(left)">
                                      <p:cBhvr>
                                        <p:cTn id="19" dur="500"/>
                                        <p:tgtEl>
                                          <p:spTgt spid="11"/>
                                        </p:tgtEl>
                                      </p:cBhvr>
                                    </p:animEffect>
                                  </p:childTnLst>
                                </p:cTn>
                              </p:par>
                            </p:childTnLst>
                          </p:cTn>
                        </p:par>
                        <p:par>
                          <p:cTn id="20" fill="hold">
                            <p:stCondLst>
                              <p:cond delay="500"/>
                            </p:stCondLst>
                            <p:childTnLst>
                              <p:par>
                                <p:cTn id="21" presetID="22" presetClass="entr" presetSubtype="8" fill="hold" nodeType="afterEffect">
                                  <p:stCondLst>
                                    <p:cond delay="0"/>
                                  </p:stCondLst>
                                  <p:childTnLst>
                                    <p:set>
                                      <p:cBhvr>
                                        <p:cTn id="22" dur="1" fill="hold">
                                          <p:stCondLst>
                                            <p:cond delay="0"/>
                                          </p:stCondLst>
                                        </p:cTn>
                                        <p:tgtEl>
                                          <p:spTgt spid="9">
                                            <p:txEl>
                                              <p:pRg st="1" end="1"/>
                                            </p:txEl>
                                          </p:spTgt>
                                        </p:tgtEl>
                                        <p:attrNameLst>
                                          <p:attrName>style.visibility</p:attrName>
                                        </p:attrNameLst>
                                      </p:cBhvr>
                                      <p:to>
                                        <p:strVal val="visible"/>
                                      </p:to>
                                    </p:set>
                                    <p:animEffect transition="in" filter="wipe(left)">
                                      <p:cBhvr>
                                        <p:cTn id="23" dur="500"/>
                                        <p:tgtEl>
                                          <p:spTgt spid="9">
                                            <p:txEl>
                                              <p:pRg st="1" end="1"/>
                                            </p:txEl>
                                          </p:spTgt>
                                        </p:tgtEl>
                                      </p:cBhvr>
                                    </p:animEffect>
                                  </p:childTnLst>
                                </p:cTn>
                              </p:par>
                              <p:par>
                                <p:cTn id="24" presetID="22" presetClass="entr" presetSubtype="8" fill="hold" nodeType="withEffect">
                                  <p:stCondLst>
                                    <p:cond delay="0"/>
                                  </p:stCondLst>
                                  <p:childTnLst>
                                    <p:set>
                                      <p:cBhvr>
                                        <p:cTn id="25" dur="1" fill="hold">
                                          <p:stCondLst>
                                            <p:cond delay="0"/>
                                          </p:stCondLst>
                                        </p:cTn>
                                        <p:tgtEl>
                                          <p:spTgt spid="9">
                                            <p:txEl>
                                              <p:pRg st="2" end="2"/>
                                            </p:txEl>
                                          </p:spTgt>
                                        </p:tgtEl>
                                        <p:attrNameLst>
                                          <p:attrName>style.visibility</p:attrName>
                                        </p:attrNameLst>
                                      </p:cBhvr>
                                      <p:to>
                                        <p:strVal val="visible"/>
                                      </p:to>
                                    </p:set>
                                    <p:animEffect transition="in" filter="wipe(left)">
                                      <p:cBhvr>
                                        <p:cTn id="26" dur="500"/>
                                        <p:tgtEl>
                                          <p:spTgt spid="9">
                                            <p:txEl>
                                              <p:pRg st="2" end="2"/>
                                            </p:txEl>
                                          </p:spTgt>
                                        </p:tgtEl>
                                      </p:cBhvr>
                                    </p:animEffect>
                                  </p:childTnLst>
                                </p:cTn>
                              </p:par>
                              <p:par>
                                <p:cTn id="27" presetID="22" presetClass="entr" presetSubtype="8"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wipe(left)">
                                      <p:cBhvr>
                                        <p:cTn id="34" dur="500"/>
                                        <p:tgtEl>
                                          <p:spTgt spid="13"/>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9">
                                            <p:txEl>
                                              <p:pRg st="3" end="3"/>
                                            </p:txEl>
                                          </p:spTgt>
                                        </p:tgtEl>
                                        <p:attrNameLst>
                                          <p:attrName>style.visibility</p:attrName>
                                        </p:attrNameLst>
                                      </p:cBhvr>
                                      <p:to>
                                        <p:strVal val="visible"/>
                                      </p:to>
                                    </p:set>
                                    <p:animEffect transition="in" filter="wipe(left)">
                                      <p:cBhvr>
                                        <p:cTn id="38" dur="500"/>
                                        <p:tgtEl>
                                          <p:spTgt spid="9">
                                            <p:txEl>
                                              <p:pRg st="3" end="3"/>
                                            </p:txEl>
                                          </p:spTgt>
                                        </p:tgtEl>
                                      </p:cBhvr>
                                    </p:animEffect>
                                  </p:childTnLst>
                                </p:cTn>
                              </p:par>
                              <p:par>
                                <p:cTn id="39" presetID="22" presetClass="entr" presetSubtype="8" fill="hold" nodeType="withEffect">
                                  <p:stCondLst>
                                    <p:cond delay="0"/>
                                  </p:stCondLst>
                                  <p:childTnLst>
                                    <p:set>
                                      <p:cBhvr>
                                        <p:cTn id="40" dur="1" fill="hold">
                                          <p:stCondLst>
                                            <p:cond delay="0"/>
                                          </p:stCondLst>
                                        </p:cTn>
                                        <p:tgtEl>
                                          <p:spTgt spid="9">
                                            <p:txEl>
                                              <p:pRg st="4" end="4"/>
                                            </p:txEl>
                                          </p:spTgt>
                                        </p:tgtEl>
                                        <p:attrNameLst>
                                          <p:attrName>style.visibility</p:attrName>
                                        </p:attrNameLst>
                                      </p:cBhvr>
                                      <p:to>
                                        <p:strVal val="visible"/>
                                      </p:to>
                                    </p:set>
                                    <p:animEffect transition="in" filter="wipe(left)">
                                      <p:cBhvr>
                                        <p:cTn id="41" dur="500"/>
                                        <p:tgtEl>
                                          <p:spTgt spid="9">
                                            <p:txEl>
                                              <p:pRg st="4" end="4"/>
                                            </p:txEl>
                                          </p:spTgt>
                                        </p:tgtEl>
                                      </p:cBhvr>
                                    </p:animEffect>
                                  </p:childTnLst>
                                </p:cTn>
                              </p:par>
                              <p:par>
                                <p:cTn id="42" presetID="22" presetClass="entr" presetSubtype="8" fill="hold" nodeType="withEffect">
                                  <p:stCondLst>
                                    <p:cond delay="0"/>
                                  </p:stCondLst>
                                  <p:childTnLst>
                                    <p:set>
                                      <p:cBhvr>
                                        <p:cTn id="43" dur="1" fill="hold">
                                          <p:stCondLst>
                                            <p:cond delay="0"/>
                                          </p:stCondLst>
                                        </p:cTn>
                                        <p:tgtEl>
                                          <p:spTgt spid="9">
                                            <p:txEl>
                                              <p:pRg st="5" end="5"/>
                                            </p:txEl>
                                          </p:spTgt>
                                        </p:tgtEl>
                                        <p:attrNameLst>
                                          <p:attrName>style.visibility</p:attrName>
                                        </p:attrNameLst>
                                      </p:cBhvr>
                                      <p:to>
                                        <p:strVal val="visible"/>
                                      </p:to>
                                    </p:set>
                                    <p:animEffect transition="in" filter="wipe(left)">
                                      <p:cBhvr>
                                        <p:cTn id="44" dur="500"/>
                                        <p:tgtEl>
                                          <p:spTgt spid="9">
                                            <p:txEl>
                                              <p:pRg st="5" end="5"/>
                                            </p:txEl>
                                          </p:spTgt>
                                        </p:tgtEl>
                                      </p:cBhvr>
                                    </p:animEffect>
                                  </p:childTnLst>
                                </p:cTn>
                              </p:par>
                              <p:par>
                                <p:cTn id="45" presetID="22" presetClass="entr" presetSubtype="8" fill="hold"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left)">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wipe(left)">
                                      <p:cBhvr>
                                        <p:cTn id="52" dur="500"/>
                                        <p:tgtEl>
                                          <p:spTgt spid="14"/>
                                        </p:tgtEl>
                                      </p:cBhvr>
                                    </p:animEffect>
                                  </p:childTnLst>
                                </p:cTn>
                              </p:par>
                            </p:childTnLst>
                          </p:cTn>
                        </p:par>
                        <p:par>
                          <p:cTn id="53" fill="hold">
                            <p:stCondLst>
                              <p:cond delay="500"/>
                            </p:stCondLst>
                            <p:childTnLst>
                              <p:par>
                                <p:cTn id="54" presetID="22" presetClass="entr" presetSubtype="8" fill="hold" nodeType="afterEffect">
                                  <p:stCondLst>
                                    <p:cond delay="0"/>
                                  </p:stCondLst>
                                  <p:childTnLst>
                                    <p:set>
                                      <p:cBhvr>
                                        <p:cTn id="55" dur="1" fill="hold">
                                          <p:stCondLst>
                                            <p:cond delay="0"/>
                                          </p:stCondLst>
                                        </p:cTn>
                                        <p:tgtEl>
                                          <p:spTgt spid="9">
                                            <p:txEl>
                                              <p:pRg st="6" end="6"/>
                                            </p:txEl>
                                          </p:spTgt>
                                        </p:tgtEl>
                                        <p:attrNameLst>
                                          <p:attrName>style.visibility</p:attrName>
                                        </p:attrNameLst>
                                      </p:cBhvr>
                                      <p:to>
                                        <p:strVal val="visible"/>
                                      </p:to>
                                    </p:set>
                                    <p:animEffect transition="in" filter="wipe(left)">
                                      <p:cBhvr>
                                        <p:cTn id="56" dur="500"/>
                                        <p:tgtEl>
                                          <p:spTgt spid="9">
                                            <p:txEl>
                                              <p:pRg st="6" end="6"/>
                                            </p:txEl>
                                          </p:spTgt>
                                        </p:tgtEl>
                                      </p:cBhvr>
                                    </p:animEffect>
                                  </p:childTnLst>
                                </p:cTn>
                              </p:par>
                              <p:par>
                                <p:cTn id="57" presetID="22" presetClass="entr" presetSubtype="8" fill="hold" nodeType="withEffect">
                                  <p:stCondLst>
                                    <p:cond delay="0"/>
                                  </p:stCondLst>
                                  <p:childTnLst>
                                    <p:set>
                                      <p:cBhvr>
                                        <p:cTn id="58" dur="1" fill="hold">
                                          <p:stCondLst>
                                            <p:cond delay="0"/>
                                          </p:stCondLst>
                                        </p:cTn>
                                        <p:tgtEl>
                                          <p:spTgt spid="9">
                                            <p:txEl>
                                              <p:pRg st="7" end="7"/>
                                            </p:txEl>
                                          </p:spTgt>
                                        </p:tgtEl>
                                        <p:attrNameLst>
                                          <p:attrName>style.visibility</p:attrName>
                                        </p:attrNameLst>
                                      </p:cBhvr>
                                      <p:to>
                                        <p:strVal val="visible"/>
                                      </p:to>
                                    </p:set>
                                    <p:animEffect transition="in" filter="wipe(left)">
                                      <p:cBhvr>
                                        <p:cTn id="59" dur="500"/>
                                        <p:tgtEl>
                                          <p:spTgt spid="9">
                                            <p:txEl>
                                              <p:pRg st="7" end="7"/>
                                            </p:txEl>
                                          </p:spTgt>
                                        </p:tgtEl>
                                      </p:cBhvr>
                                    </p:animEffect>
                                  </p:childTnLst>
                                </p:cTn>
                              </p:par>
                              <p:par>
                                <p:cTn id="60" presetID="22" presetClass="entr" presetSubtype="8" fill="hold" nodeType="withEffect">
                                  <p:stCondLst>
                                    <p:cond delay="0"/>
                                  </p:stCondLst>
                                  <p:childTnLst>
                                    <p:set>
                                      <p:cBhvr>
                                        <p:cTn id="61" dur="1" fill="hold">
                                          <p:stCondLst>
                                            <p:cond delay="0"/>
                                          </p:stCondLst>
                                        </p:cTn>
                                        <p:tgtEl>
                                          <p:spTgt spid="9">
                                            <p:txEl>
                                              <p:pRg st="8" end="8"/>
                                            </p:txEl>
                                          </p:spTgt>
                                        </p:tgtEl>
                                        <p:attrNameLst>
                                          <p:attrName>style.visibility</p:attrName>
                                        </p:attrNameLst>
                                      </p:cBhvr>
                                      <p:to>
                                        <p:strVal val="visible"/>
                                      </p:to>
                                    </p:set>
                                    <p:animEffect transition="in" filter="wipe(left)">
                                      <p:cBhvr>
                                        <p:cTn id="62" dur="500"/>
                                        <p:tgtEl>
                                          <p:spTgt spid="9">
                                            <p:txEl>
                                              <p:pRg st="8" end="8"/>
                                            </p:txEl>
                                          </p:spTgt>
                                        </p:tgtEl>
                                      </p:cBhvr>
                                    </p:animEffect>
                                  </p:childTnLst>
                                </p:cTn>
                              </p:par>
                              <p:par>
                                <p:cTn id="63" presetID="22" presetClass="entr" presetSubtype="8" fill="hold" nodeType="withEffect">
                                  <p:stCondLst>
                                    <p:cond delay="0"/>
                                  </p:stCondLst>
                                  <p:childTnLst>
                                    <p:set>
                                      <p:cBhvr>
                                        <p:cTn id="64" dur="1" fill="hold">
                                          <p:stCondLst>
                                            <p:cond delay="0"/>
                                          </p:stCondLst>
                                        </p:cTn>
                                        <p:tgtEl>
                                          <p:spTgt spid="9">
                                            <p:txEl>
                                              <p:pRg st="9" end="9"/>
                                            </p:txEl>
                                          </p:spTgt>
                                        </p:tgtEl>
                                        <p:attrNameLst>
                                          <p:attrName>style.visibility</p:attrName>
                                        </p:attrNameLst>
                                      </p:cBhvr>
                                      <p:to>
                                        <p:strVal val="visible"/>
                                      </p:to>
                                    </p:set>
                                    <p:animEffect transition="in" filter="wipe(left)">
                                      <p:cBhvr>
                                        <p:cTn id="65" dur="500"/>
                                        <p:tgtEl>
                                          <p:spTgt spid="9">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animBg="1"/>
      <p:bldP spid="14"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8931ED-44C1-403B-A68D-D705F863CDFC}"/>
              </a:ext>
            </a:extLst>
          </p:cNvPr>
          <p:cNvSpPr>
            <a:spLocks noGrp="1"/>
          </p:cNvSpPr>
          <p:nvPr>
            <p:ph type="title"/>
          </p:nvPr>
        </p:nvSpPr>
        <p:spPr/>
        <p:txBody>
          <a:bodyPr/>
          <a:lstStyle/>
          <a:p>
            <a:r>
              <a:rPr lang="en-US" dirty="0"/>
              <a:t>Azure Database Services</a:t>
            </a:r>
            <a:endParaRPr lang="en-IN" dirty="0"/>
          </a:p>
        </p:txBody>
      </p:sp>
    </p:spTree>
    <p:extLst>
      <p:ext uri="{BB962C8B-B14F-4D97-AF65-F5344CB8AC3E}">
        <p14:creationId xmlns:p14="http://schemas.microsoft.com/office/powerpoint/2010/main" val="42728435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A52C2-8998-43DF-B821-BDC3BAD6677C}"/>
              </a:ext>
            </a:extLst>
          </p:cNvPr>
          <p:cNvSpPr>
            <a:spLocks noGrp="1"/>
          </p:cNvSpPr>
          <p:nvPr>
            <p:ph type="title"/>
          </p:nvPr>
        </p:nvSpPr>
        <p:spPr/>
        <p:txBody>
          <a:bodyPr/>
          <a:lstStyle/>
          <a:p>
            <a:r>
              <a:rPr lang="en-US" dirty="0"/>
              <a:t>Why Azure SQL Managed Instance?</a:t>
            </a:r>
          </a:p>
        </p:txBody>
      </p:sp>
      <p:sp>
        <p:nvSpPr>
          <p:cNvPr id="6" name="Rectangle 5">
            <a:extLst>
              <a:ext uri="{FF2B5EF4-FFF2-40B4-BE49-F238E27FC236}">
                <a16:creationId xmlns:a16="http://schemas.microsoft.com/office/drawing/2014/main" id="{54E7DA1A-337D-49FF-8741-09753DEB8878}"/>
              </a:ext>
            </a:extLst>
          </p:cNvPr>
          <p:cNvSpPr/>
          <p:nvPr/>
        </p:nvSpPr>
        <p:spPr bwMode="auto">
          <a:xfrm>
            <a:off x="5347504" y="1570102"/>
            <a:ext cx="6620803" cy="4970998"/>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defRPr/>
            </a:pPr>
            <a:endParaRPr lang="en-US" sz="1600" dirty="0">
              <a:solidFill>
                <a:schemeClr val="tx2"/>
              </a:solidFill>
              <a:ea typeface="Segoe UI" pitchFamily="34" charset="0"/>
              <a:cs typeface="Segoe UI" pitchFamily="34" charset="0"/>
            </a:endParaRPr>
          </a:p>
        </p:txBody>
      </p:sp>
      <p:sp>
        <p:nvSpPr>
          <p:cNvPr id="119" name="Rectangle 118">
            <a:extLst>
              <a:ext uri="{FF2B5EF4-FFF2-40B4-BE49-F238E27FC236}">
                <a16:creationId xmlns:a16="http://schemas.microsoft.com/office/drawing/2014/main" id="{9D3654B9-904B-4627-B506-29EA36EC4CC7}"/>
              </a:ext>
            </a:extLst>
          </p:cNvPr>
          <p:cNvSpPr/>
          <p:nvPr/>
        </p:nvSpPr>
        <p:spPr bwMode="auto">
          <a:xfrm>
            <a:off x="462987" y="1570098"/>
            <a:ext cx="4745621" cy="2793557"/>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US" sz="2400" b="1" kern="0" dirty="0">
                <a:solidFill>
                  <a:schemeClr val="accent1"/>
                </a:solidFill>
                <a:cs typeface="Segoe UI Semibold" charset="0"/>
              </a:rPr>
              <a:t>Are your customers interested in moving to cloud?</a:t>
            </a:r>
            <a:endParaRPr lang="en-US" sz="2800" b="1" kern="0" dirty="0">
              <a:solidFill>
                <a:schemeClr val="accent1"/>
              </a:solidFill>
              <a:cs typeface="Segoe UI Semibold" charset="0"/>
            </a:endParaRPr>
          </a:p>
          <a:p>
            <a:pPr marL="0" lvl="1">
              <a:spcBef>
                <a:spcPts val="300"/>
              </a:spcBef>
              <a:spcAft>
                <a:spcPts val="400"/>
              </a:spcAft>
            </a:pPr>
            <a:r>
              <a:rPr lang="en-US" kern="0" dirty="0">
                <a:solidFill>
                  <a:schemeClr val="tx2"/>
                </a:solidFill>
                <a:cs typeface="Segoe UI Semilight" panose="020B0402040204020203" pitchFamily="34" charset="0"/>
              </a:rPr>
              <a:t>Want to close your data center</a:t>
            </a:r>
          </a:p>
          <a:p>
            <a:pPr marL="0" lvl="1">
              <a:spcBef>
                <a:spcPts val="300"/>
              </a:spcBef>
              <a:spcAft>
                <a:spcPts val="400"/>
              </a:spcAft>
            </a:pPr>
            <a:r>
              <a:rPr lang="en-US" kern="0" dirty="0">
                <a:solidFill>
                  <a:schemeClr val="tx2"/>
                </a:solidFill>
                <a:cs typeface="Segoe UI Semilight" panose="020B0402040204020203" pitchFamily="34" charset="0"/>
              </a:rPr>
              <a:t>Current hosting solution is high maintenance</a:t>
            </a:r>
          </a:p>
          <a:p>
            <a:pPr marL="0" lvl="1">
              <a:spcBef>
                <a:spcPts val="300"/>
              </a:spcBef>
              <a:spcAft>
                <a:spcPts val="400"/>
              </a:spcAft>
            </a:pPr>
            <a:r>
              <a:rPr lang="en-US" kern="0" dirty="0">
                <a:solidFill>
                  <a:schemeClr val="tx2"/>
                </a:solidFill>
                <a:cs typeface="Segoe UI Semilight" panose="020B0402040204020203" pitchFamily="34" charset="0"/>
              </a:rPr>
              <a:t>You’re asked to do more with less</a:t>
            </a:r>
          </a:p>
          <a:p>
            <a:pPr marL="0" lvl="1">
              <a:spcBef>
                <a:spcPts val="300"/>
              </a:spcBef>
              <a:spcAft>
                <a:spcPts val="400"/>
              </a:spcAft>
            </a:pPr>
            <a:r>
              <a:rPr lang="en-US" kern="0" dirty="0">
                <a:solidFill>
                  <a:schemeClr val="tx2"/>
                </a:solidFill>
                <a:cs typeface="Segoe UI Semilight" panose="020B0402040204020203" pitchFamily="34" charset="0"/>
              </a:rPr>
              <a:t>Want to expand your reach globally</a:t>
            </a:r>
            <a:endParaRPr lang="en-US" sz="2000" kern="0" dirty="0">
              <a:solidFill>
                <a:schemeClr val="tx2"/>
              </a:solidFill>
              <a:cs typeface="Segoe UI Semilight" panose="020B0402040204020203" pitchFamily="34" charset="0"/>
            </a:endParaRPr>
          </a:p>
        </p:txBody>
      </p:sp>
      <p:sp>
        <p:nvSpPr>
          <p:cNvPr id="120" name="Rectangle 119">
            <a:extLst>
              <a:ext uri="{FF2B5EF4-FFF2-40B4-BE49-F238E27FC236}">
                <a16:creationId xmlns:a16="http://schemas.microsoft.com/office/drawing/2014/main" id="{A3EB1503-F7F8-4C88-8163-A679A66014D7}"/>
              </a:ext>
            </a:extLst>
          </p:cNvPr>
          <p:cNvSpPr/>
          <p:nvPr/>
        </p:nvSpPr>
        <p:spPr bwMode="auto">
          <a:xfrm>
            <a:off x="462987" y="4525701"/>
            <a:ext cx="4745621" cy="2015396"/>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US" sz="2400" b="1" kern="0">
                <a:solidFill>
                  <a:schemeClr val="accent1"/>
                </a:solidFill>
                <a:cs typeface="Segoe UI Semibold" charset="0"/>
              </a:rPr>
              <a:t>Do your customer want to avoid app rewrites but still benefit from PaaS?</a:t>
            </a:r>
            <a:endParaRPr lang="en-US" sz="2400" b="1" kern="0" dirty="0">
              <a:solidFill>
                <a:schemeClr val="accent1"/>
              </a:solidFill>
              <a:cs typeface="Segoe UI Semibold" charset="0"/>
            </a:endParaRPr>
          </a:p>
        </p:txBody>
      </p:sp>
      <p:sp>
        <p:nvSpPr>
          <p:cNvPr id="124" name="TextBox 123">
            <a:extLst>
              <a:ext uri="{FF2B5EF4-FFF2-40B4-BE49-F238E27FC236}">
                <a16:creationId xmlns:a16="http://schemas.microsoft.com/office/drawing/2014/main" id="{5DAA9B2F-5904-448D-82C0-0EE76D7F4BAD}"/>
              </a:ext>
            </a:extLst>
          </p:cNvPr>
          <p:cNvSpPr txBox="1"/>
          <p:nvPr/>
        </p:nvSpPr>
        <p:spPr>
          <a:xfrm>
            <a:off x="5658621" y="2815116"/>
            <a:ext cx="2628925" cy="553998"/>
          </a:xfrm>
          <a:prstGeom prst="rect">
            <a:avLst/>
          </a:prstGeom>
          <a:noFill/>
        </p:spPr>
        <p:txBody>
          <a:bodyPr wrap="none" lIns="0" tIns="0" rIns="0" bIns="0" rtlCol="0">
            <a:spAutoFit/>
          </a:bodyPr>
          <a:lstStyle/>
          <a:p>
            <a:pPr algn="ctr" defTabSz="932563">
              <a:spcAft>
                <a:spcPts val="600"/>
              </a:spcAft>
            </a:pPr>
            <a:r>
              <a:rPr lang="en-US" dirty="0">
                <a:solidFill>
                  <a:schemeClr val="tx2"/>
                </a:solidFill>
                <a:latin typeface="Segoe UI"/>
              </a:rPr>
              <a:t>Managed Instance brings </a:t>
            </a:r>
            <a:br>
              <a:rPr lang="en-US" dirty="0">
                <a:solidFill>
                  <a:schemeClr val="tx2"/>
                </a:solidFill>
                <a:latin typeface="Segoe UI"/>
              </a:rPr>
            </a:br>
            <a:r>
              <a:rPr lang="en-US" dirty="0">
                <a:solidFill>
                  <a:schemeClr val="tx2"/>
                </a:solidFill>
                <a:latin typeface="Segoe UI"/>
              </a:rPr>
              <a:t>PaaS closer to you!</a:t>
            </a:r>
          </a:p>
        </p:txBody>
      </p:sp>
      <p:grpSp>
        <p:nvGrpSpPr>
          <p:cNvPr id="139" name="Group 138">
            <a:extLst>
              <a:ext uri="{FF2B5EF4-FFF2-40B4-BE49-F238E27FC236}">
                <a16:creationId xmlns:a16="http://schemas.microsoft.com/office/drawing/2014/main" id="{AC202EE4-AEF4-4AD2-94C6-E9811596760E}"/>
              </a:ext>
            </a:extLst>
          </p:cNvPr>
          <p:cNvGrpSpPr/>
          <p:nvPr/>
        </p:nvGrpSpPr>
        <p:grpSpPr>
          <a:xfrm>
            <a:off x="8887034" y="1710912"/>
            <a:ext cx="1842698" cy="4689378"/>
            <a:chOff x="8917401" y="1788189"/>
            <a:chExt cx="1781965" cy="4534824"/>
          </a:xfrm>
        </p:grpSpPr>
        <p:pic>
          <p:nvPicPr>
            <p:cNvPr id="123" name="Picture 122">
              <a:extLst>
                <a:ext uri="{FF2B5EF4-FFF2-40B4-BE49-F238E27FC236}">
                  <a16:creationId xmlns:a16="http://schemas.microsoft.com/office/drawing/2014/main" id="{54D5F9D7-01E9-4D03-8E8B-D4FF48F669DA}"/>
                </a:ext>
              </a:extLst>
            </p:cNvPr>
            <p:cNvPicPr>
              <a:picLocks noChangeAspect="1"/>
            </p:cNvPicPr>
            <p:nvPr/>
          </p:nvPicPr>
          <p:blipFill>
            <a:blip r:embed="rId4"/>
            <a:stretch>
              <a:fillRect/>
            </a:stretch>
          </p:blipFill>
          <p:spPr>
            <a:xfrm>
              <a:off x="9456416" y="2955836"/>
              <a:ext cx="840005" cy="2489377"/>
            </a:xfrm>
            <a:prstGeom prst="rect">
              <a:avLst/>
            </a:prstGeom>
          </p:spPr>
        </p:pic>
        <p:graphicFrame>
          <p:nvGraphicFramePr>
            <p:cNvPr id="125" name="Object 124">
              <a:extLst>
                <a:ext uri="{FF2B5EF4-FFF2-40B4-BE49-F238E27FC236}">
                  <a16:creationId xmlns:a16="http://schemas.microsoft.com/office/drawing/2014/main" id="{EF7BDDEC-E6E4-456D-904D-CFFA7AB67D15}"/>
                </a:ext>
              </a:extLst>
            </p:cNvPr>
            <p:cNvGraphicFramePr>
              <a:graphicFrameLocks noChangeAspect="1"/>
            </p:cNvGraphicFramePr>
            <p:nvPr>
              <p:extLst/>
            </p:nvPr>
          </p:nvGraphicFramePr>
          <p:xfrm>
            <a:off x="8917401" y="1788189"/>
            <a:ext cx="1781965" cy="1071464"/>
          </p:xfrm>
          <a:graphic>
            <a:graphicData uri="http://schemas.openxmlformats.org/presentationml/2006/ole">
              <mc:AlternateContent xmlns:mc="http://schemas.openxmlformats.org/markup-compatibility/2006">
                <mc:Choice xmlns:v="urn:schemas-microsoft-com:vml" Requires="v">
                  <p:oleObj spid="_x0000_s1026" name="CorelDRAW" r:id="rId5" imgW="1657458" imgH="1046661" progId="CorelDraw.Graphic.17">
                    <p:embed/>
                  </p:oleObj>
                </mc:Choice>
                <mc:Fallback>
                  <p:oleObj name="CorelDRAW" r:id="rId5" imgW="1657458" imgH="1046661" progId="CorelDraw.Graphic.17">
                    <p:embed/>
                    <p:pic>
                      <p:nvPicPr>
                        <p:cNvPr id="125" name="Object 124">
                          <a:extLst>
                            <a:ext uri="{FF2B5EF4-FFF2-40B4-BE49-F238E27FC236}">
                              <a16:creationId xmlns:a16="http://schemas.microsoft.com/office/drawing/2014/main" id="{EF7BDDEC-E6E4-456D-904D-CFFA7AB67D15}"/>
                            </a:ext>
                          </a:extLst>
                        </p:cNvPr>
                        <p:cNvPicPr/>
                        <p:nvPr/>
                      </p:nvPicPr>
                      <p:blipFill>
                        <a:blip r:embed="rId6"/>
                        <a:stretch>
                          <a:fillRect/>
                        </a:stretch>
                      </p:blipFill>
                      <p:spPr>
                        <a:xfrm>
                          <a:off x="8917401" y="1788189"/>
                          <a:ext cx="1781965" cy="1071464"/>
                        </a:xfrm>
                        <a:prstGeom prst="rect">
                          <a:avLst/>
                        </a:prstGeom>
                      </p:spPr>
                    </p:pic>
                  </p:oleObj>
                </mc:Fallback>
              </mc:AlternateContent>
            </a:graphicData>
          </a:graphic>
        </p:graphicFrame>
        <p:pic>
          <p:nvPicPr>
            <p:cNvPr id="126" name="Picture 125">
              <a:extLst>
                <a:ext uri="{FF2B5EF4-FFF2-40B4-BE49-F238E27FC236}">
                  <a16:creationId xmlns:a16="http://schemas.microsoft.com/office/drawing/2014/main" id="{F60C50AC-9FD0-4A87-B165-BD02A43A2495}"/>
                </a:ext>
              </a:extLst>
            </p:cNvPr>
            <p:cNvPicPr>
              <a:picLocks noChangeAspect="1"/>
            </p:cNvPicPr>
            <p:nvPr/>
          </p:nvPicPr>
          <p:blipFill>
            <a:blip r:embed="rId7"/>
            <a:stretch>
              <a:fillRect/>
            </a:stretch>
          </p:blipFill>
          <p:spPr>
            <a:xfrm>
              <a:off x="9566613" y="4432740"/>
              <a:ext cx="643387" cy="979435"/>
            </a:xfrm>
            <a:prstGeom prst="rect">
              <a:avLst/>
            </a:prstGeom>
          </p:spPr>
        </p:pic>
        <p:graphicFrame>
          <p:nvGraphicFramePr>
            <p:cNvPr id="127" name="Object 126">
              <a:extLst>
                <a:ext uri="{FF2B5EF4-FFF2-40B4-BE49-F238E27FC236}">
                  <a16:creationId xmlns:a16="http://schemas.microsoft.com/office/drawing/2014/main" id="{9FDFE357-BC38-4586-97E8-05210DF8EAE0}"/>
                </a:ext>
              </a:extLst>
            </p:cNvPr>
            <p:cNvGraphicFramePr>
              <a:graphicFrameLocks noChangeAspect="1"/>
            </p:cNvGraphicFramePr>
            <p:nvPr>
              <p:extLst/>
            </p:nvPr>
          </p:nvGraphicFramePr>
          <p:xfrm>
            <a:off x="9485873" y="5452865"/>
            <a:ext cx="890352" cy="870148"/>
          </p:xfrm>
          <a:graphic>
            <a:graphicData uri="http://schemas.openxmlformats.org/presentationml/2006/ole">
              <mc:AlternateContent xmlns:mc="http://schemas.openxmlformats.org/markup-compatibility/2006">
                <mc:Choice xmlns:v="urn:schemas-microsoft-com:vml" Requires="v">
                  <p:oleObj spid="_x0000_s1027" name="CorelDRAW" r:id="rId8" imgW="365964" imgH="376374" progId="CorelDraw.Graphic.17">
                    <p:embed/>
                  </p:oleObj>
                </mc:Choice>
                <mc:Fallback>
                  <p:oleObj name="CorelDRAW" r:id="rId8" imgW="365964" imgH="376374" progId="CorelDraw.Graphic.17">
                    <p:embed/>
                    <p:pic>
                      <p:nvPicPr>
                        <p:cNvPr id="127" name="Object 126">
                          <a:extLst>
                            <a:ext uri="{FF2B5EF4-FFF2-40B4-BE49-F238E27FC236}">
                              <a16:creationId xmlns:a16="http://schemas.microsoft.com/office/drawing/2014/main" id="{9FDFE357-BC38-4586-97E8-05210DF8EAE0}"/>
                            </a:ext>
                          </a:extLst>
                        </p:cNvPr>
                        <p:cNvPicPr/>
                        <p:nvPr/>
                      </p:nvPicPr>
                      <p:blipFill>
                        <a:blip r:embed="rId9"/>
                        <a:stretch>
                          <a:fillRect/>
                        </a:stretch>
                      </p:blipFill>
                      <p:spPr>
                        <a:xfrm>
                          <a:off x="9485873" y="5452865"/>
                          <a:ext cx="890352" cy="870148"/>
                        </a:xfrm>
                        <a:prstGeom prst="rect">
                          <a:avLst/>
                        </a:prstGeom>
                      </p:spPr>
                    </p:pic>
                  </p:oleObj>
                </mc:Fallback>
              </mc:AlternateContent>
            </a:graphicData>
          </a:graphic>
        </p:graphicFrame>
      </p:grpSp>
      <p:sp>
        <p:nvSpPr>
          <p:cNvPr id="128" name="Speech Bubble: Oval 127">
            <a:extLst>
              <a:ext uri="{FF2B5EF4-FFF2-40B4-BE49-F238E27FC236}">
                <a16:creationId xmlns:a16="http://schemas.microsoft.com/office/drawing/2014/main" id="{B70FB861-2118-465F-8567-8FF8B91BE959}"/>
              </a:ext>
            </a:extLst>
          </p:cNvPr>
          <p:cNvSpPr/>
          <p:nvPr/>
        </p:nvSpPr>
        <p:spPr bwMode="auto">
          <a:xfrm flipH="1">
            <a:off x="6141882" y="3643341"/>
            <a:ext cx="1414282" cy="1152163"/>
          </a:xfrm>
          <a:prstGeom prst="wedgeEllipseCallout">
            <a:avLst>
              <a:gd name="adj1" fmla="val -40665"/>
              <a:gd name="adj2" fmla="val 59601"/>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5399" b="1" dirty="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a:t>
            </a:r>
          </a:p>
        </p:txBody>
      </p:sp>
      <p:grpSp>
        <p:nvGrpSpPr>
          <p:cNvPr id="130" name="Group 129">
            <a:extLst>
              <a:ext uri="{FF2B5EF4-FFF2-40B4-BE49-F238E27FC236}">
                <a16:creationId xmlns:a16="http://schemas.microsoft.com/office/drawing/2014/main" id="{07BE4DAA-B899-4F9C-BB79-526415F80A8A}"/>
              </a:ext>
            </a:extLst>
          </p:cNvPr>
          <p:cNvGrpSpPr/>
          <p:nvPr/>
        </p:nvGrpSpPr>
        <p:grpSpPr>
          <a:xfrm>
            <a:off x="7336864" y="4838218"/>
            <a:ext cx="895332" cy="1359448"/>
            <a:chOff x="11349619" y="142958"/>
            <a:chExt cx="661288" cy="1004082"/>
          </a:xfrm>
          <a:solidFill>
            <a:schemeClr val="accent2"/>
          </a:solidFill>
        </p:grpSpPr>
        <p:sp>
          <p:nvSpPr>
            <p:cNvPr id="131" name="Freeform 259">
              <a:extLst>
                <a:ext uri="{FF2B5EF4-FFF2-40B4-BE49-F238E27FC236}">
                  <a16:creationId xmlns:a16="http://schemas.microsoft.com/office/drawing/2014/main" id="{6F0B2332-FFA6-42F6-AA42-B78066C2E99F}"/>
                </a:ext>
              </a:extLst>
            </p:cNvPr>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p>
          </p:txBody>
        </p:sp>
        <p:sp>
          <p:nvSpPr>
            <p:cNvPr id="132" name="Freeform 254">
              <a:extLst>
                <a:ext uri="{FF2B5EF4-FFF2-40B4-BE49-F238E27FC236}">
                  <a16:creationId xmlns:a16="http://schemas.microsoft.com/office/drawing/2014/main" id="{1F826AD9-23BE-4762-A6AB-AB6835C4E3A0}"/>
                </a:ext>
              </a:extLst>
            </p:cNvPr>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33" name="Group 132">
              <a:extLst>
                <a:ext uri="{FF2B5EF4-FFF2-40B4-BE49-F238E27FC236}">
                  <a16:creationId xmlns:a16="http://schemas.microsoft.com/office/drawing/2014/main" id="{91A3E732-67DD-4BC3-A5D0-A0D83A9A23B8}"/>
                </a:ext>
              </a:extLst>
            </p:cNvPr>
            <p:cNvGrpSpPr/>
            <p:nvPr/>
          </p:nvGrpSpPr>
          <p:grpSpPr>
            <a:xfrm>
              <a:off x="11483389" y="309294"/>
              <a:ext cx="154038" cy="79522"/>
              <a:chOff x="10813256" y="125015"/>
              <a:chExt cx="806725" cy="416470"/>
            </a:xfrm>
            <a:grpFill/>
          </p:grpSpPr>
          <p:sp>
            <p:nvSpPr>
              <p:cNvPr id="137" name="Freeform 24">
                <a:extLst>
                  <a:ext uri="{FF2B5EF4-FFF2-40B4-BE49-F238E27FC236}">
                    <a16:creationId xmlns:a16="http://schemas.microsoft.com/office/drawing/2014/main" id="{9AFF0CCB-39A1-479E-AE17-1CA874D2B51E}"/>
                  </a:ext>
                </a:extLst>
              </p:cNvPr>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8" name="Freeform 248">
                <a:extLst>
                  <a:ext uri="{FF2B5EF4-FFF2-40B4-BE49-F238E27FC236}">
                    <a16:creationId xmlns:a16="http://schemas.microsoft.com/office/drawing/2014/main" id="{8114C0FA-9FFA-472C-ACBA-312B769C0590}"/>
                  </a:ext>
                </a:extLst>
              </p:cNvPr>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34" name="Group 133">
              <a:extLst>
                <a:ext uri="{FF2B5EF4-FFF2-40B4-BE49-F238E27FC236}">
                  <a16:creationId xmlns:a16="http://schemas.microsoft.com/office/drawing/2014/main" id="{FA0FF190-893C-4BCD-ADCB-475E0BDD6B88}"/>
                </a:ext>
              </a:extLst>
            </p:cNvPr>
            <p:cNvGrpSpPr/>
            <p:nvPr/>
          </p:nvGrpSpPr>
          <p:grpSpPr>
            <a:xfrm flipH="1">
              <a:off x="11693656" y="309294"/>
              <a:ext cx="154038" cy="79522"/>
              <a:chOff x="10813256" y="125015"/>
              <a:chExt cx="806725" cy="416470"/>
            </a:xfrm>
            <a:grpFill/>
          </p:grpSpPr>
          <p:sp>
            <p:nvSpPr>
              <p:cNvPr id="135" name="Freeform 251">
                <a:extLst>
                  <a:ext uri="{FF2B5EF4-FFF2-40B4-BE49-F238E27FC236}">
                    <a16:creationId xmlns:a16="http://schemas.microsoft.com/office/drawing/2014/main" id="{C653D1EA-8896-4752-93BD-E25F223A3BDB}"/>
                  </a:ext>
                </a:extLst>
              </p:cNvPr>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6" name="Freeform 252">
                <a:extLst>
                  <a:ext uri="{FF2B5EF4-FFF2-40B4-BE49-F238E27FC236}">
                    <a16:creationId xmlns:a16="http://schemas.microsoft.com/office/drawing/2014/main" id="{43F272F8-BC12-407F-AABA-6C4093967ED6}"/>
                  </a:ext>
                </a:extLst>
              </p:cNvPr>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spTree>
    <p:extLst>
      <p:ext uri="{BB962C8B-B14F-4D97-AF65-F5344CB8AC3E}">
        <p14:creationId xmlns:p14="http://schemas.microsoft.com/office/powerpoint/2010/main" val="4571500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0"/>
                                        </p:tgtEl>
                                        <p:attrNameLst>
                                          <p:attrName>style.visibility</p:attrName>
                                        </p:attrNameLst>
                                      </p:cBhvr>
                                      <p:to>
                                        <p:strVal val="visible"/>
                                      </p:to>
                                    </p:set>
                                    <p:animEffect transition="in" filter="fade">
                                      <p:cBhvr>
                                        <p:cTn id="7"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5FA47-7A46-4D0C-81A1-27E550C05986}"/>
              </a:ext>
            </a:extLst>
          </p:cNvPr>
          <p:cNvSpPr>
            <a:spLocks noGrp="1"/>
          </p:cNvSpPr>
          <p:nvPr>
            <p:ph type="title"/>
          </p:nvPr>
        </p:nvSpPr>
        <p:spPr/>
        <p:txBody>
          <a:bodyPr/>
          <a:lstStyle/>
          <a:p>
            <a:r>
              <a:rPr lang="en-US" dirty="0"/>
              <a:t>What is SQL Database Managed Instance?</a:t>
            </a:r>
            <a:br>
              <a:rPr lang="en-US" dirty="0"/>
            </a:br>
            <a:r>
              <a:rPr lang="en-US" sz="3200" dirty="0"/>
              <a:t>DBaaS designed to for all SQL Server applications</a:t>
            </a:r>
          </a:p>
        </p:txBody>
      </p:sp>
      <p:sp>
        <p:nvSpPr>
          <p:cNvPr id="6" name="Freeform: Shape 5">
            <a:extLst>
              <a:ext uri="{FF2B5EF4-FFF2-40B4-BE49-F238E27FC236}">
                <a16:creationId xmlns:a16="http://schemas.microsoft.com/office/drawing/2014/main" id="{E8D6F409-DF53-4480-A797-3552D7B141FE}"/>
              </a:ext>
            </a:extLst>
          </p:cNvPr>
          <p:cNvSpPr/>
          <p:nvPr/>
        </p:nvSpPr>
        <p:spPr>
          <a:xfrm>
            <a:off x="465138" y="1916042"/>
            <a:ext cx="11506200" cy="1118667"/>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pPr>
            <a:endParaRPr lang="en-US" sz="1600" dirty="0">
              <a:solidFill>
                <a:schemeClr val="tx2"/>
              </a:solidFill>
              <a:cs typeface="Segoe UI" pitchFamily="34" charset="0"/>
            </a:endParaRPr>
          </a:p>
        </p:txBody>
      </p:sp>
      <p:sp>
        <p:nvSpPr>
          <p:cNvPr id="29" name="Freeform: Shape 28">
            <a:extLst>
              <a:ext uri="{FF2B5EF4-FFF2-40B4-BE49-F238E27FC236}">
                <a16:creationId xmlns:a16="http://schemas.microsoft.com/office/drawing/2014/main" id="{1CF0C6F1-8288-44B4-8846-D334F5382F79}"/>
              </a:ext>
            </a:extLst>
          </p:cNvPr>
          <p:cNvSpPr/>
          <p:nvPr/>
        </p:nvSpPr>
        <p:spPr>
          <a:xfrm>
            <a:off x="645497" y="2097027"/>
            <a:ext cx="2649153" cy="756697"/>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chemeClr val="accent3"/>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698" tIns="12698" rIns="12698" bIns="12698" numCol="1" spcCol="1270" anchor="ctr" anchorCtr="0">
            <a:noAutofit/>
          </a:bodyPr>
          <a:lstStyle/>
          <a:p>
            <a:pPr algn="ctr" defTabSz="888830">
              <a:lnSpc>
                <a:spcPct val="90000"/>
              </a:lnSpc>
              <a:spcBef>
                <a:spcPct val="0"/>
              </a:spcBef>
              <a:spcAft>
                <a:spcPct val="35000"/>
              </a:spcAft>
            </a:pPr>
            <a:endParaRPr lang="en-US" sz="2000" b="1" dirty="0">
              <a:solidFill>
                <a:srgbClr val="000000">
                  <a:hueOff val="0"/>
                  <a:satOff val="0"/>
                  <a:lumOff val="0"/>
                  <a:alphaOff val="0"/>
                </a:srgbClr>
              </a:solidFill>
              <a:latin typeface="Segoe UI"/>
            </a:endParaRPr>
          </a:p>
        </p:txBody>
      </p:sp>
      <p:sp>
        <p:nvSpPr>
          <p:cNvPr id="24" name="Flowchart: Manual Input 23">
            <a:extLst>
              <a:ext uri="{FF2B5EF4-FFF2-40B4-BE49-F238E27FC236}">
                <a16:creationId xmlns:a16="http://schemas.microsoft.com/office/drawing/2014/main" id="{6AD87DF1-8585-4A4F-B77A-431BF038B639}"/>
              </a:ext>
            </a:extLst>
          </p:cNvPr>
          <p:cNvSpPr/>
          <p:nvPr/>
        </p:nvSpPr>
        <p:spPr bwMode="auto">
          <a:xfrm rot="16200000" flipH="1">
            <a:off x="1958785" y="1517859"/>
            <a:ext cx="756697" cy="1915033"/>
          </a:xfrm>
          <a:prstGeom prst="flowChartManualInput">
            <a:avLst/>
          </a:prstGeom>
          <a:solidFill>
            <a:srgbClr val="66D6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aphicFrame>
        <p:nvGraphicFramePr>
          <p:cNvPr id="26" name="Object 25">
            <a:extLst>
              <a:ext uri="{FF2B5EF4-FFF2-40B4-BE49-F238E27FC236}">
                <a16:creationId xmlns:a16="http://schemas.microsoft.com/office/drawing/2014/main" id="{542FC62D-3C85-495F-A3B5-53824DF948ED}"/>
              </a:ext>
            </a:extLst>
          </p:cNvPr>
          <p:cNvGraphicFramePr>
            <a:graphicFrameLocks noChangeAspect="1"/>
          </p:cNvGraphicFramePr>
          <p:nvPr>
            <p:extLst/>
          </p:nvPr>
        </p:nvGraphicFramePr>
        <p:xfrm>
          <a:off x="837037" y="2193370"/>
          <a:ext cx="437476" cy="564010"/>
        </p:xfrm>
        <a:graphic>
          <a:graphicData uri="http://schemas.openxmlformats.org/presentationml/2006/ole">
            <mc:AlternateContent xmlns:mc="http://schemas.openxmlformats.org/markup-compatibility/2006">
              <mc:Choice xmlns:v="urn:schemas-microsoft-com:vml" Requires="v">
                <p:oleObj spid="_x0000_s2050" name="CorelDRAW" r:id="rId3" imgW="160518" imgH="214312" progId="CorelDraw.Graphic.17">
                  <p:embed/>
                </p:oleObj>
              </mc:Choice>
              <mc:Fallback>
                <p:oleObj name="CorelDRAW" r:id="rId3" imgW="160518" imgH="214312" progId="CorelDraw.Graphic.17">
                  <p:embed/>
                  <p:pic>
                    <p:nvPicPr>
                      <p:cNvPr id="26" name="Object 25">
                        <a:extLst>
                          <a:ext uri="{FF2B5EF4-FFF2-40B4-BE49-F238E27FC236}">
                            <a16:creationId xmlns:a16="http://schemas.microsoft.com/office/drawing/2014/main" id="{542FC62D-3C85-495F-A3B5-53824DF948ED}"/>
                          </a:ext>
                        </a:extLst>
                      </p:cNvPr>
                      <p:cNvPicPr/>
                      <p:nvPr/>
                    </p:nvPicPr>
                    <p:blipFill>
                      <a:blip r:embed="rId4"/>
                      <a:stretch>
                        <a:fillRect/>
                      </a:stretch>
                    </p:blipFill>
                    <p:spPr>
                      <a:xfrm>
                        <a:off x="837037" y="2193370"/>
                        <a:ext cx="437476" cy="564010"/>
                      </a:xfrm>
                      <a:prstGeom prst="rect">
                        <a:avLst/>
                      </a:prstGeom>
                    </p:spPr>
                  </p:pic>
                </p:oleObj>
              </mc:Fallback>
            </mc:AlternateContent>
          </a:graphicData>
        </a:graphic>
      </p:graphicFrame>
      <p:sp>
        <p:nvSpPr>
          <p:cNvPr id="25" name="Freeform: Shape 24">
            <a:extLst>
              <a:ext uri="{FF2B5EF4-FFF2-40B4-BE49-F238E27FC236}">
                <a16:creationId xmlns:a16="http://schemas.microsoft.com/office/drawing/2014/main" id="{563451A2-4763-4989-98D8-A387B14A9DFF}"/>
              </a:ext>
            </a:extLst>
          </p:cNvPr>
          <p:cNvSpPr/>
          <p:nvPr/>
        </p:nvSpPr>
        <p:spPr>
          <a:xfrm>
            <a:off x="1770636" y="2253776"/>
            <a:ext cx="1318887" cy="443198"/>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0" tIns="0" rIns="0" bIns="0" numCol="1" spcCol="1270" anchor="ctr" anchorCtr="0">
            <a:spAutoFit/>
          </a:bodyPr>
          <a:lstStyle/>
          <a:p>
            <a:pPr defTabSz="888830">
              <a:lnSpc>
                <a:spcPct val="90000"/>
              </a:lnSpc>
              <a:spcBef>
                <a:spcPct val="0"/>
              </a:spcBef>
              <a:spcAft>
                <a:spcPct val="35000"/>
              </a:spcAft>
            </a:pPr>
            <a:r>
              <a:rPr lang="en-US" sz="1600" b="1" dirty="0">
                <a:solidFill>
                  <a:srgbClr val="000000"/>
                </a:solidFill>
                <a:latin typeface="Segoe UI" panose="020B0502040204020203" pitchFamily="34" charset="0"/>
                <a:cs typeface="Segoe UI" panose="020B0502040204020203" pitchFamily="34" charset="0"/>
              </a:rPr>
              <a:t>SQL Database</a:t>
            </a:r>
            <a:br>
              <a:rPr lang="en-US" sz="1600" b="1" dirty="0">
                <a:solidFill>
                  <a:srgbClr val="000000"/>
                </a:solidFill>
                <a:latin typeface="Segoe UI" panose="020B0502040204020203" pitchFamily="34" charset="0"/>
                <a:cs typeface="Segoe UI" panose="020B0502040204020203" pitchFamily="34" charset="0"/>
              </a:rPr>
            </a:br>
            <a:r>
              <a:rPr lang="en-US" sz="1600" dirty="0">
                <a:solidFill>
                  <a:srgbClr val="000000"/>
                </a:solidFill>
                <a:latin typeface="Segoe UI" panose="020B0502040204020203" pitchFamily="34" charset="0"/>
                <a:cs typeface="Segoe UI" panose="020B0502040204020203" pitchFamily="34" charset="0"/>
              </a:rPr>
              <a:t>(PaaS)</a:t>
            </a:r>
          </a:p>
        </p:txBody>
      </p:sp>
      <p:grpSp>
        <p:nvGrpSpPr>
          <p:cNvPr id="62" name="Group 61">
            <a:extLst>
              <a:ext uri="{FF2B5EF4-FFF2-40B4-BE49-F238E27FC236}">
                <a16:creationId xmlns:a16="http://schemas.microsoft.com/office/drawing/2014/main" id="{E04603DC-D53A-4B7D-932B-27FB0E2F2A76}"/>
              </a:ext>
            </a:extLst>
          </p:cNvPr>
          <p:cNvGrpSpPr/>
          <p:nvPr/>
        </p:nvGrpSpPr>
        <p:grpSpPr>
          <a:xfrm>
            <a:off x="3477607" y="2097027"/>
            <a:ext cx="2649153" cy="756697"/>
            <a:chOff x="3477607" y="2097027"/>
            <a:chExt cx="2649153" cy="756697"/>
          </a:xfrm>
        </p:grpSpPr>
        <p:sp>
          <p:nvSpPr>
            <p:cNvPr id="30" name="Freeform: Shape 29">
              <a:extLst>
                <a:ext uri="{FF2B5EF4-FFF2-40B4-BE49-F238E27FC236}">
                  <a16:creationId xmlns:a16="http://schemas.microsoft.com/office/drawing/2014/main" id="{DA8CAF02-147A-49E0-86B3-9B27714B3457}"/>
                </a:ext>
              </a:extLst>
            </p:cNvPr>
            <p:cNvSpPr/>
            <p:nvPr/>
          </p:nvSpPr>
          <p:spPr>
            <a:xfrm>
              <a:off x="3477607" y="2097027"/>
              <a:ext cx="2649153" cy="756697"/>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FFB800"/>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698" tIns="12698" rIns="12698" bIns="12698" numCol="1" spcCol="1270" anchor="ctr" anchorCtr="0">
              <a:noAutofit/>
            </a:bodyPr>
            <a:lstStyle/>
            <a:p>
              <a:pPr algn="ctr" defTabSz="888830">
                <a:lnSpc>
                  <a:spcPct val="90000"/>
                </a:lnSpc>
                <a:spcBef>
                  <a:spcPct val="0"/>
                </a:spcBef>
                <a:spcAft>
                  <a:spcPct val="35000"/>
                </a:spcAft>
              </a:pPr>
              <a:endParaRPr lang="en-US" sz="2000" b="1" dirty="0">
                <a:solidFill>
                  <a:srgbClr val="000000"/>
                </a:solidFill>
                <a:latin typeface="Segoe UI"/>
              </a:endParaRPr>
            </a:p>
          </p:txBody>
        </p:sp>
        <p:sp>
          <p:nvSpPr>
            <p:cNvPr id="34" name="Flowchart: Manual Input 33">
              <a:extLst>
                <a:ext uri="{FF2B5EF4-FFF2-40B4-BE49-F238E27FC236}">
                  <a16:creationId xmlns:a16="http://schemas.microsoft.com/office/drawing/2014/main" id="{C645FDF3-944D-4892-92A8-28AED83DE7AD}"/>
                </a:ext>
              </a:extLst>
            </p:cNvPr>
            <p:cNvSpPr/>
            <p:nvPr/>
          </p:nvSpPr>
          <p:spPr bwMode="auto">
            <a:xfrm rot="16200000" flipH="1">
              <a:off x="4790895" y="1517859"/>
              <a:ext cx="756697" cy="1915033"/>
            </a:xfrm>
            <a:prstGeom prst="flowChartManualInput">
              <a:avLst/>
            </a:prstGeom>
            <a:solidFill>
              <a:srgbClr val="FDD0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000000"/>
                </a:solidFill>
                <a:latin typeface="Segoe UI"/>
                <a:cs typeface="Segoe UI" pitchFamily="34" charset="0"/>
              </a:endParaRPr>
            </a:p>
          </p:txBody>
        </p:sp>
        <p:sp>
          <p:nvSpPr>
            <p:cNvPr id="37" name="Freeform: Shape 36">
              <a:extLst>
                <a:ext uri="{FF2B5EF4-FFF2-40B4-BE49-F238E27FC236}">
                  <a16:creationId xmlns:a16="http://schemas.microsoft.com/office/drawing/2014/main" id="{880F2222-4F6D-462A-BF57-F49059D8F7A1}"/>
                </a:ext>
              </a:extLst>
            </p:cNvPr>
            <p:cNvSpPr/>
            <p:nvPr/>
          </p:nvSpPr>
          <p:spPr>
            <a:xfrm>
              <a:off x="4615025" y="2364575"/>
              <a:ext cx="919291" cy="221599"/>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0" tIns="0" rIns="0" bIns="0" numCol="1" spcCol="1270" anchor="ctr" anchorCtr="0">
              <a:spAutoFit/>
            </a:bodyPr>
            <a:lstStyle/>
            <a:p>
              <a:pPr defTabSz="888830">
                <a:lnSpc>
                  <a:spcPct val="90000"/>
                </a:lnSpc>
                <a:spcBef>
                  <a:spcPct val="0"/>
                </a:spcBef>
                <a:spcAft>
                  <a:spcPct val="35000"/>
                </a:spcAft>
              </a:pPr>
              <a:r>
                <a:rPr lang="en-US" sz="1600" b="1" dirty="0">
                  <a:solidFill>
                    <a:srgbClr val="000000"/>
                  </a:solidFill>
                  <a:latin typeface="Segoe UI" panose="020B0502040204020203" pitchFamily="34" charset="0"/>
                  <a:cs typeface="Segoe UI" panose="020B0502040204020203" pitchFamily="34" charset="0"/>
                </a:rPr>
                <a:t>Singleton</a:t>
              </a:r>
            </a:p>
          </p:txBody>
        </p:sp>
        <p:graphicFrame>
          <p:nvGraphicFramePr>
            <p:cNvPr id="22" name="Object 21">
              <a:extLst>
                <a:ext uri="{FF2B5EF4-FFF2-40B4-BE49-F238E27FC236}">
                  <a16:creationId xmlns:a16="http://schemas.microsoft.com/office/drawing/2014/main" id="{F485DD26-5EA0-4C3B-A285-AAEC07CFFD09}"/>
                </a:ext>
              </a:extLst>
            </p:cNvPr>
            <p:cNvGraphicFramePr>
              <a:graphicFrameLocks noChangeAspect="1"/>
            </p:cNvGraphicFramePr>
            <p:nvPr>
              <p:extLst/>
            </p:nvPr>
          </p:nvGraphicFramePr>
          <p:xfrm>
            <a:off x="3658760" y="2177457"/>
            <a:ext cx="445777" cy="595837"/>
          </p:xfrm>
          <a:graphic>
            <a:graphicData uri="http://schemas.openxmlformats.org/presentationml/2006/ole">
              <mc:AlternateContent xmlns:mc="http://schemas.openxmlformats.org/markup-compatibility/2006">
                <mc:Choice xmlns:v="urn:schemas-microsoft-com:vml" Requires="v">
                  <p:oleObj spid="_x0000_s2051" name="CorelDRAW" r:id="rId5" imgW="160518" imgH="214312" progId="CorelDraw.Graphic.17">
                    <p:embed/>
                  </p:oleObj>
                </mc:Choice>
                <mc:Fallback>
                  <p:oleObj name="CorelDRAW" r:id="rId5" imgW="160518" imgH="214312" progId="CorelDraw.Graphic.17">
                    <p:embed/>
                    <p:pic>
                      <p:nvPicPr>
                        <p:cNvPr id="22" name="Object 21">
                          <a:extLst>
                            <a:ext uri="{FF2B5EF4-FFF2-40B4-BE49-F238E27FC236}">
                              <a16:creationId xmlns:a16="http://schemas.microsoft.com/office/drawing/2014/main" id="{F485DD26-5EA0-4C3B-A285-AAEC07CFFD09}"/>
                            </a:ext>
                          </a:extLst>
                        </p:cNvPr>
                        <p:cNvPicPr/>
                        <p:nvPr/>
                      </p:nvPicPr>
                      <p:blipFill>
                        <a:blip r:embed="rId6"/>
                        <a:stretch>
                          <a:fillRect/>
                        </a:stretch>
                      </p:blipFill>
                      <p:spPr>
                        <a:xfrm>
                          <a:off x="3658760" y="2177457"/>
                          <a:ext cx="445777" cy="595837"/>
                        </a:xfrm>
                        <a:prstGeom prst="rect">
                          <a:avLst/>
                        </a:prstGeom>
                      </p:spPr>
                    </p:pic>
                  </p:oleObj>
                </mc:Fallback>
              </mc:AlternateContent>
            </a:graphicData>
          </a:graphic>
        </p:graphicFrame>
      </p:grpSp>
      <p:grpSp>
        <p:nvGrpSpPr>
          <p:cNvPr id="61" name="Group 60">
            <a:extLst>
              <a:ext uri="{FF2B5EF4-FFF2-40B4-BE49-F238E27FC236}">
                <a16:creationId xmlns:a16="http://schemas.microsoft.com/office/drawing/2014/main" id="{F6572F5B-094A-40E8-A101-D6F9FAB31A24}"/>
              </a:ext>
            </a:extLst>
          </p:cNvPr>
          <p:cNvGrpSpPr/>
          <p:nvPr/>
        </p:nvGrpSpPr>
        <p:grpSpPr>
          <a:xfrm>
            <a:off x="6309717" y="2097027"/>
            <a:ext cx="2649153" cy="756697"/>
            <a:chOff x="6309717" y="2097027"/>
            <a:chExt cx="2649153" cy="756697"/>
          </a:xfrm>
        </p:grpSpPr>
        <p:sp>
          <p:nvSpPr>
            <p:cNvPr id="31" name="Freeform: Shape 30">
              <a:extLst>
                <a:ext uri="{FF2B5EF4-FFF2-40B4-BE49-F238E27FC236}">
                  <a16:creationId xmlns:a16="http://schemas.microsoft.com/office/drawing/2014/main" id="{606D03F2-1F3A-4CA3-8A39-E6FBDF1F1856}"/>
                </a:ext>
              </a:extLst>
            </p:cNvPr>
            <p:cNvSpPr/>
            <p:nvPr/>
          </p:nvSpPr>
          <p:spPr>
            <a:xfrm>
              <a:off x="6309717" y="2097027"/>
              <a:ext cx="2649153" cy="756697"/>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B9D712"/>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698" tIns="12698" rIns="12698" bIns="12698" numCol="1" spcCol="1270" anchor="ctr" anchorCtr="0">
              <a:noAutofit/>
            </a:bodyPr>
            <a:lstStyle/>
            <a:p>
              <a:pPr algn="ctr" defTabSz="888830">
                <a:lnSpc>
                  <a:spcPct val="90000"/>
                </a:lnSpc>
                <a:spcBef>
                  <a:spcPct val="0"/>
                </a:spcBef>
                <a:spcAft>
                  <a:spcPct val="35000"/>
                </a:spcAft>
              </a:pPr>
              <a:endParaRPr lang="en-US" sz="2000" b="1" dirty="0">
                <a:solidFill>
                  <a:srgbClr val="000000"/>
                </a:solidFill>
                <a:latin typeface="Segoe UI"/>
              </a:endParaRPr>
            </a:p>
          </p:txBody>
        </p:sp>
        <p:sp>
          <p:nvSpPr>
            <p:cNvPr id="35" name="Flowchart: Manual Input 34">
              <a:extLst>
                <a:ext uri="{FF2B5EF4-FFF2-40B4-BE49-F238E27FC236}">
                  <a16:creationId xmlns:a16="http://schemas.microsoft.com/office/drawing/2014/main" id="{6778AC21-F52E-482C-BD76-7EE2D500C071}"/>
                </a:ext>
              </a:extLst>
            </p:cNvPr>
            <p:cNvSpPr/>
            <p:nvPr/>
          </p:nvSpPr>
          <p:spPr bwMode="auto">
            <a:xfrm rot="16200000" flipH="1">
              <a:off x="7623004" y="1517859"/>
              <a:ext cx="756697" cy="1915033"/>
            </a:xfrm>
            <a:prstGeom prst="flowChartManualInput">
              <a:avLst/>
            </a:prstGeom>
            <a:solidFill>
              <a:srgbClr val="D5E8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000000"/>
                </a:solidFill>
                <a:latin typeface="Segoe UI"/>
                <a:cs typeface="Segoe UI" pitchFamily="34" charset="0"/>
              </a:endParaRPr>
            </a:p>
          </p:txBody>
        </p:sp>
        <p:sp>
          <p:nvSpPr>
            <p:cNvPr id="38" name="Freeform: Shape 37">
              <a:extLst>
                <a:ext uri="{FF2B5EF4-FFF2-40B4-BE49-F238E27FC236}">
                  <a16:creationId xmlns:a16="http://schemas.microsoft.com/office/drawing/2014/main" id="{9BF44B0E-BF39-4679-A3FF-0840FD56363B}"/>
                </a:ext>
              </a:extLst>
            </p:cNvPr>
            <p:cNvSpPr/>
            <p:nvPr/>
          </p:nvSpPr>
          <p:spPr>
            <a:xfrm>
              <a:off x="7480352" y="2364575"/>
              <a:ext cx="1087157" cy="221599"/>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0" tIns="0" rIns="0" bIns="0" numCol="1" spcCol="1270" anchor="ctr" anchorCtr="0">
              <a:spAutoFit/>
            </a:bodyPr>
            <a:lstStyle/>
            <a:p>
              <a:pPr defTabSz="888830">
                <a:lnSpc>
                  <a:spcPct val="90000"/>
                </a:lnSpc>
                <a:spcBef>
                  <a:spcPct val="0"/>
                </a:spcBef>
                <a:spcAft>
                  <a:spcPct val="35000"/>
                </a:spcAft>
              </a:pPr>
              <a:r>
                <a:rPr lang="en-US" sz="1600" b="1" dirty="0">
                  <a:solidFill>
                    <a:srgbClr val="000000"/>
                  </a:solidFill>
                  <a:latin typeface="Segoe UI" panose="020B0502040204020203" pitchFamily="34" charset="0"/>
                  <a:cs typeface="Segoe UI" panose="020B0502040204020203" pitchFamily="34" charset="0"/>
                </a:rPr>
                <a:t>Elastic Pool</a:t>
              </a:r>
            </a:p>
          </p:txBody>
        </p:sp>
        <p:graphicFrame>
          <p:nvGraphicFramePr>
            <p:cNvPr id="11" name="Object 10">
              <a:extLst>
                <a:ext uri="{FF2B5EF4-FFF2-40B4-BE49-F238E27FC236}">
                  <a16:creationId xmlns:a16="http://schemas.microsoft.com/office/drawing/2014/main" id="{E41A50EB-5AF8-4EC5-86ED-2C477A368B79}"/>
                </a:ext>
              </a:extLst>
            </p:cNvPr>
            <p:cNvGraphicFramePr>
              <a:graphicFrameLocks noChangeAspect="1"/>
            </p:cNvGraphicFramePr>
            <p:nvPr>
              <p:extLst/>
            </p:nvPr>
          </p:nvGraphicFramePr>
          <p:xfrm>
            <a:off x="6434928" y="2230513"/>
            <a:ext cx="570853" cy="489724"/>
          </p:xfrm>
          <a:graphic>
            <a:graphicData uri="http://schemas.openxmlformats.org/presentationml/2006/ole">
              <mc:AlternateContent xmlns:mc="http://schemas.openxmlformats.org/markup-compatibility/2006">
                <mc:Choice xmlns:v="urn:schemas-microsoft-com:vml" Requires="v">
                  <p:oleObj spid="_x0000_s2052" name="CorelDRAW" r:id="rId7" imgW="376175" imgH="375965" progId="CorelDraw.Graphic.17">
                    <p:embed/>
                  </p:oleObj>
                </mc:Choice>
                <mc:Fallback>
                  <p:oleObj name="CorelDRAW" r:id="rId7" imgW="376175" imgH="375965" progId="CorelDraw.Graphic.17">
                    <p:embed/>
                    <p:pic>
                      <p:nvPicPr>
                        <p:cNvPr id="11" name="Object 10">
                          <a:extLst>
                            <a:ext uri="{FF2B5EF4-FFF2-40B4-BE49-F238E27FC236}">
                              <a16:creationId xmlns:a16="http://schemas.microsoft.com/office/drawing/2014/main" id="{E41A50EB-5AF8-4EC5-86ED-2C477A368B79}"/>
                            </a:ext>
                          </a:extLst>
                        </p:cNvPr>
                        <p:cNvPicPr/>
                        <p:nvPr/>
                      </p:nvPicPr>
                      <p:blipFill>
                        <a:blip r:embed="rId8"/>
                        <a:stretch>
                          <a:fillRect/>
                        </a:stretch>
                      </p:blipFill>
                      <p:spPr>
                        <a:xfrm>
                          <a:off x="6434928" y="2230513"/>
                          <a:ext cx="570853" cy="489724"/>
                        </a:xfrm>
                        <a:prstGeom prst="rect">
                          <a:avLst/>
                        </a:prstGeom>
                      </p:spPr>
                    </p:pic>
                  </p:oleObj>
                </mc:Fallback>
              </mc:AlternateContent>
            </a:graphicData>
          </a:graphic>
        </p:graphicFrame>
      </p:grpSp>
      <p:grpSp>
        <p:nvGrpSpPr>
          <p:cNvPr id="60" name="Group 59">
            <a:extLst>
              <a:ext uri="{FF2B5EF4-FFF2-40B4-BE49-F238E27FC236}">
                <a16:creationId xmlns:a16="http://schemas.microsoft.com/office/drawing/2014/main" id="{3EE76DCA-6EBE-49AE-820B-45916090CACF}"/>
              </a:ext>
            </a:extLst>
          </p:cNvPr>
          <p:cNvGrpSpPr/>
          <p:nvPr/>
        </p:nvGrpSpPr>
        <p:grpSpPr>
          <a:xfrm>
            <a:off x="9141826" y="2097027"/>
            <a:ext cx="2649153" cy="756697"/>
            <a:chOff x="9141826" y="2097027"/>
            <a:chExt cx="2649153" cy="756697"/>
          </a:xfrm>
        </p:grpSpPr>
        <p:sp>
          <p:nvSpPr>
            <p:cNvPr id="32" name="Freeform: Shape 31">
              <a:extLst>
                <a:ext uri="{FF2B5EF4-FFF2-40B4-BE49-F238E27FC236}">
                  <a16:creationId xmlns:a16="http://schemas.microsoft.com/office/drawing/2014/main" id="{A88F0237-02A1-4182-9809-95997FE45D25}"/>
                </a:ext>
              </a:extLst>
            </p:cNvPr>
            <p:cNvSpPr/>
            <p:nvPr/>
          </p:nvSpPr>
          <p:spPr>
            <a:xfrm>
              <a:off x="9141826" y="2097027"/>
              <a:ext cx="2649153" cy="756697"/>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9A5095"/>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698" tIns="12698" rIns="12698" bIns="12698" numCol="1" spcCol="1270" anchor="ctr" anchorCtr="0">
              <a:noAutofit/>
            </a:bodyPr>
            <a:lstStyle/>
            <a:p>
              <a:pPr algn="ctr" defTabSz="888830">
                <a:lnSpc>
                  <a:spcPct val="90000"/>
                </a:lnSpc>
                <a:spcBef>
                  <a:spcPct val="0"/>
                </a:spcBef>
                <a:spcAft>
                  <a:spcPct val="35000"/>
                </a:spcAft>
              </a:pPr>
              <a:endParaRPr lang="en-US" sz="2000" b="1" dirty="0">
                <a:solidFill>
                  <a:srgbClr val="000000">
                    <a:hueOff val="0"/>
                    <a:satOff val="0"/>
                    <a:lumOff val="0"/>
                    <a:alphaOff val="0"/>
                  </a:srgbClr>
                </a:solidFill>
                <a:latin typeface="Segoe UI"/>
              </a:endParaRPr>
            </a:p>
          </p:txBody>
        </p:sp>
        <p:sp>
          <p:nvSpPr>
            <p:cNvPr id="36" name="Flowchart: Manual Input 35">
              <a:extLst>
                <a:ext uri="{FF2B5EF4-FFF2-40B4-BE49-F238E27FC236}">
                  <a16:creationId xmlns:a16="http://schemas.microsoft.com/office/drawing/2014/main" id="{E1FCC80F-F933-468B-AAA9-003D634F5EB3}"/>
                </a:ext>
              </a:extLst>
            </p:cNvPr>
            <p:cNvSpPr/>
            <p:nvPr/>
          </p:nvSpPr>
          <p:spPr bwMode="auto">
            <a:xfrm rot="16200000" flipH="1">
              <a:off x="10455114" y="1517859"/>
              <a:ext cx="756697" cy="1915033"/>
            </a:xfrm>
            <a:prstGeom prst="flowChartManualInput">
              <a:avLst/>
            </a:prstGeom>
            <a:solidFill>
              <a:srgbClr val="A379A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sp>
          <p:nvSpPr>
            <p:cNvPr id="39" name="Freeform: Shape 38">
              <a:extLst>
                <a:ext uri="{FF2B5EF4-FFF2-40B4-BE49-F238E27FC236}">
                  <a16:creationId xmlns:a16="http://schemas.microsoft.com/office/drawing/2014/main" id="{D394E98A-2AF5-492D-8DF7-F53C497075C4}"/>
                </a:ext>
              </a:extLst>
            </p:cNvPr>
            <p:cNvSpPr/>
            <p:nvPr/>
          </p:nvSpPr>
          <p:spPr>
            <a:xfrm>
              <a:off x="10254236" y="2253776"/>
              <a:ext cx="905697" cy="443198"/>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0" tIns="0" rIns="0" bIns="0" numCol="1" spcCol="1270" anchor="ctr" anchorCtr="0">
              <a:spAutoFit/>
            </a:bodyPr>
            <a:lstStyle/>
            <a:p>
              <a:pPr defTabSz="888830">
                <a:lnSpc>
                  <a:spcPct val="90000"/>
                </a:lnSpc>
                <a:spcBef>
                  <a:spcPct val="0"/>
                </a:spcBef>
                <a:spcAft>
                  <a:spcPct val="35000"/>
                </a:spcAft>
              </a:pPr>
              <a:r>
                <a:rPr lang="en-US" sz="1600" b="1" dirty="0">
                  <a:solidFill>
                    <a:schemeClr val="bg1"/>
                  </a:solidFill>
                  <a:latin typeface="Segoe UI" panose="020B0502040204020203" pitchFamily="34" charset="0"/>
                  <a:cs typeface="Segoe UI" panose="020B0502040204020203" pitchFamily="34" charset="0"/>
                </a:rPr>
                <a:t>Managed</a:t>
              </a:r>
              <a:br>
                <a:rPr lang="en-US" sz="1600" b="1" dirty="0">
                  <a:solidFill>
                    <a:schemeClr val="bg1"/>
                  </a:solidFill>
                  <a:latin typeface="Segoe UI" panose="020B0502040204020203" pitchFamily="34" charset="0"/>
                  <a:cs typeface="Segoe UI" panose="020B0502040204020203" pitchFamily="34" charset="0"/>
                </a:rPr>
              </a:br>
              <a:r>
                <a:rPr lang="en-US" sz="1600" b="1" dirty="0">
                  <a:solidFill>
                    <a:schemeClr val="bg1"/>
                  </a:solidFill>
                  <a:latin typeface="Segoe UI" panose="020B0502040204020203" pitchFamily="34" charset="0"/>
                  <a:cs typeface="Segoe UI" panose="020B0502040204020203" pitchFamily="34" charset="0"/>
                </a:rPr>
                <a:t>Instance</a:t>
              </a:r>
            </a:p>
          </p:txBody>
        </p:sp>
        <p:graphicFrame>
          <p:nvGraphicFramePr>
            <p:cNvPr id="14" name="Object 13">
              <a:extLst>
                <a:ext uri="{FF2B5EF4-FFF2-40B4-BE49-F238E27FC236}">
                  <a16:creationId xmlns:a16="http://schemas.microsoft.com/office/drawing/2014/main" id="{9FF15A5D-F405-4BE9-B429-E31DE753ACFE}"/>
                </a:ext>
              </a:extLst>
            </p:cNvPr>
            <p:cNvGraphicFramePr>
              <a:graphicFrameLocks noChangeAspect="1"/>
            </p:cNvGraphicFramePr>
            <p:nvPr>
              <p:extLst/>
            </p:nvPr>
          </p:nvGraphicFramePr>
          <p:xfrm>
            <a:off x="9257303" y="2213005"/>
            <a:ext cx="566848" cy="524741"/>
          </p:xfrm>
          <a:graphic>
            <a:graphicData uri="http://schemas.openxmlformats.org/presentationml/2006/ole">
              <mc:AlternateContent xmlns:mc="http://schemas.openxmlformats.org/markup-compatibility/2006">
                <mc:Choice xmlns:v="urn:schemas-microsoft-com:vml" Requires="v">
                  <p:oleObj spid="_x0000_s2053" name="CorelDRAW" r:id="rId9" imgW="277332" imgH="257583" progId="CorelDraw.Graphic.17">
                    <p:embed/>
                  </p:oleObj>
                </mc:Choice>
                <mc:Fallback>
                  <p:oleObj name="CorelDRAW" r:id="rId9" imgW="277332" imgH="257583" progId="CorelDraw.Graphic.17">
                    <p:embed/>
                    <p:pic>
                      <p:nvPicPr>
                        <p:cNvPr id="14" name="Object 13">
                          <a:extLst>
                            <a:ext uri="{FF2B5EF4-FFF2-40B4-BE49-F238E27FC236}">
                              <a16:creationId xmlns:a16="http://schemas.microsoft.com/office/drawing/2014/main" id="{9FF15A5D-F405-4BE9-B429-E31DE753ACFE}"/>
                            </a:ext>
                          </a:extLst>
                        </p:cNvPr>
                        <p:cNvPicPr/>
                        <p:nvPr/>
                      </p:nvPicPr>
                      <p:blipFill>
                        <a:blip r:embed="rId10"/>
                        <a:stretch>
                          <a:fillRect/>
                        </a:stretch>
                      </p:blipFill>
                      <p:spPr>
                        <a:xfrm>
                          <a:off x="9257303" y="2213005"/>
                          <a:ext cx="566848" cy="524741"/>
                        </a:xfrm>
                        <a:prstGeom prst="rect">
                          <a:avLst/>
                        </a:prstGeom>
                      </p:spPr>
                    </p:pic>
                  </p:oleObj>
                </mc:Fallback>
              </mc:AlternateContent>
            </a:graphicData>
          </a:graphic>
        </p:graphicFrame>
      </p:grpSp>
      <p:grpSp>
        <p:nvGrpSpPr>
          <p:cNvPr id="63" name="Group 62">
            <a:extLst>
              <a:ext uri="{FF2B5EF4-FFF2-40B4-BE49-F238E27FC236}">
                <a16:creationId xmlns:a16="http://schemas.microsoft.com/office/drawing/2014/main" id="{7CC7BD94-2133-46AE-AA5E-E967451FAC83}"/>
              </a:ext>
            </a:extLst>
          </p:cNvPr>
          <p:cNvGrpSpPr/>
          <p:nvPr/>
        </p:nvGrpSpPr>
        <p:grpSpPr>
          <a:xfrm>
            <a:off x="465138" y="3166268"/>
            <a:ext cx="3745330" cy="2793490"/>
            <a:chOff x="465138" y="3166268"/>
            <a:chExt cx="3745330" cy="2793490"/>
          </a:xfrm>
        </p:grpSpPr>
        <p:sp>
          <p:nvSpPr>
            <p:cNvPr id="47" name="Freeform: Shape 46">
              <a:extLst>
                <a:ext uri="{FF2B5EF4-FFF2-40B4-BE49-F238E27FC236}">
                  <a16:creationId xmlns:a16="http://schemas.microsoft.com/office/drawing/2014/main" id="{A9D9E786-3362-400B-907A-DD9C8C379870}"/>
                </a:ext>
              </a:extLst>
            </p:cNvPr>
            <p:cNvSpPr/>
            <p:nvPr/>
          </p:nvSpPr>
          <p:spPr>
            <a:xfrm>
              <a:off x="465138" y="4079303"/>
              <a:ext cx="3745330" cy="1880455"/>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0" rIns="0" bIns="0" numCol="1" spcCol="1270" anchor="t" anchorCtr="0">
              <a:noAutofit/>
            </a:bodyPr>
            <a:lstStyle/>
            <a:p>
              <a:pPr marL="0" lvl="1" defTabSz="1066595">
                <a:spcBef>
                  <a:spcPct val="0"/>
                </a:spcBef>
                <a:spcAft>
                  <a:spcPts val="600"/>
                </a:spcAft>
              </a:pPr>
              <a:r>
                <a:rPr lang="en-US" dirty="0">
                  <a:solidFill>
                    <a:schemeClr val="tx2"/>
                  </a:solidFill>
                  <a:latin typeface="Segoe UI"/>
                </a:rPr>
                <a:t>Fully-fledged SQL instance with nearly 100% compat with on-prem</a:t>
              </a:r>
            </a:p>
          </p:txBody>
        </p:sp>
        <p:sp>
          <p:nvSpPr>
            <p:cNvPr id="46" name="Freeform: Shape 45">
              <a:extLst>
                <a:ext uri="{FF2B5EF4-FFF2-40B4-BE49-F238E27FC236}">
                  <a16:creationId xmlns:a16="http://schemas.microsoft.com/office/drawing/2014/main" id="{D14B59E6-6552-489E-8026-C617E0DC6829}"/>
                </a:ext>
              </a:extLst>
            </p:cNvPr>
            <p:cNvSpPr/>
            <p:nvPr/>
          </p:nvSpPr>
          <p:spPr>
            <a:xfrm>
              <a:off x="465138" y="3166268"/>
              <a:ext cx="3745330" cy="819923"/>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0664" tIns="97523" rIns="170664" bIns="97523" numCol="1" spcCol="1270" anchor="ctr" anchorCtr="0">
              <a:noAutofit/>
            </a:bodyPr>
            <a:lstStyle/>
            <a:p>
              <a:pPr algn="ctr" defTabSz="1066595">
                <a:lnSpc>
                  <a:spcPct val="90000"/>
                </a:lnSpc>
                <a:spcBef>
                  <a:spcPct val="0"/>
                </a:spcBef>
                <a:spcAft>
                  <a:spcPct val="35000"/>
                </a:spcAft>
              </a:pPr>
              <a:r>
                <a:rPr lang="en-US" sz="2000" b="1" dirty="0">
                  <a:solidFill>
                    <a:srgbClr val="FFFFFF"/>
                  </a:solidFill>
                  <a:latin typeface="Segoe UI"/>
                </a:rPr>
                <a:t>Unmatched app compatibility</a:t>
              </a:r>
            </a:p>
          </p:txBody>
        </p:sp>
      </p:grpSp>
      <p:grpSp>
        <p:nvGrpSpPr>
          <p:cNvPr id="64" name="Group 63">
            <a:extLst>
              <a:ext uri="{FF2B5EF4-FFF2-40B4-BE49-F238E27FC236}">
                <a16:creationId xmlns:a16="http://schemas.microsoft.com/office/drawing/2014/main" id="{7289624E-5B99-4B46-950D-52898E2B1E84}"/>
              </a:ext>
            </a:extLst>
          </p:cNvPr>
          <p:cNvGrpSpPr/>
          <p:nvPr/>
        </p:nvGrpSpPr>
        <p:grpSpPr>
          <a:xfrm>
            <a:off x="4345574" y="3166268"/>
            <a:ext cx="3745330" cy="2790807"/>
            <a:chOff x="4345574" y="3166268"/>
            <a:chExt cx="3745330" cy="2790807"/>
          </a:xfrm>
        </p:grpSpPr>
        <p:sp>
          <p:nvSpPr>
            <p:cNvPr id="50" name="Freeform: Shape 49">
              <a:extLst>
                <a:ext uri="{FF2B5EF4-FFF2-40B4-BE49-F238E27FC236}">
                  <a16:creationId xmlns:a16="http://schemas.microsoft.com/office/drawing/2014/main" id="{0CA7639C-FCC0-4945-82BC-B9C010A709AF}"/>
                </a:ext>
              </a:extLst>
            </p:cNvPr>
            <p:cNvSpPr/>
            <p:nvPr/>
          </p:nvSpPr>
          <p:spPr>
            <a:xfrm>
              <a:off x="4345574" y="4065213"/>
              <a:ext cx="3745330" cy="1891862"/>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0" rIns="0" bIns="0" numCol="1" spcCol="1270" anchor="t" anchorCtr="0">
              <a:noAutofit/>
            </a:bodyPr>
            <a:lstStyle/>
            <a:p>
              <a:pPr marL="0" lvl="1" defTabSz="1066595">
                <a:spcBef>
                  <a:spcPct val="0"/>
                </a:spcBef>
                <a:spcAft>
                  <a:spcPts val="800"/>
                </a:spcAft>
              </a:pPr>
              <a:r>
                <a:rPr lang="en-US" dirty="0">
                  <a:solidFill>
                    <a:schemeClr val="tx2"/>
                  </a:solidFill>
                  <a:latin typeface="Segoe UI"/>
                </a:rPr>
                <a:t>Lowest TCO + rich Azure ecosystem</a:t>
              </a:r>
            </a:p>
            <a:p>
              <a:pPr marL="0" lvl="1" defTabSz="1066595">
                <a:spcBef>
                  <a:spcPct val="0"/>
                </a:spcBef>
                <a:spcAft>
                  <a:spcPts val="800"/>
                </a:spcAft>
              </a:pPr>
              <a:r>
                <a:rPr lang="en-US" dirty="0">
                  <a:solidFill>
                    <a:schemeClr val="tx2"/>
                  </a:solidFill>
                  <a:latin typeface="Segoe UI"/>
                </a:rPr>
                <a:t>Built-in automatic management</a:t>
              </a:r>
            </a:p>
            <a:p>
              <a:pPr marL="0" lvl="1" defTabSz="1066595">
                <a:spcBef>
                  <a:spcPct val="0"/>
                </a:spcBef>
                <a:spcAft>
                  <a:spcPts val="800"/>
                </a:spcAft>
              </a:pPr>
              <a:r>
                <a:rPr lang="en-US" dirty="0">
                  <a:solidFill>
                    <a:schemeClr val="tx2"/>
                  </a:solidFill>
                  <a:latin typeface="Segoe UI"/>
                </a:rPr>
                <a:t>Compliance certifications</a:t>
              </a:r>
            </a:p>
          </p:txBody>
        </p:sp>
        <p:sp>
          <p:nvSpPr>
            <p:cNvPr id="49" name="Freeform: Shape 48">
              <a:extLst>
                <a:ext uri="{FF2B5EF4-FFF2-40B4-BE49-F238E27FC236}">
                  <a16:creationId xmlns:a16="http://schemas.microsoft.com/office/drawing/2014/main" id="{4E5CBB19-A89B-453A-B5ED-887E3A11BA6D}"/>
                </a:ext>
              </a:extLst>
            </p:cNvPr>
            <p:cNvSpPr/>
            <p:nvPr/>
          </p:nvSpPr>
          <p:spPr>
            <a:xfrm>
              <a:off x="4345574" y="3166268"/>
              <a:ext cx="3745330" cy="819923"/>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chemeClr val="accent2"/>
            </a:solidFill>
            <a:ln>
              <a:no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70664" tIns="97523" rIns="170664" bIns="97523" numCol="1" spcCol="1270" anchor="ctr" anchorCtr="0">
              <a:noAutofit/>
            </a:bodyPr>
            <a:lstStyle/>
            <a:p>
              <a:pPr algn="ctr" defTabSz="1066595">
                <a:lnSpc>
                  <a:spcPct val="90000"/>
                </a:lnSpc>
                <a:spcBef>
                  <a:spcPct val="0"/>
                </a:spcBef>
                <a:spcAft>
                  <a:spcPct val="35000"/>
                </a:spcAft>
              </a:pPr>
              <a:r>
                <a:rPr lang="en-US" sz="2000" b="1" dirty="0">
                  <a:solidFill>
                    <a:srgbClr val="FFFFFF"/>
                  </a:solidFill>
                  <a:latin typeface="Segoe UI"/>
                </a:rPr>
                <a:t>Unmatched PaaS capabilities</a:t>
              </a:r>
            </a:p>
          </p:txBody>
        </p:sp>
      </p:grpSp>
      <p:grpSp>
        <p:nvGrpSpPr>
          <p:cNvPr id="65" name="Group 64">
            <a:extLst>
              <a:ext uri="{FF2B5EF4-FFF2-40B4-BE49-F238E27FC236}">
                <a16:creationId xmlns:a16="http://schemas.microsoft.com/office/drawing/2014/main" id="{79C59E4D-888F-4F89-A2EC-923C51F8465C}"/>
              </a:ext>
            </a:extLst>
          </p:cNvPr>
          <p:cNvGrpSpPr/>
          <p:nvPr/>
        </p:nvGrpSpPr>
        <p:grpSpPr>
          <a:xfrm>
            <a:off x="8226009" y="3166268"/>
            <a:ext cx="3745330" cy="2749192"/>
            <a:chOff x="8226009" y="3166268"/>
            <a:chExt cx="3745330" cy="2749192"/>
          </a:xfrm>
        </p:grpSpPr>
        <p:sp>
          <p:nvSpPr>
            <p:cNvPr id="52" name="Freeform: Shape 51">
              <a:extLst>
                <a:ext uri="{FF2B5EF4-FFF2-40B4-BE49-F238E27FC236}">
                  <a16:creationId xmlns:a16="http://schemas.microsoft.com/office/drawing/2014/main" id="{DC151D3C-6291-40EA-8DF1-5E906BD326BA}"/>
                </a:ext>
              </a:extLst>
            </p:cNvPr>
            <p:cNvSpPr/>
            <p:nvPr/>
          </p:nvSpPr>
          <p:spPr>
            <a:xfrm>
              <a:off x="8226009" y="3166268"/>
              <a:ext cx="3745330" cy="819923"/>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chemeClr val="accent3"/>
            </a:solidFill>
            <a:ln>
              <a:no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70664" tIns="97523" rIns="170664" bIns="97523" numCol="1" spcCol="1270" anchor="ctr" anchorCtr="0">
              <a:noAutofit/>
            </a:bodyPr>
            <a:lstStyle/>
            <a:p>
              <a:pPr algn="ctr" defTabSz="1066595">
                <a:lnSpc>
                  <a:spcPct val="90000"/>
                </a:lnSpc>
                <a:spcBef>
                  <a:spcPct val="0"/>
                </a:spcBef>
                <a:spcAft>
                  <a:spcPct val="35000"/>
                </a:spcAft>
              </a:pPr>
              <a:r>
                <a:rPr lang="en-US" sz="2000" b="1" dirty="0">
                  <a:solidFill>
                    <a:srgbClr val="000000"/>
                  </a:solidFill>
                  <a:latin typeface="Segoe UI"/>
                </a:rPr>
                <a:t>Favorable business</a:t>
              </a:r>
              <a:br>
                <a:rPr lang="en-US" sz="2000" b="1" dirty="0">
                  <a:solidFill>
                    <a:srgbClr val="000000"/>
                  </a:solidFill>
                  <a:latin typeface="Segoe UI"/>
                </a:rPr>
              </a:br>
              <a:r>
                <a:rPr lang="en-US" sz="2000" b="1" dirty="0">
                  <a:solidFill>
                    <a:srgbClr val="000000"/>
                  </a:solidFill>
                  <a:latin typeface="Segoe UI"/>
                </a:rPr>
                <a:t>model</a:t>
              </a:r>
            </a:p>
          </p:txBody>
        </p:sp>
        <p:sp>
          <p:nvSpPr>
            <p:cNvPr id="53" name="Freeform: Shape 52">
              <a:extLst>
                <a:ext uri="{FF2B5EF4-FFF2-40B4-BE49-F238E27FC236}">
                  <a16:creationId xmlns:a16="http://schemas.microsoft.com/office/drawing/2014/main" id="{0397EE49-EDFD-4A13-A6CD-8890946EBE75}"/>
                </a:ext>
              </a:extLst>
            </p:cNvPr>
            <p:cNvSpPr/>
            <p:nvPr/>
          </p:nvSpPr>
          <p:spPr>
            <a:xfrm>
              <a:off x="8239576" y="4023598"/>
              <a:ext cx="3731761" cy="1891862"/>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0" rIns="0" bIns="0" numCol="1" spcCol="1270" anchor="t" anchorCtr="0">
              <a:noAutofit/>
            </a:bodyPr>
            <a:lstStyle/>
            <a:p>
              <a:pPr marL="0" lvl="1" defTabSz="1066595">
                <a:spcBef>
                  <a:spcPct val="0"/>
                </a:spcBef>
                <a:spcAft>
                  <a:spcPts val="800"/>
                </a:spcAft>
              </a:pPr>
              <a:r>
                <a:rPr lang="en-US" dirty="0">
                  <a:solidFill>
                    <a:schemeClr val="tx2"/>
                  </a:solidFill>
                  <a:latin typeface="Segoe UI"/>
                </a:rPr>
                <a:t>Competitive</a:t>
              </a:r>
            </a:p>
            <a:p>
              <a:pPr marL="0" lvl="1" defTabSz="1066595">
                <a:spcBef>
                  <a:spcPct val="0"/>
                </a:spcBef>
              </a:pPr>
              <a:r>
                <a:rPr lang="en-US" dirty="0">
                  <a:solidFill>
                    <a:schemeClr val="tx2"/>
                  </a:solidFill>
                  <a:latin typeface="Segoe UI"/>
                </a:rPr>
                <a:t>Transparent </a:t>
              </a:r>
            </a:p>
            <a:p>
              <a:pPr marL="284163" lvl="2" indent="-171450" defTabSz="1066595">
                <a:spcBef>
                  <a:spcPts val="200"/>
                </a:spcBef>
                <a:spcAft>
                  <a:spcPts val="600"/>
                </a:spcAft>
                <a:buFont typeface="Arial" panose="020B0604020202020204" pitchFamily="34" charset="0"/>
                <a:buChar char="•"/>
              </a:pPr>
              <a:r>
                <a:rPr lang="en-US" dirty="0">
                  <a:solidFill>
                    <a:schemeClr val="tx2"/>
                  </a:solidFill>
                  <a:latin typeface="Segoe UI"/>
                </a:rPr>
                <a:t>Core and Storage</a:t>
              </a:r>
            </a:p>
            <a:p>
              <a:pPr marL="0" lvl="1" defTabSz="1066595">
                <a:spcBef>
                  <a:spcPct val="0"/>
                </a:spcBef>
                <a:spcAft>
                  <a:spcPts val="800"/>
                </a:spcAft>
              </a:pPr>
              <a:r>
                <a:rPr lang="en-US" dirty="0">
                  <a:solidFill>
                    <a:schemeClr val="tx2"/>
                  </a:solidFill>
                  <a:latin typeface="Segoe UI"/>
                </a:rPr>
                <a:t>Frictionless</a:t>
              </a:r>
            </a:p>
          </p:txBody>
        </p:sp>
      </p:grpSp>
      <p:cxnSp>
        <p:nvCxnSpPr>
          <p:cNvPr id="57" name="Straight Connector 56">
            <a:extLst>
              <a:ext uri="{FF2B5EF4-FFF2-40B4-BE49-F238E27FC236}">
                <a16:creationId xmlns:a16="http://schemas.microsoft.com/office/drawing/2014/main" id="{7FC4AB14-BB6C-4044-B988-771ABE30803E}"/>
              </a:ext>
            </a:extLst>
          </p:cNvPr>
          <p:cNvCxnSpPr>
            <a:cxnSpLocks/>
          </p:cNvCxnSpPr>
          <p:nvPr/>
        </p:nvCxnSpPr>
        <p:spPr>
          <a:xfrm flipH="1">
            <a:off x="4278021" y="4044065"/>
            <a:ext cx="0" cy="1326588"/>
          </a:xfrm>
          <a:prstGeom prst="lin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58" name="Straight Connector 57">
            <a:extLst>
              <a:ext uri="{FF2B5EF4-FFF2-40B4-BE49-F238E27FC236}">
                <a16:creationId xmlns:a16="http://schemas.microsoft.com/office/drawing/2014/main" id="{6E91DAEF-E96F-4C52-AFF6-5A72C04566A8}"/>
              </a:ext>
            </a:extLst>
          </p:cNvPr>
          <p:cNvCxnSpPr>
            <a:cxnSpLocks/>
          </p:cNvCxnSpPr>
          <p:nvPr/>
        </p:nvCxnSpPr>
        <p:spPr>
          <a:xfrm flipH="1">
            <a:off x="8158457" y="4044065"/>
            <a:ext cx="0" cy="1326588"/>
          </a:xfrm>
          <a:prstGeom prst="lin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1786591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par>
                                <p:cTn id="8" presetID="10" presetClass="entr" presetSubtype="0" fill="hold" nodeType="withEffect">
                                  <p:stCondLst>
                                    <p:cond delay="0"/>
                                  </p:stCondLst>
                                  <p:childTnLst>
                                    <p:set>
                                      <p:cBhvr>
                                        <p:cTn id="9" dur="1" fill="hold">
                                          <p:stCondLst>
                                            <p:cond delay="0"/>
                                          </p:stCondLst>
                                        </p:cTn>
                                        <p:tgtEl>
                                          <p:spTgt spid="61"/>
                                        </p:tgtEl>
                                        <p:attrNameLst>
                                          <p:attrName>style.visibility</p:attrName>
                                        </p:attrNameLst>
                                      </p:cBhvr>
                                      <p:to>
                                        <p:strVal val="visible"/>
                                      </p:to>
                                    </p:set>
                                    <p:animEffect transition="in" filter="fade">
                                      <p:cBhvr>
                                        <p:cTn id="10" dur="500"/>
                                        <p:tgtEl>
                                          <p:spTgt spid="61"/>
                                        </p:tgtEl>
                                      </p:cBhvr>
                                    </p:animEffect>
                                  </p:childTnLst>
                                </p:cTn>
                              </p:par>
                              <p:par>
                                <p:cTn id="11" presetID="10" presetClass="entr" presetSubtype="0" fill="hold" nodeType="withEffect">
                                  <p:stCondLst>
                                    <p:cond delay="0"/>
                                  </p:stCondLst>
                                  <p:childTnLst>
                                    <p:set>
                                      <p:cBhvr>
                                        <p:cTn id="12" dur="1" fill="hold">
                                          <p:stCondLst>
                                            <p:cond delay="0"/>
                                          </p:stCondLst>
                                        </p:cTn>
                                        <p:tgtEl>
                                          <p:spTgt spid="60"/>
                                        </p:tgtEl>
                                        <p:attrNameLst>
                                          <p:attrName>style.visibility</p:attrName>
                                        </p:attrNameLst>
                                      </p:cBhvr>
                                      <p:to>
                                        <p:strVal val="visible"/>
                                      </p:to>
                                    </p:set>
                                    <p:animEffect transition="in" filter="fade">
                                      <p:cBhvr>
                                        <p:cTn id="13" dur="500"/>
                                        <p:tgtEl>
                                          <p:spTgt spid="6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63"/>
                                        </p:tgtEl>
                                        <p:attrNameLst>
                                          <p:attrName>style.visibility</p:attrName>
                                        </p:attrNameLst>
                                      </p:cBhvr>
                                      <p:to>
                                        <p:strVal val="visible"/>
                                      </p:to>
                                    </p:set>
                                    <p:animEffect transition="in" filter="fade">
                                      <p:cBhvr>
                                        <p:cTn id="18" dur="500"/>
                                        <p:tgtEl>
                                          <p:spTgt spid="63"/>
                                        </p:tgtEl>
                                      </p:cBhvr>
                                    </p:animEffec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4"/>
                                        </p:tgtEl>
                                        <p:attrNameLst>
                                          <p:attrName>style.visibility</p:attrName>
                                        </p:attrNameLst>
                                      </p:cBhvr>
                                      <p:to>
                                        <p:strVal val="visible"/>
                                      </p:to>
                                    </p:set>
                                    <p:animEffect transition="in" filter="fade">
                                      <p:cBhvr>
                                        <p:cTn id="27" dur="500"/>
                                        <p:tgtEl>
                                          <p:spTgt spid="64"/>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58"/>
                                        </p:tgtEl>
                                        <p:attrNameLst>
                                          <p:attrName>style.visibility</p:attrName>
                                        </p:attrNameLst>
                                      </p:cBhvr>
                                      <p:to>
                                        <p:strVal val="visible"/>
                                      </p:to>
                                    </p:set>
                                    <p:animEffect transition="in" filter="fade">
                                      <p:cBhvr>
                                        <p:cTn id="31" dur="500"/>
                                        <p:tgtEl>
                                          <p:spTgt spid="5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65"/>
                                        </p:tgtEl>
                                        <p:attrNameLst>
                                          <p:attrName>style.visibility</p:attrName>
                                        </p:attrNameLst>
                                      </p:cBhvr>
                                      <p:to>
                                        <p:strVal val="visible"/>
                                      </p:to>
                                    </p:set>
                                    <p:animEffect transition="in" filter="fade">
                                      <p:cBhvr>
                                        <p:cTn id="36"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anaged Instance: Unmatched PaaS Capabilities</a:t>
            </a:r>
          </a:p>
        </p:txBody>
      </p:sp>
      <p:grpSp>
        <p:nvGrpSpPr>
          <p:cNvPr id="6" name="Group 5">
            <a:extLst>
              <a:ext uri="{FF2B5EF4-FFF2-40B4-BE49-F238E27FC236}">
                <a16:creationId xmlns:a16="http://schemas.microsoft.com/office/drawing/2014/main" id="{E4F6133F-06B3-4B0A-8289-C09879519D06}"/>
              </a:ext>
            </a:extLst>
          </p:cNvPr>
          <p:cNvGrpSpPr/>
          <p:nvPr/>
        </p:nvGrpSpPr>
        <p:grpSpPr>
          <a:xfrm>
            <a:off x="465138" y="4527344"/>
            <a:ext cx="11506198" cy="1020511"/>
            <a:chOff x="465138" y="4527344"/>
            <a:chExt cx="11506198" cy="1020511"/>
          </a:xfrm>
        </p:grpSpPr>
        <p:sp>
          <p:nvSpPr>
            <p:cNvPr id="15" name="Flowchart: Process 14">
              <a:extLst>
                <a:ext uri="{FF2B5EF4-FFF2-40B4-BE49-F238E27FC236}">
                  <a16:creationId xmlns:a16="http://schemas.microsoft.com/office/drawing/2014/main" id="{53448D43-7A31-4003-A18C-052C20F0E93B}"/>
                </a:ext>
              </a:extLst>
            </p:cNvPr>
            <p:cNvSpPr/>
            <p:nvPr/>
          </p:nvSpPr>
          <p:spPr bwMode="auto">
            <a:xfrm>
              <a:off x="3339965" y="4527344"/>
              <a:ext cx="8631371" cy="1020511"/>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dirty="0">
                  <a:solidFill>
                    <a:schemeClr val="tx1"/>
                  </a:solidFill>
                  <a:latin typeface="+mj-lt"/>
                </a:rPr>
                <a:t>The service guarantees availability and no regression in experience</a:t>
              </a:r>
            </a:p>
          </p:txBody>
        </p:sp>
        <p:sp>
          <p:nvSpPr>
            <p:cNvPr id="16" name="Flowchart: Process 15">
              <a:extLst>
                <a:ext uri="{FF2B5EF4-FFF2-40B4-BE49-F238E27FC236}">
                  <a16:creationId xmlns:a16="http://schemas.microsoft.com/office/drawing/2014/main" id="{17814E29-1D0C-430C-AD18-ABA19ECFA6C5}"/>
                </a:ext>
              </a:extLst>
            </p:cNvPr>
            <p:cNvSpPr/>
            <p:nvPr/>
          </p:nvSpPr>
          <p:spPr bwMode="auto">
            <a:xfrm>
              <a:off x="465138" y="4527344"/>
              <a:ext cx="2874828" cy="1020511"/>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cs typeface="Segoe UI Semibold" panose="020B0702040204020203" pitchFamily="34" charset="0"/>
                </a:rPr>
                <a:t>Automatic patching/version updates</a:t>
              </a:r>
            </a:p>
          </p:txBody>
        </p:sp>
      </p:grpSp>
      <p:grpSp>
        <p:nvGrpSpPr>
          <p:cNvPr id="7" name="Group 6">
            <a:extLst>
              <a:ext uri="{FF2B5EF4-FFF2-40B4-BE49-F238E27FC236}">
                <a16:creationId xmlns:a16="http://schemas.microsoft.com/office/drawing/2014/main" id="{507776FB-7E9F-4F4B-9657-C5DC7338FCD9}"/>
              </a:ext>
            </a:extLst>
          </p:cNvPr>
          <p:cNvGrpSpPr/>
          <p:nvPr/>
        </p:nvGrpSpPr>
        <p:grpSpPr>
          <a:xfrm>
            <a:off x="465138" y="5624765"/>
            <a:ext cx="11506198" cy="1020511"/>
            <a:chOff x="465138" y="5624765"/>
            <a:chExt cx="11506198" cy="1020511"/>
          </a:xfrm>
        </p:grpSpPr>
        <p:sp>
          <p:nvSpPr>
            <p:cNvPr id="17" name="Flowchart: Process 16">
              <a:extLst>
                <a:ext uri="{FF2B5EF4-FFF2-40B4-BE49-F238E27FC236}">
                  <a16:creationId xmlns:a16="http://schemas.microsoft.com/office/drawing/2014/main" id="{BA08BD47-AE23-4834-8E3B-E03E841C6CDD}"/>
                </a:ext>
              </a:extLst>
            </p:cNvPr>
            <p:cNvSpPr/>
            <p:nvPr/>
          </p:nvSpPr>
          <p:spPr bwMode="auto">
            <a:xfrm>
              <a:off x="3339965" y="5624765"/>
              <a:ext cx="8631371" cy="1020511"/>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dirty="0">
                  <a:solidFill>
                    <a:schemeClr val="tx1"/>
                  </a:solidFill>
                  <a:latin typeface="+mj-lt"/>
                </a:rPr>
                <a:t>Threat Detection</a:t>
              </a:r>
            </a:p>
            <a:p>
              <a:pPr defTabSz="932472" fontAlgn="base">
                <a:spcBef>
                  <a:spcPts val="200"/>
                </a:spcBef>
                <a:spcAft>
                  <a:spcPct val="0"/>
                </a:spcAft>
              </a:pPr>
              <a:r>
                <a:rPr lang="en-US" sz="2000" dirty="0">
                  <a:solidFill>
                    <a:schemeClr val="tx1"/>
                  </a:solidFill>
                  <a:latin typeface="+mj-lt"/>
                </a:rPr>
                <a:t>Automatic performance tuning &amp; Intelligent Insights</a:t>
              </a:r>
            </a:p>
          </p:txBody>
        </p:sp>
        <p:sp>
          <p:nvSpPr>
            <p:cNvPr id="18" name="Flowchart: Process 17">
              <a:extLst>
                <a:ext uri="{FF2B5EF4-FFF2-40B4-BE49-F238E27FC236}">
                  <a16:creationId xmlns:a16="http://schemas.microsoft.com/office/drawing/2014/main" id="{1CCBC7FF-F9F0-4866-B55F-5FBEA1D3B5E3}"/>
                </a:ext>
              </a:extLst>
            </p:cNvPr>
            <p:cNvSpPr/>
            <p:nvPr/>
          </p:nvSpPr>
          <p:spPr bwMode="auto">
            <a:xfrm>
              <a:off x="465138" y="5624765"/>
              <a:ext cx="2874828" cy="1020511"/>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cs typeface="Segoe UI Semibold" panose="020B0702040204020203" pitchFamily="34" charset="0"/>
                </a:rPr>
                <a:t>Built-in intelligence</a:t>
              </a:r>
            </a:p>
          </p:txBody>
        </p:sp>
      </p:grpSp>
      <p:grpSp>
        <p:nvGrpSpPr>
          <p:cNvPr id="2" name="Group 1">
            <a:extLst>
              <a:ext uri="{FF2B5EF4-FFF2-40B4-BE49-F238E27FC236}">
                <a16:creationId xmlns:a16="http://schemas.microsoft.com/office/drawing/2014/main" id="{065576EF-AB8E-413F-88F8-FBC7B6863174}"/>
              </a:ext>
            </a:extLst>
          </p:cNvPr>
          <p:cNvGrpSpPr/>
          <p:nvPr/>
        </p:nvGrpSpPr>
        <p:grpSpPr>
          <a:xfrm>
            <a:off x="465137" y="1235076"/>
            <a:ext cx="11506199" cy="1020511"/>
            <a:chOff x="465137" y="1235076"/>
            <a:chExt cx="11506199" cy="1020511"/>
          </a:xfrm>
        </p:grpSpPr>
        <p:sp>
          <p:nvSpPr>
            <p:cNvPr id="10" name="Flowchart: Process 9">
              <a:extLst>
                <a:ext uri="{FF2B5EF4-FFF2-40B4-BE49-F238E27FC236}">
                  <a16:creationId xmlns:a16="http://schemas.microsoft.com/office/drawing/2014/main" id="{A870AAB0-E983-43EE-A990-8E6F31349FDF}"/>
                </a:ext>
              </a:extLst>
            </p:cNvPr>
            <p:cNvSpPr/>
            <p:nvPr/>
          </p:nvSpPr>
          <p:spPr bwMode="auto">
            <a:xfrm>
              <a:off x="3339965" y="1235076"/>
              <a:ext cx="8631371" cy="1020511"/>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dirty="0">
                  <a:solidFill>
                    <a:schemeClr val="tx1"/>
                  </a:solidFill>
                  <a:latin typeface="+mj-lt"/>
                </a:rPr>
                <a:t>No need to provision for that monthly/yearly peak</a:t>
              </a:r>
            </a:p>
          </p:txBody>
        </p:sp>
        <p:sp>
          <p:nvSpPr>
            <p:cNvPr id="19" name="Flowchart: Process 18">
              <a:extLst>
                <a:ext uri="{FF2B5EF4-FFF2-40B4-BE49-F238E27FC236}">
                  <a16:creationId xmlns:a16="http://schemas.microsoft.com/office/drawing/2014/main" id="{FFF7F9B0-002B-4C6A-95F9-5F68ECC08654}"/>
                </a:ext>
              </a:extLst>
            </p:cNvPr>
            <p:cNvSpPr/>
            <p:nvPr/>
          </p:nvSpPr>
          <p:spPr bwMode="auto">
            <a:xfrm>
              <a:off x="465137" y="1235076"/>
              <a:ext cx="2874828" cy="1020511"/>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cs typeface="Segoe UI Semibold" panose="020B0702040204020203" pitchFamily="34" charset="0"/>
                </a:rPr>
                <a:t>On-demand resources &amp; elasticity </a:t>
              </a:r>
            </a:p>
          </p:txBody>
        </p:sp>
      </p:grpSp>
      <p:grpSp>
        <p:nvGrpSpPr>
          <p:cNvPr id="4" name="Group 3">
            <a:extLst>
              <a:ext uri="{FF2B5EF4-FFF2-40B4-BE49-F238E27FC236}">
                <a16:creationId xmlns:a16="http://schemas.microsoft.com/office/drawing/2014/main" id="{03A2466A-289F-4325-BCC0-904783604CA8}"/>
              </a:ext>
            </a:extLst>
          </p:cNvPr>
          <p:cNvGrpSpPr/>
          <p:nvPr/>
        </p:nvGrpSpPr>
        <p:grpSpPr>
          <a:xfrm>
            <a:off x="465137" y="2332499"/>
            <a:ext cx="11506199" cy="1020511"/>
            <a:chOff x="465137" y="2332499"/>
            <a:chExt cx="11506199" cy="1020511"/>
          </a:xfrm>
        </p:grpSpPr>
        <p:sp>
          <p:nvSpPr>
            <p:cNvPr id="11" name="Flowchart: Process 10">
              <a:extLst>
                <a:ext uri="{FF2B5EF4-FFF2-40B4-BE49-F238E27FC236}">
                  <a16:creationId xmlns:a16="http://schemas.microsoft.com/office/drawing/2014/main" id="{1EFF161D-6C8D-4E11-B5FA-E04EA8908CD6}"/>
                </a:ext>
              </a:extLst>
            </p:cNvPr>
            <p:cNvSpPr/>
            <p:nvPr/>
          </p:nvSpPr>
          <p:spPr bwMode="auto">
            <a:xfrm>
              <a:off x="3339965" y="2332499"/>
              <a:ext cx="8631371" cy="1020511"/>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dirty="0">
                  <a:solidFill>
                    <a:schemeClr val="tx1"/>
                  </a:solidFill>
                  <a:latin typeface="+mj-lt"/>
                </a:rPr>
                <a:t>99.99% SLA with automatic failover</a:t>
              </a:r>
            </a:p>
          </p:txBody>
        </p:sp>
        <p:sp>
          <p:nvSpPr>
            <p:cNvPr id="20" name="Flowchart: Process 19">
              <a:extLst>
                <a:ext uri="{FF2B5EF4-FFF2-40B4-BE49-F238E27FC236}">
                  <a16:creationId xmlns:a16="http://schemas.microsoft.com/office/drawing/2014/main" id="{3F629E94-7E0C-456C-98E0-713F3BB4F05E}"/>
                </a:ext>
              </a:extLst>
            </p:cNvPr>
            <p:cNvSpPr/>
            <p:nvPr/>
          </p:nvSpPr>
          <p:spPr bwMode="auto">
            <a:xfrm>
              <a:off x="465137" y="2332499"/>
              <a:ext cx="2874828" cy="1020511"/>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cs typeface="Segoe UI Semibold" panose="020B0702040204020203" pitchFamily="34" charset="0"/>
                </a:rPr>
                <a:t>Built-in high availability</a:t>
              </a:r>
            </a:p>
          </p:txBody>
        </p:sp>
      </p:grpSp>
      <p:grpSp>
        <p:nvGrpSpPr>
          <p:cNvPr id="5" name="Group 4">
            <a:extLst>
              <a:ext uri="{FF2B5EF4-FFF2-40B4-BE49-F238E27FC236}">
                <a16:creationId xmlns:a16="http://schemas.microsoft.com/office/drawing/2014/main" id="{F01DD841-3516-4815-B8F1-AEA2A4A91C85}"/>
              </a:ext>
            </a:extLst>
          </p:cNvPr>
          <p:cNvGrpSpPr/>
          <p:nvPr/>
        </p:nvGrpSpPr>
        <p:grpSpPr>
          <a:xfrm>
            <a:off x="465138" y="3429920"/>
            <a:ext cx="11506199" cy="1020512"/>
            <a:chOff x="465138" y="3429920"/>
            <a:chExt cx="11506199" cy="1020512"/>
          </a:xfrm>
        </p:grpSpPr>
        <p:sp>
          <p:nvSpPr>
            <p:cNvPr id="13" name="Flowchart: Process 12">
              <a:extLst>
                <a:ext uri="{FF2B5EF4-FFF2-40B4-BE49-F238E27FC236}">
                  <a16:creationId xmlns:a16="http://schemas.microsoft.com/office/drawing/2014/main" id="{4AF2A79F-E243-44BF-B923-5CAD4CF97EBD}"/>
                </a:ext>
              </a:extLst>
            </p:cNvPr>
            <p:cNvSpPr/>
            <p:nvPr/>
          </p:nvSpPr>
          <p:spPr bwMode="auto">
            <a:xfrm>
              <a:off x="3530654" y="3429921"/>
              <a:ext cx="2346272" cy="1020511"/>
            </a:xfrm>
            <a:prstGeom prst="flowChartProcess">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9144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dirty="0">
                  <a:solidFill>
                    <a:schemeClr val="tx1"/>
                  </a:solidFill>
                  <a:latin typeface="+mj-lt"/>
                </a:rPr>
                <a:t>Automatic backups, </a:t>
              </a:r>
              <a:br>
                <a:rPr lang="en-US" sz="2000" dirty="0">
                  <a:solidFill>
                    <a:schemeClr val="tx1"/>
                  </a:solidFill>
                  <a:latin typeface="+mj-lt"/>
                </a:rPr>
              </a:br>
              <a:r>
                <a:rPr lang="en-US" sz="2000" dirty="0">
                  <a:solidFill>
                    <a:schemeClr val="tx1"/>
                  </a:solidFill>
                  <a:latin typeface="+mj-lt"/>
                </a:rPr>
                <a:t>point-in-time restore,</a:t>
              </a:r>
              <a:br>
                <a:rPr lang="en-US" sz="2000" dirty="0">
                  <a:solidFill>
                    <a:schemeClr val="tx1"/>
                  </a:solidFill>
                  <a:latin typeface="+mj-lt"/>
                </a:rPr>
              </a:br>
              <a:r>
                <a:rPr lang="en-US" sz="2000" dirty="0">
                  <a:solidFill>
                    <a:schemeClr val="tx1"/>
                  </a:solidFill>
                  <a:latin typeface="+mj-lt"/>
                </a:rPr>
                <a:t>long term retention</a:t>
              </a:r>
            </a:p>
          </p:txBody>
        </p:sp>
        <p:sp>
          <p:nvSpPr>
            <p:cNvPr id="32" name="Flowchart: Process 31">
              <a:extLst>
                <a:ext uri="{FF2B5EF4-FFF2-40B4-BE49-F238E27FC236}">
                  <a16:creationId xmlns:a16="http://schemas.microsoft.com/office/drawing/2014/main" id="{901FE648-584F-48CD-B270-2761EB53A333}"/>
                </a:ext>
              </a:extLst>
            </p:cNvPr>
            <p:cNvSpPr/>
            <p:nvPr/>
          </p:nvSpPr>
          <p:spPr bwMode="auto">
            <a:xfrm>
              <a:off x="6707960" y="3429920"/>
              <a:ext cx="1733474" cy="1020511"/>
            </a:xfrm>
            <a:prstGeom prst="flowChartProcess">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dirty="0">
                  <a:solidFill>
                    <a:schemeClr val="tx1"/>
                  </a:solidFill>
                  <a:latin typeface="+mj-lt"/>
                </a:rPr>
                <a:t>Backups kept in </a:t>
              </a:r>
              <a:br>
                <a:rPr lang="en-US" sz="2000" dirty="0">
                  <a:solidFill>
                    <a:schemeClr val="tx1"/>
                  </a:solidFill>
                  <a:latin typeface="+mj-lt"/>
                </a:rPr>
              </a:br>
              <a:r>
                <a:rPr lang="en-US" sz="2000" dirty="0">
                  <a:solidFill>
                    <a:schemeClr val="tx1"/>
                  </a:solidFill>
                  <a:latin typeface="+mj-lt"/>
                </a:rPr>
                <a:t>geo-redundant storage</a:t>
              </a:r>
            </a:p>
          </p:txBody>
        </p:sp>
        <p:sp>
          <p:nvSpPr>
            <p:cNvPr id="33" name="Flowchart: Process 32">
              <a:extLst>
                <a:ext uri="{FF2B5EF4-FFF2-40B4-BE49-F238E27FC236}">
                  <a16:creationId xmlns:a16="http://schemas.microsoft.com/office/drawing/2014/main" id="{5FFA9347-3800-484C-9813-C22BB3687B51}"/>
                </a:ext>
              </a:extLst>
            </p:cNvPr>
            <p:cNvSpPr/>
            <p:nvPr/>
          </p:nvSpPr>
          <p:spPr bwMode="auto">
            <a:xfrm>
              <a:off x="9272468" y="3429921"/>
              <a:ext cx="2386132" cy="1020511"/>
            </a:xfrm>
            <a:prstGeom prst="flowChartProcess">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dirty="0">
                  <a:solidFill>
                    <a:schemeClr val="tx1"/>
                  </a:solidFill>
                  <a:latin typeface="+mj-lt"/>
                </a:rPr>
                <a:t>Active geo-replication (&lt;5 sec </a:t>
              </a:r>
              <a:r>
                <a:rPr lang="en-US" sz="2000" dirty="0" err="1">
                  <a:solidFill>
                    <a:schemeClr val="tx1"/>
                  </a:solidFill>
                  <a:latin typeface="+mj-lt"/>
                </a:rPr>
                <a:t>RPO</a:t>
              </a:r>
              <a:r>
                <a:rPr lang="en-US" sz="2000" dirty="0">
                  <a:solidFill>
                    <a:schemeClr val="tx1"/>
                  </a:solidFill>
                  <a:latin typeface="+mj-lt"/>
                </a:rPr>
                <a:t>)</a:t>
              </a:r>
            </a:p>
          </p:txBody>
        </p:sp>
        <p:cxnSp>
          <p:nvCxnSpPr>
            <p:cNvPr id="36" name="Straight Connector 35">
              <a:extLst>
                <a:ext uri="{FF2B5EF4-FFF2-40B4-BE49-F238E27FC236}">
                  <a16:creationId xmlns:a16="http://schemas.microsoft.com/office/drawing/2014/main" id="{49F26DBD-E46A-4490-85FE-59489DC63BBF}"/>
                </a:ext>
              </a:extLst>
            </p:cNvPr>
            <p:cNvCxnSpPr>
              <a:cxnSpLocks/>
            </p:cNvCxnSpPr>
            <p:nvPr/>
          </p:nvCxnSpPr>
          <p:spPr>
            <a:xfrm>
              <a:off x="6292443" y="3483260"/>
              <a:ext cx="0" cy="91440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D1D9A55-5C42-4FF2-81BB-7D5DF7882038}"/>
                </a:ext>
              </a:extLst>
            </p:cNvPr>
            <p:cNvCxnSpPr/>
            <p:nvPr/>
          </p:nvCxnSpPr>
          <p:spPr>
            <a:xfrm>
              <a:off x="8856951" y="3483260"/>
              <a:ext cx="0" cy="91440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Flowchart: Process 37">
              <a:extLst>
                <a:ext uri="{FF2B5EF4-FFF2-40B4-BE49-F238E27FC236}">
                  <a16:creationId xmlns:a16="http://schemas.microsoft.com/office/drawing/2014/main" id="{248C9BF1-F63A-4B14-B467-AA7521DF181B}"/>
                </a:ext>
              </a:extLst>
            </p:cNvPr>
            <p:cNvSpPr/>
            <p:nvPr/>
          </p:nvSpPr>
          <p:spPr bwMode="auto">
            <a:xfrm>
              <a:off x="3262965" y="3429921"/>
              <a:ext cx="8708372" cy="1020511"/>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endParaRPr lang="en-US" sz="2000" dirty="0">
                <a:solidFill>
                  <a:schemeClr val="tx1"/>
                </a:solidFill>
                <a:latin typeface="+mj-lt"/>
              </a:endParaRPr>
            </a:p>
          </p:txBody>
        </p:sp>
        <p:sp>
          <p:nvSpPr>
            <p:cNvPr id="14" name="Flowchart: Process 13">
              <a:extLst>
                <a:ext uri="{FF2B5EF4-FFF2-40B4-BE49-F238E27FC236}">
                  <a16:creationId xmlns:a16="http://schemas.microsoft.com/office/drawing/2014/main" id="{D7A0FC67-C716-48F2-8B62-DE0E7C528D21}"/>
                </a:ext>
              </a:extLst>
            </p:cNvPr>
            <p:cNvSpPr/>
            <p:nvPr/>
          </p:nvSpPr>
          <p:spPr bwMode="auto">
            <a:xfrm>
              <a:off x="465138" y="3429921"/>
              <a:ext cx="2874828" cy="1020511"/>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cs typeface="Segoe UI Semibold" panose="020B0702040204020203" pitchFamily="34" charset="0"/>
                </a:rPr>
                <a:t>Business continuity</a:t>
              </a:r>
            </a:p>
          </p:txBody>
        </p:sp>
      </p:grpSp>
    </p:spTree>
    <p:extLst>
      <p:ext uri="{BB962C8B-B14F-4D97-AF65-F5344CB8AC3E}">
        <p14:creationId xmlns:p14="http://schemas.microsoft.com/office/powerpoint/2010/main" val="4055345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left)">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left)">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wipe(left)">
                                      <p:cBhvr>
                                        <p:cTn id="2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29">
            <a:extLst>
              <a:ext uri="{FF2B5EF4-FFF2-40B4-BE49-F238E27FC236}">
                <a16:creationId xmlns:a16="http://schemas.microsoft.com/office/drawing/2014/main" id="{28718107-CC8E-4D45-9E84-2A354021AC89}"/>
              </a:ext>
            </a:extLst>
          </p:cNvPr>
          <p:cNvSpPr>
            <a:spLocks noGrp="1"/>
          </p:cNvSpPr>
          <p:nvPr>
            <p:ph type="title"/>
          </p:nvPr>
        </p:nvSpPr>
        <p:spPr/>
        <p:txBody>
          <a:bodyPr/>
          <a:lstStyle/>
          <a:p>
            <a:r>
              <a:rPr lang="en-US" dirty="0"/>
              <a:t>How to Choose Between PaaS and IaaS?</a:t>
            </a:r>
            <a:endParaRPr lang="en-IN" dirty="0"/>
          </a:p>
        </p:txBody>
      </p:sp>
      <p:sp>
        <p:nvSpPr>
          <p:cNvPr id="7" name="Oval 6">
            <a:extLst>
              <a:ext uri="{FF2B5EF4-FFF2-40B4-BE49-F238E27FC236}">
                <a16:creationId xmlns:a16="http://schemas.microsoft.com/office/drawing/2014/main" id="{A701C3C4-18C8-4835-9594-1457E54CC681}"/>
              </a:ext>
            </a:extLst>
          </p:cNvPr>
          <p:cNvSpPr/>
          <p:nvPr/>
        </p:nvSpPr>
        <p:spPr bwMode="auto">
          <a:xfrm>
            <a:off x="459915" y="1382983"/>
            <a:ext cx="2190690" cy="2190690"/>
          </a:xfrm>
          <a:prstGeom prst="ellipse">
            <a:avLst/>
          </a:prstGeom>
          <a:solidFill>
            <a:schemeClr val="tx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3200" dirty="0">
                <a:latin typeface="+mj-lt"/>
              </a:rPr>
              <a:t>If you</a:t>
            </a:r>
          </a:p>
        </p:txBody>
      </p:sp>
      <p:sp>
        <p:nvSpPr>
          <p:cNvPr id="8" name="Oval 7">
            <a:extLst>
              <a:ext uri="{FF2B5EF4-FFF2-40B4-BE49-F238E27FC236}">
                <a16:creationId xmlns:a16="http://schemas.microsoft.com/office/drawing/2014/main" id="{B8A62245-B21C-4CDF-8D9D-0743BEA92131}"/>
              </a:ext>
            </a:extLst>
          </p:cNvPr>
          <p:cNvSpPr/>
          <p:nvPr/>
        </p:nvSpPr>
        <p:spPr bwMode="auto">
          <a:xfrm>
            <a:off x="459915" y="3839875"/>
            <a:ext cx="2190690" cy="2190690"/>
          </a:xfrm>
          <a:prstGeom prst="ellipse">
            <a:avLst/>
          </a:prstGeom>
          <a:solidFill>
            <a:schemeClr val="tx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3200" dirty="0">
                <a:latin typeface="+mj-lt"/>
              </a:rPr>
              <a:t>Otherwise</a:t>
            </a:r>
          </a:p>
        </p:txBody>
      </p:sp>
      <p:sp>
        <p:nvSpPr>
          <p:cNvPr id="9" name="Arc 8">
            <a:extLst>
              <a:ext uri="{FF2B5EF4-FFF2-40B4-BE49-F238E27FC236}">
                <a16:creationId xmlns:a16="http://schemas.microsoft.com/office/drawing/2014/main" id="{B5662461-CA68-4284-9CE4-55AB4EEC2DAA}"/>
              </a:ext>
            </a:extLst>
          </p:cNvPr>
          <p:cNvSpPr/>
          <p:nvPr/>
        </p:nvSpPr>
        <p:spPr>
          <a:xfrm>
            <a:off x="326998" y="1250066"/>
            <a:ext cx="2456524" cy="2456524"/>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sp>
        <p:nvSpPr>
          <p:cNvPr id="10" name="Arc 9">
            <a:extLst>
              <a:ext uri="{FF2B5EF4-FFF2-40B4-BE49-F238E27FC236}">
                <a16:creationId xmlns:a16="http://schemas.microsoft.com/office/drawing/2014/main" id="{B0676EF4-C2E9-4B83-A957-E08C48302848}"/>
              </a:ext>
            </a:extLst>
          </p:cNvPr>
          <p:cNvSpPr/>
          <p:nvPr/>
        </p:nvSpPr>
        <p:spPr>
          <a:xfrm>
            <a:off x="326998" y="3706958"/>
            <a:ext cx="2456524" cy="2456524"/>
          </a:xfrm>
          <a:prstGeom prst="arc">
            <a:avLst>
              <a:gd name="adj1" fmla="val 19401861"/>
              <a:gd name="adj2" fmla="val 16227276"/>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sp>
        <p:nvSpPr>
          <p:cNvPr id="11" name="Rectangle 10">
            <a:extLst>
              <a:ext uri="{FF2B5EF4-FFF2-40B4-BE49-F238E27FC236}">
                <a16:creationId xmlns:a16="http://schemas.microsoft.com/office/drawing/2014/main" id="{4B681454-616C-4B10-966E-4EB0CCE5B87F}"/>
              </a:ext>
            </a:extLst>
          </p:cNvPr>
          <p:cNvSpPr/>
          <p:nvPr/>
        </p:nvSpPr>
        <p:spPr>
          <a:xfrm>
            <a:off x="2916438" y="1893553"/>
            <a:ext cx="8772641" cy="1169551"/>
          </a:xfrm>
          <a:prstGeom prst="rect">
            <a:avLst/>
          </a:prstGeom>
        </p:spPr>
        <p:txBody>
          <a:bodyPr wrap="square" lIns="0" tIns="0" rIns="0" bIns="0">
            <a:spAutoFit/>
          </a:bodyPr>
          <a:lstStyle/>
          <a:p>
            <a:pPr marL="288925" lvl="1" indent="-288925">
              <a:spcBef>
                <a:spcPts val="600"/>
              </a:spcBef>
              <a:buFont typeface="Arial" panose="020B0604020202020204" pitchFamily="34" charset="0"/>
              <a:buChar char="•"/>
            </a:pPr>
            <a:r>
              <a:rPr lang="en-US" sz="2200" dirty="0">
                <a:solidFill>
                  <a:schemeClr val="tx2"/>
                </a:solidFill>
                <a:latin typeface="+mj-lt"/>
              </a:rPr>
              <a:t>Need control over/access to the operating system</a:t>
            </a:r>
          </a:p>
          <a:p>
            <a:pPr marL="288925" lvl="1" indent="-288925">
              <a:spcBef>
                <a:spcPts val="600"/>
              </a:spcBef>
              <a:buFont typeface="Arial" panose="020B0604020202020204" pitchFamily="34" charset="0"/>
              <a:buChar char="•"/>
            </a:pPr>
            <a:r>
              <a:rPr lang="en-US" sz="2200" dirty="0">
                <a:solidFill>
                  <a:schemeClr val="tx2"/>
                </a:solidFill>
                <a:latin typeface="+mj-lt"/>
              </a:rPr>
              <a:t>Have to run your app or agents side-by-side with the database</a:t>
            </a:r>
          </a:p>
          <a:p>
            <a:pPr marL="288925" lvl="1" indent="-288925">
              <a:spcBef>
                <a:spcPts val="600"/>
              </a:spcBef>
              <a:buFont typeface="Arial" panose="020B0604020202020204" pitchFamily="34" charset="0"/>
              <a:buChar char="•"/>
            </a:pPr>
            <a:r>
              <a:rPr lang="en-US" sz="2200" dirty="0">
                <a:solidFill>
                  <a:schemeClr val="tx2"/>
                </a:solidFill>
                <a:latin typeface="+mj-lt"/>
              </a:rPr>
              <a:t>Want to continue to manage all aspects of your solution</a:t>
            </a:r>
          </a:p>
        </p:txBody>
      </p:sp>
      <p:sp>
        <p:nvSpPr>
          <p:cNvPr id="12" name="Rectangle 11">
            <a:extLst>
              <a:ext uri="{FF2B5EF4-FFF2-40B4-BE49-F238E27FC236}">
                <a16:creationId xmlns:a16="http://schemas.microsoft.com/office/drawing/2014/main" id="{DF24663B-F352-4BF6-902A-8230147B29AE}"/>
              </a:ext>
            </a:extLst>
          </p:cNvPr>
          <p:cNvSpPr/>
          <p:nvPr/>
        </p:nvSpPr>
        <p:spPr>
          <a:xfrm>
            <a:off x="2916438" y="4558194"/>
            <a:ext cx="8772641" cy="754053"/>
          </a:xfrm>
          <a:prstGeom prst="rect">
            <a:avLst/>
          </a:prstGeom>
        </p:spPr>
        <p:txBody>
          <a:bodyPr wrap="square" lIns="0" tIns="0" rIns="0" bIns="0">
            <a:spAutoFit/>
          </a:bodyPr>
          <a:lstStyle/>
          <a:p>
            <a:pPr marL="288925" lvl="1" indent="-288925">
              <a:spcBef>
                <a:spcPts val="600"/>
              </a:spcBef>
              <a:buFont typeface="Arial" panose="020B0604020202020204" pitchFamily="34" charset="0"/>
              <a:buChar char="•"/>
            </a:pPr>
            <a:r>
              <a:rPr lang="en-US" sz="2200" dirty="0">
                <a:solidFill>
                  <a:schemeClr val="tx2"/>
                </a:solidFill>
                <a:latin typeface="+mj-lt"/>
              </a:rPr>
              <a:t>Much better total cost of ownership</a:t>
            </a:r>
          </a:p>
          <a:p>
            <a:pPr marL="288925" lvl="1" indent="-288925">
              <a:spcBef>
                <a:spcPts val="600"/>
              </a:spcBef>
              <a:buFont typeface="Arial" panose="020B0604020202020204" pitchFamily="34" charset="0"/>
              <a:buChar char="•"/>
            </a:pPr>
            <a:r>
              <a:rPr lang="en-US" sz="2200" dirty="0">
                <a:solidFill>
                  <a:schemeClr val="tx2"/>
                </a:solidFill>
                <a:latin typeface="+mj-lt"/>
              </a:rPr>
              <a:t>You can focus on your business, and innovate</a:t>
            </a:r>
          </a:p>
        </p:txBody>
      </p:sp>
      <p:cxnSp>
        <p:nvCxnSpPr>
          <p:cNvPr id="13" name="Straight Connector 12">
            <a:extLst>
              <a:ext uri="{FF2B5EF4-FFF2-40B4-BE49-F238E27FC236}">
                <a16:creationId xmlns:a16="http://schemas.microsoft.com/office/drawing/2014/main" id="{91B80148-0222-4308-916E-4826AFCF3813}"/>
              </a:ext>
            </a:extLst>
          </p:cNvPr>
          <p:cNvCxnSpPr>
            <a:cxnSpLocks/>
          </p:cNvCxnSpPr>
          <p:nvPr/>
        </p:nvCxnSpPr>
        <p:spPr>
          <a:xfrm>
            <a:off x="2916438" y="3706774"/>
            <a:ext cx="8940282"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10505CE-8CDF-4F94-A94A-070BEEF4C23E}"/>
              </a:ext>
            </a:extLst>
          </p:cNvPr>
          <p:cNvSpPr/>
          <p:nvPr/>
        </p:nvSpPr>
        <p:spPr>
          <a:xfrm>
            <a:off x="2916438" y="4025106"/>
            <a:ext cx="8816773" cy="461665"/>
          </a:xfrm>
          <a:prstGeom prst="rect">
            <a:avLst/>
          </a:prstGeom>
        </p:spPr>
        <p:txBody>
          <a:bodyPr wrap="none">
            <a:spAutoFit/>
          </a:bodyPr>
          <a:lstStyle/>
          <a:p>
            <a:r>
              <a:rPr lang="en-US" sz="2400" dirty="0">
                <a:latin typeface="+mj-lt"/>
              </a:rPr>
              <a:t>…we recommend PaaS (Azure SQL Database or Managed Instance)</a:t>
            </a:r>
            <a:endParaRPr lang="en-IN" sz="2400" dirty="0">
              <a:latin typeface="+mj-lt"/>
            </a:endParaRPr>
          </a:p>
        </p:txBody>
      </p:sp>
      <p:sp>
        <p:nvSpPr>
          <p:cNvPr id="14" name="Rectangle 13">
            <a:extLst>
              <a:ext uri="{FF2B5EF4-FFF2-40B4-BE49-F238E27FC236}">
                <a16:creationId xmlns:a16="http://schemas.microsoft.com/office/drawing/2014/main" id="{D0E69E53-1992-4EFE-A0BD-1C4FFB7AC977}"/>
              </a:ext>
            </a:extLst>
          </p:cNvPr>
          <p:cNvSpPr/>
          <p:nvPr/>
        </p:nvSpPr>
        <p:spPr>
          <a:xfrm>
            <a:off x="2916438" y="3144875"/>
            <a:ext cx="8606651" cy="461665"/>
          </a:xfrm>
          <a:prstGeom prst="rect">
            <a:avLst/>
          </a:prstGeom>
        </p:spPr>
        <p:txBody>
          <a:bodyPr wrap="none">
            <a:spAutoFit/>
          </a:bodyPr>
          <a:lstStyle/>
          <a:p>
            <a:r>
              <a:rPr lang="en-US" sz="2400" dirty="0">
                <a:latin typeface="+mj-lt"/>
              </a:rPr>
              <a:t>…then IaaS (SQL Server on Azure VM) is the right solution for you.</a:t>
            </a:r>
            <a:endParaRPr lang="en-IN" sz="2400" dirty="0">
              <a:latin typeface="+mj-lt"/>
            </a:endParaRPr>
          </a:p>
        </p:txBody>
      </p:sp>
    </p:spTree>
    <p:extLst>
      <p:ext uri="{BB962C8B-B14F-4D97-AF65-F5344CB8AC3E}">
        <p14:creationId xmlns:p14="http://schemas.microsoft.com/office/powerpoint/2010/main" val="252393890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D5033-76C8-47CF-95C7-7B5198C7D6D2}"/>
              </a:ext>
            </a:extLst>
          </p:cNvPr>
          <p:cNvSpPr>
            <a:spLocks noGrp="1"/>
          </p:cNvSpPr>
          <p:nvPr>
            <p:ph type="title"/>
          </p:nvPr>
        </p:nvSpPr>
        <p:spPr/>
        <p:txBody>
          <a:bodyPr/>
          <a:lstStyle/>
          <a:p>
            <a:r>
              <a:rPr lang="en-US" dirty="0"/>
              <a:t>Two options to consider</a:t>
            </a:r>
            <a:endParaRPr lang="en-IN" dirty="0"/>
          </a:p>
        </p:txBody>
      </p:sp>
      <p:grpSp>
        <p:nvGrpSpPr>
          <p:cNvPr id="13" name="Group 12">
            <a:extLst>
              <a:ext uri="{FF2B5EF4-FFF2-40B4-BE49-F238E27FC236}">
                <a16:creationId xmlns:a16="http://schemas.microsoft.com/office/drawing/2014/main" id="{A7D7FD2D-2B60-486F-A627-4AC5F928F230}"/>
              </a:ext>
            </a:extLst>
          </p:cNvPr>
          <p:cNvGrpSpPr/>
          <p:nvPr/>
        </p:nvGrpSpPr>
        <p:grpSpPr>
          <a:xfrm>
            <a:off x="326998" y="1250066"/>
            <a:ext cx="2456524" cy="4913416"/>
            <a:chOff x="326998" y="1250066"/>
            <a:chExt cx="2456524" cy="4913416"/>
          </a:xfrm>
        </p:grpSpPr>
        <p:sp>
          <p:nvSpPr>
            <p:cNvPr id="4" name="Oval 3">
              <a:extLst>
                <a:ext uri="{FF2B5EF4-FFF2-40B4-BE49-F238E27FC236}">
                  <a16:creationId xmlns:a16="http://schemas.microsoft.com/office/drawing/2014/main" id="{DA1DF057-B9CC-4EC3-BA56-42E79C32D779}"/>
                </a:ext>
              </a:extLst>
            </p:cNvPr>
            <p:cNvSpPr/>
            <p:nvPr/>
          </p:nvSpPr>
          <p:spPr bwMode="auto">
            <a:xfrm>
              <a:off x="459915" y="1382983"/>
              <a:ext cx="2190690" cy="2190690"/>
            </a:xfrm>
            <a:prstGeom prst="ellipse">
              <a:avLst/>
            </a:prstGeom>
            <a:solidFill>
              <a:schemeClr val="tx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2400" dirty="0">
                  <a:latin typeface="+mj-lt"/>
                </a:rPr>
                <a:t>Reserved VM</a:t>
              </a:r>
              <a:br>
                <a:rPr lang="en-US" sz="2400" dirty="0">
                  <a:latin typeface="+mj-lt"/>
                </a:rPr>
              </a:br>
              <a:r>
                <a:rPr lang="en-US" sz="2400" dirty="0">
                  <a:latin typeface="+mj-lt"/>
                </a:rPr>
                <a:t>Instances (RIs)</a:t>
              </a:r>
            </a:p>
          </p:txBody>
        </p:sp>
        <p:sp>
          <p:nvSpPr>
            <p:cNvPr id="5" name="Oval 4">
              <a:extLst>
                <a:ext uri="{FF2B5EF4-FFF2-40B4-BE49-F238E27FC236}">
                  <a16:creationId xmlns:a16="http://schemas.microsoft.com/office/drawing/2014/main" id="{316ED57D-7DA0-47F0-93E8-A4754311702C}"/>
                </a:ext>
              </a:extLst>
            </p:cNvPr>
            <p:cNvSpPr/>
            <p:nvPr/>
          </p:nvSpPr>
          <p:spPr bwMode="auto">
            <a:xfrm>
              <a:off x="459915" y="3839875"/>
              <a:ext cx="2190690" cy="2190690"/>
            </a:xfrm>
            <a:prstGeom prst="ellipse">
              <a:avLst/>
            </a:prstGeom>
            <a:solidFill>
              <a:schemeClr val="tx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2400" dirty="0">
                  <a:latin typeface="+mj-lt"/>
                </a:rPr>
                <a:t>Azure Hybrid</a:t>
              </a:r>
              <a:br>
                <a:rPr lang="en-US" sz="2400" dirty="0">
                  <a:latin typeface="+mj-lt"/>
                </a:rPr>
              </a:br>
              <a:r>
                <a:rPr lang="en-US" sz="2400" dirty="0">
                  <a:latin typeface="+mj-lt"/>
                </a:rPr>
                <a:t>Benefit (AHB)</a:t>
              </a:r>
            </a:p>
          </p:txBody>
        </p:sp>
        <p:sp>
          <p:nvSpPr>
            <p:cNvPr id="7" name="Arc 6">
              <a:extLst>
                <a:ext uri="{FF2B5EF4-FFF2-40B4-BE49-F238E27FC236}">
                  <a16:creationId xmlns:a16="http://schemas.microsoft.com/office/drawing/2014/main" id="{3EFE85CA-CE31-461C-B608-41965366B776}"/>
                </a:ext>
              </a:extLst>
            </p:cNvPr>
            <p:cNvSpPr/>
            <p:nvPr/>
          </p:nvSpPr>
          <p:spPr>
            <a:xfrm>
              <a:off x="326998" y="1250066"/>
              <a:ext cx="2456524" cy="2456524"/>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sp>
          <p:nvSpPr>
            <p:cNvPr id="8" name="Arc 7">
              <a:extLst>
                <a:ext uri="{FF2B5EF4-FFF2-40B4-BE49-F238E27FC236}">
                  <a16:creationId xmlns:a16="http://schemas.microsoft.com/office/drawing/2014/main" id="{14A50EA4-7B39-4128-937C-A56CFE83EA27}"/>
                </a:ext>
              </a:extLst>
            </p:cNvPr>
            <p:cNvSpPr/>
            <p:nvPr/>
          </p:nvSpPr>
          <p:spPr>
            <a:xfrm>
              <a:off x="326998" y="3706958"/>
              <a:ext cx="2456524" cy="2456524"/>
            </a:xfrm>
            <a:prstGeom prst="arc">
              <a:avLst>
                <a:gd name="adj1" fmla="val 19401861"/>
                <a:gd name="adj2" fmla="val 16227276"/>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9" name="Rectangle 8">
            <a:extLst>
              <a:ext uri="{FF2B5EF4-FFF2-40B4-BE49-F238E27FC236}">
                <a16:creationId xmlns:a16="http://schemas.microsoft.com/office/drawing/2014/main" id="{071AA1BB-DD77-411C-9E78-20087C9B2D5A}"/>
              </a:ext>
            </a:extLst>
          </p:cNvPr>
          <p:cNvSpPr/>
          <p:nvPr/>
        </p:nvSpPr>
        <p:spPr>
          <a:xfrm>
            <a:off x="2916438" y="1554999"/>
            <a:ext cx="8772641" cy="1846659"/>
          </a:xfrm>
          <a:prstGeom prst="rect">
            <a:avLst/>
          </a:prstGeom>
        </p:spPr>
        <p:txBody>
          <a:bodyPr wrap="square" lIns="0" tIns="0" rIns="0" bIns="0">
            <a:spAutoFit/>
          </a:bodyPr>
          <a:lstStyle/>
          <a:p>
            <a:pPr marL="288925" lvl="1" indent="-288925">
              <a:spcBef>
                <a:spcPts val="600"/>
              </a:spcBef>
              <a:buFont typeface="Arial" panose="020B0604020202020204" pitchFamily="34" charset="0"/>
              <a:buChar char="•"/>
            </a:pPr>
            <a:r>
              <a:rPr lang="en-US" sz="2200" dirty="0">
                <a:solidFill>
                  <a:schemeClr val="tx2"/>
                </a:solidFill>
                <a:latin typeface="+mj-lt"/>
              </a:rPr>
              <a:t>Discounts up to 72% for 1 year or 3 year commitment for specific VM size in a region</a:t>
            </a:r>
          </a:p>
          <a:p>
            <a:pPr marL="288925" lvl="1" indent="-288925">
              <a:spcBef>
                <a:spcPts val="600"/>
              </a:spcBef>
              <a:buFont typeface="Arial" panose="020B0604020202020204" pitchFamily="34" charset="0"/>
              <a:buChar char="•"/>
            </a:pPr>
            <a:r>
              <a:rPr lang="en-US" sz="2200" dirty="0">
                <a:solidFill>
                  <a:schemeClr val="tx2"/>
                </a:solidFill>
                <a:latin typeface="+mj-lt"/>
              </a:rPr>
              <a:t>Can be exchanged or returned if needed (12% fee for returns, up to $50K per customer)</a:t>
            </a:r>
          </a:p>
          <a:p>
            <a:pPr marL="288925" lvl="1" indent="-288925">
              <a:spcBef>
                <a:spcPts val="600"/>
              </a:spcBef>
              <a:buFont typeface="Arial" panose="020B0604020202020204" pitchFamily="34" charset="0"/>
              <a:buChar char="•"/>
            </a:pPr>
            <a:r>
              <a:rPr lang="en-US" sz="2200" dirty="0">
                <a:solidFill>
                  <a:schemeClr val="tx2"/>
                </a:solidFill>
                <a:latin typeface="+mj-lt"/>
              </a:rPr>
              <a:t>Highly recommended for workloads, running 24/7 </a:t>
            </a:r>
          </a:p>
        </p:txBody>
      </p:sp>
      <p:sp>
        <p:nvSpPr>
          <p:cNvPr id="10" name="Rectangle 9">
            <a:extLst>
              <a:ext uri="{FF2B5EF4-FFF2-40B4-BE49-F238E27FC236}">
                <a16:creationId xmlns:a16="http://schemas.microsoft.com/office/drawing/2014/main" id="{6966C355-E345-4646-8A1F-B8A383FEFFB0}"/>
              </a:ext>
            </a:extLst>
          </p:cNvPr>
          <p:cNvSpPr/>
          <p:nvPr/>
        </p:nvSpPr>
        <p:spPr>
          <a:xfrm>
            <a:off x="2916438" y="4219640"/>
            <a:ext cx="8772641" cy="1431161"/>
          </a:xfrm>
          <a:prstGeom prst="rect">
            <a:avLst/>
          </a:prstGeom>
        </p:spPr>
        <p:txBody>
          <a:bodyPr wrap="square" lIns="0" tIns="0" rIns="0" bIns="0">
            <a:spAutoFit/>
          </a:bodyPr>
          <a:lstStyle/>
          <a:p>
            <a:pPr marL="288925" lvl="1" indent="-288925">
              <a:spcBef>
                <a:spcPts val="600"/>
              </a:spcBef>
              <a:buFont typeface="Arial" panose="020B0604020202020204" pitchFamily="34" charset="0"/>
              <a:buChar char="•"/>
            </a:pPr>
            <a:r>
              <a:rPr lang="en-US" sz="2200" dirty="0">
                <a:solidFill>
                  <a:schemeClr val="tx2"/>
                </a:solidFill>
                <a:latin typeface="+mj-lt"/>
              </a:rPr>
              <a:t>AHB for Windows Server – Allows to leverage Windows Server licenses with active SA of the customer for Windows Server VMs</a:t>
            </a:r>
          </a:p>
          <a:p>
            <a:pPr marL="288925" lvl="1" indent="-288925">
              <a:spcBef>
                <a:spcPts val="600"/>
              </a:spcBef>
              <a:buFont typeface="Arial" panose="020B0604020202020204" pitchFamily="34" charset="0"/>
              <a:buChar char="•"/>
            </a:pPr>
            <a:r>
              <a:rPr lang="en-US" sz="2200" dirty="0">
                <a:solidFill>
                  <a:schemeClr val="tx2"/>
                </a:solidFill>
                <a:latin typeface="+mj-lt"/>
              </a:rPr>
              <a:t>AHB for SQL Server – Allows to leverage SQL Server licenses with active SA of the customer for Azure SQL Database</a:t>
            </a:r>
          </a:p>
        </p:txBody>
      </p:sp>
      <p:cxnSp>
        <p:nvCxnSpPr>
          <p:cNvPr id="12" name="Straight Connector 11">
            <a:extLst>
              <a:ext uri="{FF2B5EF4-FFF2-40B4-BE49-F238E27FC236}">
                <a16:creationId xmlns:a16="http://schemas.microsoft.com/office/drawing/2014/main" id="{45C906FD-1F57-473B-B05A-9780DD012169}"/>
              </a:ext>
            </a:extLst>
          </p:cNvPr>
          <p:cNvCxnSpPr>
            <a:cxnSpLocks/>
          </p:cNvCxnSpPr>
          <p:nvPr/>
        </p:nvCxnSpPr>
        <p:spPr>
          <a:xfrm>
            <a:off x="2916438" y="3706774"/>
            <a:ext cx="8940282"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304008"/>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ome Apps don’t need Managed Instance</a:t>
            </a:r>
          </a:p>
        </p:txBody>
      </p:sp>
      <p:sp>
        <p:nvSpPr>
          <p:cNvPr id="14" name="Rectangle 13">
            <a:extLst>
              <a:ext uri="{FF2B5EF4-FFF2-40B4-BE49-F238E27FC236}">
                <a16:creationId xmlns:a16="http://schemas.microsoft.com/office/drawing/2014/main" id="{E42ADCF3-5D0D-49F3-9312-E27D846F6EBF}"/>
              </a:ext>
            </a:extLst>
          </p:cNvPr>
          <p:cNvSpPr/>
          <p:nvPr/>
        </p:nvSpPr>
        <p:spPr>
          <a:xfrm>
            <a:off x="913284" y="1367444"/>
            <a:ext cx="6537960" cy="441372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ct val="0"/>
              </a:spcBef>
              <a:spcAft>
                <a:spcPts val="900"/>
              </a:spcAft>
            </a:pPr>
            <a:r>
              <a:rPr lang="en-GB" sz="2800" dirty="0">
                <a:solidFill>
                  <a:schemeClr val="tx2"/>
                </a:solidFill>
                <a:latin typeface="+mj-lt"/>
              </a:rPr>
              <a:t>You can migrate some apps w/o any changes, today </a:t>
            </a:r>
          </a:p>
          <a:p>
            <a:pPr lvl="0" defTabSz="444500">
              <a:spcBef>
                <a:spcPts val="600"/>
              </a:spcBef>
              <a:spcAft>
                <a:spcPts val="900"/>
              </a:spcAft>
            </a:pPr>
            <a:r>
              <a:rPr lang="en-GB" sz="2800" dirty="0">
                <a:solidFill>
                  <a:schemeClr val="tx2"/>
                </a:solidFill>
                <a:latin typeface="+mj-lt"/>
              </a:rPr>
              <a:t>Starting migration now by</a:t>
            </a:r>
          </a:p>
          <a:p>
            <a:pPr marL="427038" lvl="0" indent="-290513" defTabSz="444500">
              <a:spcBef>
                <a:spcPct val="0"/>
              </a:spcBef>
              <a:spcAft>
                <a:spcPts val="1800"/>
              </a:spcAft>
              <a:buFont typeface="Arial" panose="020B0604020202020204" pitchFamily="34" charset="0"/>
              <a:buChar char="•"/>
            </a:pPr>
            <a:r>
              <a:rPr lang="en-GB" sz="2600" dirty="0">
                <a:solidFill>
                  <a:schemeClr val="tx2"/>
                </a:solidFill>
                <a:latin typeface="+mj-lt"/>
              </a:rPr>
              <a:t>Downloading and running Data </a:t>
            </a:r>
            <a:br>
              <a:rPr lang="en-GB" sz="2600" dirty="0">
                <a:solidFill>
                  <a:schemeClr val="tx2"/>
                </a:solidFill>
                <a:latin typeface="+mj-lt"/>
              </a:rPr>
            </a:br>
            <a:r>
              <a:rPr lang="en-GB" sz="2600" dirty="0">
                <a:solidFill>
                  <a:schemeClr val="tx2"/>
                </a:solidFill>
                <a:latin typeface="+mj-lt"/>
              </a:rPr>
              <a:t>Migration Assistant</a:t>
            </a:r>
          </a:p>
          <a:p>
            <a:pPr marL="427038" lvl="0" indent="-290513" defTabSz="444500">
              <a:spcBef>
                <a:spcPct val="0"/>
              </a:spcBef>
              <a:spcAft>
                <a:spcPts val="1800"/>
              </a:spcAft>
              <a:buFont typeface="Arial" panose="020B0604020202020204" pitchFamily="34" charset="0"/>
              <a:buChar char="•"/>
            </a:pPr>
            <a:r>
              <a:rPr lang="en-GB" sz="2600" dirty="0">
                <a:solidFill>
                  <a:schemeClr val="tx2"/>
                </a:solidFill>
                <a:latin typeface="+mj-lt"/>
              </a:rPr>
              <a:t>Automated assessment will identify databases that are safe to move, </a:t>
            </a:r>
            <a:br>
              <a:rPr lang="en-GB" sz="2600" dirty="0">
                <a:solidFill>
                  <a:schemeClr val="tx2"/>
                </a:solidFill>
                <a:latin typeface="+mj-lt"/>
              </a:rPr>
            </a:br>
            <a:r>
              <a:rPr lang="en-GB" sz="2600" dirty="0">
                <a:solidFill>
                  <a:schemeClr val="tx2"/>
                </a:solidFill>
                <a:latin typeface="+mj-lt"/>
              </a:rPr>
              <a:t>w/o changes</a:t>
            </a:r>
          </a:p>
        </p:txBody>
      </p:sp>
      <p:sp>
        <p:nvSpPr>
          <p:cNvPr id="15" name="Graphic 8">
            <a:extLst>
              <a:ext uri="{FF2B5EF4-FFF2-40B4-BE49-F238E27FC236}">
                <a16:creationId xmlns:a16="http://schemas.microsoft.com/office/drawing/2014/main" id="{B2742356-0216-4A26-8FF6-EF7C1ABDA28B}"/>
              </a:ext>
            </a:extLst>
          </p:cNvPr>
          <p:cNvSpPr/>
          <p:nvPr/>
        </p:nvSpPr>
        <p:spPr>
          <a:xfrm rot="10800000">
            <a:off x="365138" y="1470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pic>
        <p:nvPicPr>
          <p:cNvPr id="5" name="Picture 4">
            <a:extLst>
              <a:ext uri="{FF2B5EF4-FFF2-40B4-BE49-F238E27FC236}">
                <a16:creationId xmlns:a16="http://schemas.microsoft.com/office/drawing/2014/main" id="{1A5FCF3C-6037-4F65-B5C4-034EB1FCEC3C}"/>
              </a:ext>
            </a:extLst>
          </p:cNvPr>
          <p:cNvPicPr>
            <a:picLocks noChangeAspect="1"/>
          </p:cNvPicPr>
          <p:nvPr/>
        </p:nvPicPr>
        <p:blipFill>
          <a:blip r:embed="rId3"/>
          <a:stretch>
            <a:fillRect/>
          </a:stretch>
        </p:blipFill>
        <p:spPr>
          <a:xfrm>
            <a:off x="7589520" y="1778108"/>
            <a:ext cx="4386848" cy="2628592"/>
          </a:xfrm>
          <a:prstGeom prst="rect">
            <a:avLst/>
          </a:prstGeom>
        </p:spPr>
      </p:pic>
      <p:sp>
        <p:nvSpPr>
          <p:cNvPr id="16" name="Graphic 8">
            <a:extLst>
              <a:ext uri="{FF2B5EF4-FFF2-40B4-BE49-F238E27FC236}">
                <a16:creationId xmlns:a16="http://schemas.microsoft.com/office/drawing/2014/main" id="{31747441-8D3A-4A71-BEE2-2C6C03D0AA2A}"/>
              </a:ext>
            </a:extLst>
          </p:cNvPr>
          <p:cNvSpPr/>
          <p:nvPr/>
        </p:nvSpPr>
        <p:spPr>
          <a:xfrm rot="10800000">
            <a:off x="365138" y="250712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Tree>
    <p:extLst>
      <p:ext uri="{BB962C8B-B14F-4D97-AF65-F5344CB8AC3E}">
        <p14:creationId xmlns:p14="http://schemas.microsoft.com/office/powerpoint/2010/main" val="542768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anaged Instance: Destination for Even the Most Demanding Applications</a:t>
            </a:r>
          </a:p>
        </p:txBody>
      </p:sp>
      <p:grpSp>
        <p:nvGrpSpPr>
          <p:cNvPr id="10" name="Group 9">
            <a:extLst>
              <a:ext uri="{FF2B5EF4-FFF2-40B4-BE49-F238E27FC236}">
                <a16:creationId xmlns:a16="http://schemas.microsoft.com/office/drawing/2014/main" id="{6E8B9680-6910-42FC-A1F8-F102AAC33264}"/>
              </a:ext>
            </a:extLst>
          </p:cNvPr>
          <p:cNvGrpSpPr/>
          <p:nvPr/>
        </p:nvGrpSpPr>
        <p:grpSpPr>
          <a:xfrm>
            <a:off x="343218" y="1739789"/>
            <a:ext cx="1470342" cy="1470342"/>
            <a:chOff x="343218" y="1193019"/>
            <a:chExt cx="1470342" cy="1470342"/>
          </a:xfrm>
        </p:grpSpPr>
        <p:sp>
          <p:nvSpPr>
            <p:cNvPr id="11" name="Oval 10">
              <a:extLst>
                <a:ext uri="{FF2B5EF4-FFF2-40B4-BE49-F238E27FC236}">
                  <a16:creationId xmlns:a16="http://schemas.microsoft.com/office/drawing/2014/main" id="{084A1F41-A36D-4E10-BF39-33AEA41B0206}"/>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12" name="Arc 11">
              <a:extLst>
                <a:ext uri="{FF2B5EF4-FFF2-40B4-BE49-F238E27FC236}">
                  <a16:creationId xmlns:a16="http://schemas.microsoft.com/office/drawing/2014/main" id="{96FF97FE-9540-4ABD-BE1F-20A2ACB1CDB7}"/>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grpSp>
        <p:nvGrpSpPr>
          <p:cNvPr id="13" name="Group 12">
            <a:extLst>
              <a:ext uri="{FF2B5EF4-FFF2-40B4-BE49-F238E27FC236}">
                <a16:creationId xmlns:a16="http://schemas.microsoft.com/office/drawing/2014/main" id="{8926957A-96A4-4EE9-BC90-D9BE01435F16}"/>
              </a:ext>
            </a:extLst>
          </p:cNvPr>
          <p:cNvGrpSpPr/>
          <p:nvPr/>
        </p:nvGrpSpPr>
        <p:grpSpPr>
          <a:xfrm>
            <a:off x="343218" y="3530571"/>
            <a:ext cx="1470342" cy="1470342"/>
            <a:chOff x="343218" y="2937006"/>
            <a:chExt cx="1470342" cy="1470342"/>
          </a:xfrm>
        </p:grpSpPr>
        <p:sp>
          <p:nvSpPr>
            <p:cNvPr id="14" name="Oval 13">
              <a:extLst>
                <a:ext uri="{FF2B5EF4-FFF2-40B4-BE49-F238E27FC236}">
                  <a16:creationId xmlns:a16="http://schemas.microsoft.com/office/drawing/2014/main" id="{D956AF21-5175-4709-99F2-D80A116A84BB}"/>
                </a:ext>
              </a:extLst>
            </p:cNvPr>
            <p:cNvSpPr/>
            <p:nvPr/>
          </p:nvSpPr>
          <p:spPr bwMode="auto">
            <a:xfrm>
              <a:off x="465138" y="3058929"/>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15" name="Arc 14">
              <a:extLst>
                <a:ext uri="{FF2B5EF4-FFF2-40B4-BE49-F238E27FC236}">
                  <a16:creationId xmlns:a16="http://schemas.microsoft.com/office/drawing/2014/main" id="{246FE7D9-7BF4-4097-9FD4-B7002B1FF63F}"/>
                </a:ext>
              </a:extLst>
            </p:cNvPr>
            <p:cNvSpPr/>
            <p:nvPr/>
          </p:nvSpPr>
          <p:spPr>
            <a:xfrm flipH="1">
              <a:off x="343218" y="2937006"/>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grpSp>
        <p:nvGrpSpPr>
          <p:cNvPr id="16" name="Group 15">
            <a:extLst>
              <a:ext uri="{FF2B5EF4-FFF2-40B4-BE49-F238E27FC236}">
                <a16:creationId xmlns:a16="http://schemas.microsoft.com/office/drawing/2014/main" id="{119AEF49-38D0-42FE-8AA8-01B5DB343EA5}"/>
              </a:ext>
            </a:extLst>
          </p:cNvPr>
          <p:cNvGrpSpPr/>
          <p:nvPr/>
        </p:nvGrpSpPr>
        <p:grpSpPr>
          <a:xfrm>
            <a:off x="343218" y="5321351"/>
            <a:ext cx="1470342" cy="1470342"/>
            <a:chOff x="343218" y="4774581"/>
            <a:chExt cx="1470342" cy="1470342"/>
          </a:xfrm>
        </p:grpSpPr>
        <p:sp>
          <p:nvSpPr>
            <p:cNvPr id="17" name="Oval 16">
              <a:extLst>
                <a:ext uri="{FF2B5EF4-FFF2-40B4-BE49-F238E27FC236}">
                  <a16:creationId xmlns:a16="http://schemas.microsoft.com/office/drawing/2014/main" id="{DBB9A3F4-CABE-4B3B-A41C-7F4413C6E1FA}"/>
                </a:ext>
              </a:extLst>
            </p:cNvPr>
            <p:cNvSpPr/>
            <p:nvPr/>
          </p:nvSpPr>
          <p:spPr bwMode="auto">
            <a:xfrm>
              <a:off x="465138" y="4896504"/>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18" name="Arc 17">
              <a:extLst>
                <a:ext uri="{FF2B5EF4-FFF2-40B4-BE49-F238E27FC236}">
                  <a16:creationId xmlns:a16="http://schemas.microsoft.com/office/drawing/2014/main" id="{EA6F7791-DCC0-4046-9915-AB099F442F81}"/>
                </a:ext>
              </a:extLst>
            </p:cNvPr>
            <p:cNvSpPr/>
            <p:nvPr/>
          </p:nvSpPr>
          <p:spPr>
            <a:xfrm>
              <a:off x="343218" y="4774581"/>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19" name="Rectangle 18">
            <a:extLst>
              <a:ext uri="{FF2B5EF4-FFF2-40B4-BE49-F238E27FC236}">
                <a16:creationId xmlns:a16="http://schemas.microsoft.com/office/drawing/2014/main" id="{F9864DE8-5150-43CB-BCE2-8C8BAB71FA02}"/>
              </a:ext>
            </a:extLst>
          </p:cNvPr>
          <p:cNvSpPr/>
          <p:nvPr/>
        </p:nvSpPr>
        <p:spPr>
          <a:xfrm>
            <a:off x="2118360" y="1774769"/>
            <a:ext cx="9852977" cy="1354217"/>
          </a:xfrm>
          <a:prstGeom prst="rect">
            <a:avLst/>
          </a:prstGeom>
        </p:spPr>
        <p:txBody>
          <a:bodyPr wrap="square" lIns="0" tIns="0" rIns="0" bIns="0">
            <a:spAutoFit/>
          </a:bodyPr>
          <a:lstStyle/>
          <a:p>
            <a:r>
              <a:rPr lang="en-US" sz="3200" dirty="0">
                <a:latin typeface="+mj-lt"/>
              </a:rPr>
              <a:t>Offers full security &amp; isolation</a:t>
            </a:r>
          </a:p>
          <a:p>
            <a:pPr marL="274320" lvl="1" indent="-274320" defTabSz="932384">
              <a:spcAft>
                <a:spcPts val="600"/>
              </a:spcAft>
              <a:buSzPct val="90000"/>
              <a:buFont typeface="Arial" panose="020B0604020202020204" pitchFamily="34" charset="0"/>
              <a:buChar char="•"/>
            </a:pPr>
            <a:r>
              <a:rPr lang="en-US" sz="2400" dirty="0" err="1">
                <a:solidFill>
                  <a:schemeClr val="tx2"/>
                </a:solidFill>
                <a:latin typeface="+mj-lt"/>
              </a:rPr>
              <a:t>VNET</a:t>
            </a:r>
            <a:r>
              <a:rPr lang="en-US" sz="2400" dirty="0">
                <a:solidFill>
                  <a:schemeClr val="tx2"/>
                </a:solidFill>
                <a:latin typeface="+mj-lt"/>
              </a:rPr>
              <a:t> enables full isolation, without public IP addresses</a:t>
            </a:r>
          </a:p>
          <a:p>
            <a:pPr marL="274320" lvl="1" indent="-274320" defTabSz="932384">
              <a:spcAft>
                <a:spcPts val="600"/>
              </a:spcAft>
              <a:buSzPct val="90000"/>
              <a:buFont typeface="Arial" panose="020B0604020202020204" pitchFamily="34" charset="0"/>
              <a:buChar char="•"/>
            </a:pPr>
            <a:r>
              <a:rPr lang="en-US" sz="2400" dirty="0">
                <a:solidFill>
                  <a:schemeClr val="tx2"/>
                </a:solidFill>
                <a:latin typeface="+mj-lt"/>
              </a:rPr>
              <a:t>VPN can make it part of your enterprise network</a:t>
            </a:r>
          </a:p>
        </p:txBody>
      </p:sp>
      <p:sp>
        <p:nvSpPr>
          <p:cNvPr id="20" name="Rectangle 19">
            <a:extLst>
              <a:ext uri="{FF2B5EF4-FFF2-40B4-BE49-F238E27FC236}">
                <a16:creationId xmlns:a16="http://schemas.microsoft.com/office/drawing/2014/main" id="{199AFA77-3E3D-49EF-87B9-C34BBE4FE45D}"/>
              </a:ext>
            </a:extLst>
          </p:cNvPr>
          <p:cNvSpPr/>
          <p:nvPr/>
        </p:nvSpPr>
        <p:spPr>
          <a:xfrm>
            <a:off x="2118360" y="3588633"/>
            <a:ext cx="9852977" cy="1354217"/>
          </a:xfrm>
          <a:prstGeom prst="rect">
            <a:avLst/>
          </a:prstGeom>
        </p:spPr>
        <p:txBody>
          <a:bodyPr wrap="square" lIns="0" tIns="0" rIns="0" bIns="0">
            <a:spAutoFit/>
          </a:bodyPr>
          <a:lstStyle/>
          <a:p>
            <a:r>
              <a:rPr lang="en-US" sz="3200" dirty="0">
                <a:latin typeface="+mj-lt"/>
              </a:rPr>
              <a:t>Decreases cost and risk of migration</a:t>
            </a:r>
          </a:p>
          <a:p>
            <a:pPr marL="274320" lvl="1" indent="-274320" defTabSz="932384">
              <a:spcAft>
                <a:spcPts val="600"/>
              </a:spcAft>
              <a:buSzPct val="90000"/>
              <a:buFont typeface="Arial" panose="020B0604020202020204" pitchFamily="34" charset="0"/>
              <a:buChar char="•"/>
            </a:pPr>
            <a:r>
              <a:rPr lang="en-US" sz="2400" dirty="0">
                <a:solidFill>
                  <a:schemeClr val="tx2"/>
                </a:solidFill>
                <a:latin typeface="+mj-lt"/>
              </a:rPr>
              <a:t>Instance design increases compatibility with on-premise SQL Server</a:t>
            </a:r>
          </a:p>
          <a:p>
            <a:pPr marL="274320" lvl="1" indent="-274320" defTabSz="932384">
              <a:spcAft>
                <a:spcPts val="600"/>
              </a:spcAft>
              <a:buSzPct val="90000"/>
              <a:buFont typeface="Arial" panose="020B0604020202020204" pitchFamily="34" charset="0"/>
              <a:buChar char="•"/>
            </a:pPr>
            <a:r>
              <a:rPr lang="en-US" sz="2400" dirty="0">
                <a:solidFill>
                  <a:schemeClr val="tx2"/>
                </a:solidFill>
                <a:latin typeface="+mj-lt"/>
              </a:rPr>
              <a:t>Database Migration Service further simplifies and automates migration</a:t>
            </a:r>
          </a:p>
        </p:txBody>
      </p:sp>
      <p:sp>
        <p:nvSpPr>
          <p:cNvPr id="21" name="Rectangle 20">
            <a:extLst>
              <a:ext uri="{FF2B5EF4-FFF2-40B4-BE49-F238E27FC236}">
                <a16:creationId xmlns:a16="http://schemas.microsoft.com/office/drawing/2014/main" id="{F3AEB633-D03A-48B4-8519-1520FC0884EE}"/>
              </a:ext>
            </a:extLst>
          </p:cNvPr>
          <p:cNvSpPr/>
          <p:nvPr/>
        </p:nvSpPr>
        <p:spPr>
          <a:xfrm>
            <a:off x="2118360" y="5579469"/>
            <a:ext cx="9852977" cy="861774"/>
          </a:xfrm>
          <a:prstGeom prst="rect">
            <a:avLst/>
          </a:prstGeom>
        </p:spPr>
        <p:txBody>
          <a:bodyPr wrap="square" lIns="0" tIns="0" rIns="0" bIns="0">
            <a:spAutoFit/>
          </a:bodyPr>
          <a:lstStyle/>
          <a:p>
            <a:r>
              <a:rPr lang="en-US" sz="3200" dirty="0">
                <a:latin typeface="+mj-lt"/>
              </a:rPr>
              <a:t>Offers new business model and pricing</a:t>
            </a:r>
          </a:p>
          <a:p>
            <a:r>
              <a:rPr lang="en-US" sz="2400" dirty="0">
                <a:solidFill>
                  <a:schemeClr val="tx2"/>
                </a:solidFill>
                <a:latin typeface="+mj-lt"/>
              </a:rPr>
              <a:t>Ability to use on-premise SQL licenses</a:t>
            </a:r>
          </a:p>
        </p:txBody>
      </p:sp>
      <p:cxnSp>
        <p:nvCxnSpPr>
          <p:cNvPr id="25" name="Straight Connector 24">
            <a:extLst>
              <a:ext uri="{FF2B5EF4-FFF2-40B4-BE49-F238E27FC236}">
                <a16:creationId xmlns:a16="http://schemas.microsoft.com/office/drawing/2014/main" id="{E7C4D4F4-8ABF-4511-B6C0-74EC32A92EB2}"/>
              </a:ext>
            </a:extLst>
          </p:cNvPr>
          <p:cNvCxnSpPr/>
          <p:nvPr/>
        </p:nvCxnSpPr>
        <p:spPr>
          <a:xfrm>
            <a:off x="2240280" y="3370351"/>
            <a:ext cx="958596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3EE5686-8E36-4314-813B-748A6D92FF8D}"/>
              </a:ext>
            </a:extLst>
          </p:cNvPr>
          <p:cNvCxnSpPr/>
          <p:nvPr/>
        </p:nvCxnSpPr>
        <p:spPr>
          <a:xfrm>
            <a:off x="2240280" y="5161133"/>
            <a:ext cx="958596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Freeform 13">
            <a:extLst>
              <a:ext uri="{FF2B5EF4-FFF2-40B4-BE49-F238E27FC236}">
                <a16:creationId xmlns:a16="http://schemas.microsoft.com/office/drawing/2014/main" id="{B3DE2DDF-2F5B-4570-B7B6-843D232DDFEF}"/>
              </a:ext>
            </a:extLst>
          </p:cNvPr>
          <p:cNvSpPr/>
          <p:nvPr/>
        </p:nvSpPr>
        <p:spPr>
          <a:xfrm>
            <a:off x="774733" y="3765120"/>
            <a:ext cx="607312" cy="1001242"/>
          </a:xfrm>
          <a:custGeom>
            <a:avLst/>
            <a:gdLst/>
            <a:ahLst/>
            <a:cxnLst/>
            <a:rect l="l" t="t" r="r" b="b"/>
            <a:pathLst>
              <a:path w="973986" h="1605756">
                <a:moveTo>
                  <a:pt x="456564" y="628057"/>
                </a:moveTo>
                <a:lnTo>
                  <a:pt x="525533" y="628057"/>
                </a:lnTo>
                <a:lnTo>
                  <a:pt x="525533" y="692348"/>
                </a:lnTo>
                <a:cubicBezTo>
                  <a:pt x="554714" y="693510"/>
                  <a:pt x="586966" y="699654"/>
                  <a:pt x="622090" y="710822"/>
                </a:cubicBezTo>
                <a:lnTo>
                  <a:pt x="601399" y="788987"/>
                </a:lnTo>
                <a:cubicBezTo>
                  <a:pt x="569212" y="766763"/>
                  <a:pt x="454263" y="735345"/>
                  <a:pt x="442769" y="805080"/>
                </a:cubicBezTo>
                <a:cubicBezTo>
                  <a:pt x="443535" y="868687"/>
                  <a:pt x="676499" y="867919"/>
                  <a:pt x="638182" y="1016588"/>
                </a:cubicBezTo>
                <a:cubicBezTo>
                  <a:pt x="630128" y="1039244"/>
                  <a:pt x="609170" y="1101596"/>
                  <a:pt x="525533" y="1117085"/>
                </a:cubicBezTo>
                <a:lnTo>
                  <a:pt x="525533" y="1191223"/>
                </a:lnTo>
                <a:lnTo>
                  <a:pt x="456564" y="1191223"/>
                </a:lnTo>
                <a:lnTo>
                  <a:pt x="456564" y="1119715"/>
                </a:lnTo>
                <a:cubicBezTo>
                  <a:pt x="423182" y="1118606"/>
                  <a:pt x="383772" y="1110436"/>
                  <a:pt x="337016" y="1094753"/>
                </a:cubicBezTo>
                <a:lnTo>
                  <a:pt x="357707" y="1018886"/>
                </a:lnTo>
                <a:cubicBezTo>
                  <a:pt x="412882" y="1042642"/>
                  <a:pt x="516336" y="1070997"/>
                  <a:pt x="537027" y="1000494"/>
                </a:cubicBezTo>
                <a:cubicBezTo>
                  <a:pt x="550821" y="922329"/>
                  <a:pt x="311726" y="954516"/>
                  <a:pt x="343912" y="793586"/>
                </a:cubicBezTo>
                <a:cubicBezTo>
                  <a:pt x="349927" y="747779"/>
                  <a:pt x="389465" y="707840"/>
                  <a:pt x="456564" y="695594"/>
                </a:cubicBezTo>
                <a:close/>
                <a:moveTo>
                  <a:pt x="251903" y="504058"/>
                </a:moveTo>
                <a:lnTo>
                  <a:pt x="251903" y="624512"/>
                </a:lnTo>
                <a:lnTo>
                  <a:pt x="251903" y="874270"/>
                </a:lnTo>
                <a:lnTo>
                  <a:pt x="251903" y="984998"/>
                </a:lnTo>
                <a:lnTo>
                  <a:pt x="51568" y="984998"/>
                </a:lnTo>
                <a:lnTo>
                  <a:pt x="486993" y="1421189"/>
                </a:lnTo>
                <a:lnTo>
                  <a:pt x="922418" y="984998"/>
                </a:lnTo>
                <a:lnTo>
                  <a:pt x="722083" y="984998"/>
                </a:lnTo>
                <a:lnTo>
                  <a:pt x="722083" y="932376"/>
                </a:lnTo>
                <a:lnTo>
                  <a:pt x="722083" y="658051"/>
                </a:lnTo>
                <a:lnTo>
                  <a:pt x="722083" y="504058"/>
                </a:lnTo>
                <a:lnTo>
                  <a:pt x="546953" y="504058"/>
                </a:lnTo>
                <a:lnTo>
                  <a:pt x="332835" y="504058"/>
                </a:lnTo>
                <a:close/>
                <a:moveTo>
                  <a:pt x="671504" y="0"/>
                </a:moveTo>
                <a:lnTo>
                  <a:pt x="551335" y="486326"/>
                </a:lnTo>
                <a:lnTo>
                  <a:pt x="749925" y="486326"/>
                </a:lnTo>
                <a:lnTo>
                  <a:pt x="749925" y="658051"/>
                </a:lnTo>
                <a:lnTo>
                  <a:pt x="893571" y="658051"/>
                </a:lnTo>
                <a:lnTo>
                  <a:pt x="749925" y="887838"/>
                </a:lnTo>
                <a:lnTo>
                  <a:pt x="749925" y="964200"/>
                </a:lnTo>
                <a:lnTo>
                  <a:pt x="973986" y="964200"/>
                </a:lnTo>
                <a:lnTo>
                  <a:pt x="486993" y="1457970"/>
                </a:lnTo>
                <a:lnTo>
                  <a:pt x="429782" y="1399963"/>
                </a:lnTo>
                <a:lnTo>
                  <a:pt x="301135" y="1605756"/>
                </a:lnTo>
                <a:lnTo>
                  <a:pt x="351754" y="1320849"/>
                </a:lnTo>
                <a:lnTo>
                  <a:pt x="0" y="964200"/>
                </a:lnTo>
                <a:lnTo>
                  <a:pt x="224061" y="964200"/>
                </a:lnTo>
                <a:lnTo>
                  <a:pt x="224061" y="874338"/>
                </a:lnTo>
                <a:lnTo>
                  <a:pt x="83819" y="874680"/>
                </a:lnTo>
                <a:lnTo>
                  <a:pt x="224061" y="665951"/>
                </a:lnTo>
                <a:lnTo>
                  <a:pt x="224061" y="486326"/>
                </a:lnTo>
                <a:lnTo>
                  <a:pt x="344749" y="48632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8" name="Freeform 24">
            <a:extLst>
              <a:ext uri="{FF2B5EF4-FFF2-40B4-BE49-F238E27FC236}">
                <a16:creationId xmlns:a16="http://schemas.microsoft.com/office/drawing/2014/main" id="{C953A115-8501-4DE1-B763-49A33735CC67}"/>
              </a:ext>
            </a:extLst>
          </p:cNvPr>
          <p:cNvSpPr/>
          <p:nvPr>
            <p:custDataLst>
              <p:tags r:id="rId1"/>
            </p:custDataLst>
          </p:nvPr>
        </p:nvSpPr>
        <p:spPr bwMode="auto">
          <a:xfrm>
            <a:off x="790073" y="5727693"/>
            <a:ext cx="576633" cy="657659"/>
          </a:xfrm>
          <a:custGeom>
            <a:avLst/>
            <a:gdLst/>
            <a:ahLst/>
            <a:cxnLst/>
            <a:rect l="l" t="t" r="r" b="b"/>
            <a:pathLst>
              <a:path w="1910303" h="2178730">
                <a:moveTo>
                  <a:pt x="878649" y="416617"/>
                </a:moveTo>
                <a:lnTo>
                  <a:pt x="1055962" y="416617"/>
                </a:lnTo>
                <a:lnTo>
                  <a:pt x="1055962" y="560032"/>
                </a:lnTo>
                <a:cubicBezTo>
                  <a:pt x="1138535" y="562205"/>
                  <a:pt x="1200247" y="573505"/>
                  <a:pt x="1272389" y="593931"/>
                </a:cubicBezTo>
                <a:lnTo>
                  <a:pt x="1272389" y="862508"/>
                </a:lnTo>
                <a:cubicBezTo>
                  <a:pt x="1149400" y="797320"/>
                  <a:pt x="996423" y="767333"/>
                  <a:pt x="946445" y="799927"/>
                </a:cubicBezTo>
                <a:cubicBezTo>
                  <a:pt x="897336" y="819484"/>
                  <a:pt x="901682" y="885976"/>
                  <a:pt x="936015" y="909444"/>
                </a:cubicBezTo>
                <a:cubicBezTo>
                  <a:pt x="979040" y="969853"/>
                  <a:pt x="1353224" y="1028957"/>
                  <a:pt x="1319325" y="1313615"/>
                </a:cubicBezTo>
                <a:cubicBezTo>
                  <a:pt x="1302811" y="1511788"/>
                  <a:pt x="1127235" y="1575673"/>
                  <a:pt x="1058570" y="1595230"/>
                </a:cubicBezTo>
                <a:lnTo>
                  <a:pt x="1058570" y="1762113"/>
                </a:lnTo>
                <a:lnTo>
                  <a:pt x="881256" y="1762113"/>
                </a:lnTo>
                <a:lnTo>
                  <a:pt x="881256" y="1616090"/>
                </a:lnTo>
                <a:cubicBezTo>
                  <a:pt x="776519" y="1613483"/>
                  <a:pt x="649619" y="1584800"/>
                  <a:pt x="602248" y="1553509"/>
                </a:cubicBezTo>
                <a:lnTo>
                  <a:pt x="602248" y="1274501"/>
                </a:lnTo>
                <a:cubicBezTo>
                  <a:pt x="699162" y="1357943"/>
                  <a:pt x="841708" y="1391841"/>
                  <a:pt x="920369" y="1384018"/>
                </a:cubicBezTo>
                <a:cubicBezTo>
                  <a:pt x="996858" y="1375761"/>
                  <a:pt x="999031" y="1293189"/>
                  <a:pt x="962090" y="1261464"/>
                </a:cubicBezTo>
                <a:cubicBezTo>
                  <a:pt x="910809" y="1188887"/>
                  <a:pt x="528367" y="1163246"/>
                  <a:pt x="597033" y="812965"/>
                </a:cubicBezTo>
                <a:cubicBezTo>
                  <a:pt x="627889" y="634348"/>
                  <a:pt x="807375" y="576981"/>
                  <a:pt x="881256" y="570463"/>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4"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6" y="2095220"/>
                  <a:pt x="4474" y="2013200"/>
                </a:cubicBezTo>
                <a:lnTo>
                  <a:pt x="0" y="559222"/>
                </a:lnTo>
                <a:close/>
              </a:path>
            </a:pathLst>
          </a:custGeom>
          <a:solidFill>
            <a:schemeClr val="bg1"/>
          </a:solidFill>
          <a:ln>
            <a:noFill/>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1"/>
              </a:solidFill>
            </a:endParaRPr>
          </a:p>
        </p:txBody>
      </p:sp>
      <p:sp>
        <p:nvSpPr>
          <p:cNvPr id="29" name="Freeform 27">
            <a:extLst>
              <a:ext uri="{FF2B5EF4-FFF2-40B4-BE49-F238E27FC236}">
                <a16:creationId xmlns:a16="http://schemas.microsoft.com/office/drawing/2014/main" id="{8B4AD665-2EC1-4D72-8755-8CEE141596A7}"/>
              </a:ext>
            </a:extLst>
          </p:cNvPr>
          <p:cNvSpPr/>
          <p:nvPr/>
        </p:nvSpPr>
        <p:spPr>
          <a:xfrm>
            <a:off x="796376" y="2108003"/>
            <a:ext cx="564027" cy="733915"/>
          </a:xfrm>
          <a:custGeom>
            <a:avLst/>
            <a:gdLst/>
            <a:ahLst/>
            <a:cxnLst/>
            <a:rect l="l" t="t" r="r" b="b"/>
            <a:pathLst>
              <a:path w="958850" h="1247661">
                <a:moveTo>
                  <a:pt x="792516" y="245638"/>
                </a:moveTo>
                <a:cubicBezTo>
                  <a:pt x="831104" y="242291"/>
                  <a:pt x="868920" y="242265"/>
                  <a:pt x="905411" y="245967"/>
                </a:cubicBezTo>
                <a:cubicBezTo>
                  <a:pt x="904187" y="404753"/>
                  <a:pt x="900700" y="588443"/>
                  <a:pt x="899849" y="741852"/>
                </a:cubicBezTo>
                <a:cubicBezTo>
                  <a:pt x="898917" y="861809"/>
                  <a:pt x="766317" y="1131361"/>
                  <a:pt x="476841" y="1184272"/>
                </a:cubicBezTo>
                <a:cubicBezTo>
                  <a:pt x="160284" y="1117354"/>
                  <a:pt x="59433" y="864797"/>
                  <a:pt x="56632" y="741852"/>
                </a:cubicBezTo>
                <a:cubicBezTo>
                  <a:pt x="56727" y="724512"/>
                  <a:pt x="56758" y="706849"/>
                  <a:pt x="56527" y="688929"/>
                </a:cubicBezTo>
                <a:cubicBezTo>
                  <a:pt x="214107" y="455439"/>
                  <a:pt x="522231" y="269078"/>
                  <a:pt x="792516" y="245638"/>
                </a:cubicBezTo>
                <a:close/>
                <a:moveTo>
                  <a:pt x="459310" y="64544"/>
                </a:moveTo>
                <a:cubicBezTo>
                  <a:pt x="628769" y="61165"/>
                  <a:pt x="804975" y="103004"/>
                  <a:pt x="905825" y="200312"/>
                </a:cubicBezTo>
                <a:cubicBezTo>
                  <a:pt x="905791" y="206483"/>
                  <a:pt x="905753" y="212703"/>
                  <a:pt x="905656" y="218968"/>
                </a:cubicBezTo>
                <a:cubicBezTo>
                  <a:pt x="552313" y="213728"/>
                  <a:pt x="331778" y="268639"/>
                  <a:pt x="54545" y="431096"/>
                </a:cubicBezTo>
                <a:cubicBezTo>
                  <a:pt x="53605" y="351641"/>
                  <a:pt x="52875" y="273004"/>
                  <a:pt x="53275" y="200089"/>
                </a:cubicBezTo>
                <a:cubicBezTo>
                  <a:pt x="127138" y="116522"/>
                  <a:pt x="289851" y="67924"/>
                  <a:pt x="459310" y="64544"/>
                </a:cubicBezTo>
                <a:close/>
                <a:moveTo>
                  <a:pt x="460320" y="30559"/>
                </a:moveTo>
                <a:cubicBezTo>
                  <a:pt x="278266" y="35845"/>
                  <a:pt x="102548" y="95174"/>
                  <a:pt x="29000" y="192567"/>
                </a:cubicBezTo>
                <a:cubicBezTo>
                  <a:pt x="28006" y="373716"/>
                  <a:pt x="30187" y="564390"/>
                  <a:pt x="29193" y="745539"/>
                </a:cubicBezTo>
                <a:cubicBezTo>
                  <a:pt x="32175" y="876396"/>
                  <a:pt x="139515" y="1138447"/>
                  <a:pt x="476443" y="1209671"/>
                </a:cubicBezTo>
                <a:cubicBezTo>
                  <a:pt x="784547" y="1153355"/>
                  <a:pt x="925680" y="900250"/>
                  <a:pt x="926674" y="745539"/>
                </a:cubicBezTo>
                <a:cubicBezTo>
                  <a:pt x="927667" y="566348"/>
                  <a:pt x="928662" y="371996"/>
                  <a:pt x="929655" y="192805"/>
                </a:cubicBezTo>
                <a:cubicBezTo>
                  <a:pt x="830764" y="74029"/>
                  <a:pt x="642374" y="25273"/>
                  <a:pt x="460320" y="30559"/>
                </a:cubicBezTo>
                <a:close/>
                <a:moveTo>
                  <a:pt x="460772" y="543"/>
                </a:moveTo>
                <a:cubicBezTo>
                  <a:pt x="653786" y="-5932"/>
                  <a:pt x="853546" y="45141"/>
                  <a:pt x="958850" y="171619"/>
                </a:cubicBezTo>
                <a:cubicBezTo>
                  <a:pt x="957792" y="362429"/>
                  <a:pt x="956733" y="562623"/>
                  <a:pt x="955675" y="753433"/>
                </a:cubicBezTo>
                <a:cubicBezTo>
                  <a:pt x="954617" y="918176"/>
                  <a:pt x="804333" y="1187694"/>
                  <a:pt x="476250" y="1247661"/>
                </a:cubicBezTo>
                <a:cubicBezTo>
                  <a:pt x="117475" y="1171818"/>
                  <a:pt x="3175" y="892775"/>
                  <a:pt x="0" y="753433"/>
                </a:cubicBezTo>
                <a:cubicBezTo>
                  <a:pt x="1058" y="560537"/>
                  <a:pt x="2117" y="367643"/>
                  <a:pt x="3175" y="174747"/>
                </a:cubicBezTo>
                <a:cubicBezTo>
                  <a:pt x="81492" y="71038"/>
                  <a:pt x="267758" y="7017"/>
                  <a:pt x="460772" y="543"/>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47051938"/>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ll Security &amp; Isolation</a:t>
            </a:r>
          </a:p>
        </p:txBody>
      </p:sp>
      <p:sp>
        <p:nvSpPr>
          <p:cNvPr id="4" name="Rectangle 3">
            <a:extLst/>
          </p:cNvPr>
          <p:cNvSpPr/>
          <p:nvPr/>
        </p:nvSpPr>
        <p:spPr bwMode="auto">
          <a:xfrm>
            <a:off x="473973" y="1934038"/>
            <a:ext cx="4167475" cy="3277841"/>
          </a:xfrm>
          <a:prstGeom prst="rect">
            <a:avLst/>
          </a:prstGeom>
          <a:noFill/>
          <a:ln w="190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Rectangle 4">
            <a:extLst/>
          </p:cNvPr>
          <p:cNvSpPr/>
          <p:nvPr/>
        </p:nvSpPr>
        <p:spPr bwMode="auto">
          <a:xfrm>
            <a:off x="555585" y="2018332"/>
            <a:ext cx="4004250" cy="3109254"/>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Callout: Line with Accent Bar 5">
            <a:extLst/>
          </p:cNvPr>
          <p:cNvSpPr/>
          <p:nvPr/>
        </p:nvSpPr>
        <p:spPr bwMode="auto">
          <a:xfrm rot="5400000">
            <a:off x="9326653" y="1742931"/>
            <a:ext cx="824729" cy="4440272"/>
          </a:xfrm>
          <a:prstGeom prst="accentCallout1">
            <a:avLst>
              <a:gd name="adj1" fmla="val 49897"/>
              <a:gd name="adj2" fmla="val -6282"/>
              <a:gd name="adj3" fmla="val 49731"/>
              <a:gd name="adj4" fmla="val -69121"/>
            </a:avLst>
          </a:prstGeom>
          <a:solidFill>
            <a:schemeClr val="bg1"/>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extBox 6"/>
          <p:cNvSpPr txBox="1"/>
          <p:nvPr/>
        </p:nvSpPr>
        <p:spPr>
          <a:xfrm>
            <a:off x="892590" y="3293848"/>
            <a:ext cx="1146147" cy="184666"/>
          </a:xfrm>
          <a:prstGeom prst="rect">
            <a:avLst/>
          </a:prstGeom>
          <a:noFill/>
        </p:spPr>
        <p:txBody>
          <a:bodyPr wrap="none" lIns="0" tIns="0" rIns="0" bIns="0" rtlCol="0">
            <a:spAutoFit/>
          </a:bodyPr>
          <a:lstStyle/>
          <a:p>
            <a:pPr algn="ctr" defTabSz="932563"/>
            <a:r>
              <a:rPr lang="en-US" sz="1200" b="1" dirty="0">
                <a:solidFill>
                  <a:schemeClr val="tx2"/>
                </a:solidFill>
              </a:rPr>
              <a:t>SQL Instance #1</a:t>
            </a:r>
          </a:p>
        </p:txBody>
      </p:sp>
      <p:sp>
        <p:nvSpPr>
          <p:cNvPr id="8" name="TextBox 7"/>
          <p:cNvSpPr txBox="1"/>
          <p:nvPr/>
        </p:nvSpPr>
        <p:spPr>
          <a:xfrm>
            <a:off x="2957510" y="3293848"/>
            <a:ext cx="1146147" cy="184666"/>
          </a:xfrm>
          <a:prstGeom prst="rect">
            <a:avLst/>
          </a:prstGeom>
          <a:noFill/>
        </p:spPr>
        <p:txBody>
          <a:bodyPr wrap="none" lIns="0" tIns="0" rIns="0" bIns="0" rtlCol="0">
            <a:spAutoFit/>
          </a:bodyPr>
          <a:lstStyle/>
          <a:p>
            <a:pPr algn="ctr" defTabSz="932563"/>
            <a:r>
              <a:rPr lang="en-US" sz="1200" b="1" dirty="0">
                <a:solidFill>
                  <a:schemeClr val="tx2"/>
                </a:solidFill>
              </a:rPr>
              <a:t>SQL Instance #2</a:t>
            </a:r>
          </a:p>
        </p:txBody>
      </p:sp>
      <p:graphicFrame>
        <p:nvGraphicFramePr>
          <p:cNvPr id="9" name="Object 8">
            <a:extLst/>
          </p:cNvPr>
          <p:cNvGraphicFramePr>
            <a:graphicFrameLocks noChangeAspect="1"/>
          </p:cNvGraphicFramePr>
          <p:nvPr>
            <p:extLst/>
          </p:nvPr>
        </p:nvGraphicFramePr>
        <p:xfrm>
          <a:off x="11202408" y="3651321"/>
          <a:ext cx="614013" cy="613569"/>
        </p:xfrm>
        <a:graphic>
          <a:graphicData uri="http://schemas.openxmlformats.org/presentationml/2006/ole">
            <mc:AlternateContent xmlns:mc="http://schemas.openxmlformats.org/markup-compatibility/2006">
              <mc:Choice xmlns:v="urn:schemas-microsoft-com:vml" Requires="v">
                <p:oleObj spid="_x0000_s3074" name="CorelDRAW" r:id="rId4" imgW="2192109" imgH="2190886" progId="CorelDraw.Graphic.17">
                  <p:embed/>
                </p:oleObj>
              </mc:Choice>
              <mc:Fallback>
                <p:oleObj name="CorelDRAW" r:id="rId4" imgW="2192109" imgH="2190886" progId="CorelDraw.Graphic.17">
                  <p:embed/>
                  <p:pic>
                    <p:nvPicPr>
                      <p:cNvPr id="9" name="Object 8">
                        <a:extLst/>
                      </p:cNvPr>
                      <p:cNvPicPr/>
                      <p:nvPr/>
                    </p:nvPicPr>
                    <p:blipFill>
                      <a:blip r:embed="rId5"/>
                      <a:stretch>
                        <a:fillRect/>
                      </a:stretch>
                    </p:blipFill>
                    <p:spPr>
                      <a:xfrm>
                        <a:off x="11202408" y="3651321"/>
                        <a:ext cx="614013" cy="613569"/>
                      </a:xfrm>
                      <a:prstGeom prst="rect">
                        <a:avLst/>
                      </a:prstGeom>
                    </p:spPr>
                  </p:pic>
                </p:oleObj>
              </mc:Fallback>
            </mc:AlternateContent>
          </a:graphicData>
        </a:graphic>
      </p:graphicFrame>
      <p:graphicFrame>
        <p:nvGraphicFramePr>
          <p:cNvPr id="10" name="Object 9">
            <a:extLst/>
          </p:cNvPr>
          <p:cNvGraphicFramePr>
            <a:graphicFrameLocks noChangeAspect="1"/>
          </p:cNvGraphicFramePr>
          <p:nvPr>
            <p:extLst/>
          </p:nvPr>
        </p:nvGraphicFramePr>
        <p:xfrm>
          <a:off x="10308824" y="3651321"/>
          <a:ext cx="635799" cy="613569"/>
        </p:xfrm>
        <a:graphic>
          <a:graphicData uri="http://schemas.openxmlformats.org/presentationml/2006/ole">
            <mc:AlternateContent xmlns:mc="http://schemas.openxmlformats.org/markup-compatibility/2006">
              <mc:Choice xmlns:v="urn:schemas-microsoft-com:vml" Requires="v">
                <p:oleObj spid="_x0000_s3075" name="CorelDRAW" r:id="rId6" imgW="2270122" imgH="2190886" progId="CorelDraw.Graphic.17">
                  <p:embed/>
                </p:oleObj>
              </mc:Choice>
              <mc:Fallback>
                <p:oleObj name="CorelDRAW" r:id="rId6" imgW="2270122" imgH="2190886" progId="CorelDraw.Graphic.17">
                  <p:embed/>
                  <p:pic>
                    <p:nvPicPr>
                      <p:cNvPr id="10" name="Object 9">
                        <a:extLst/>
                      </p:cNvPr>
                      <p:cNvPicPr/>
                      <p:nvPr/>
                    </p:nvPicPr>
                    <p:blipFill>
                      <a:blip r:embed="rId7"/>
                      <a:stretch>
                        <a:fillRect/>
                      </a:stretch>
                    </p:blipFill>
                    <p:spPr>
                      <a:xfrm>
                        <a:off x="10308824" y="3651321"/>
                        <a:ext cx="635799" cy="613569"/>
                      </a:xfrm>
                      <a:prstGeom prst="rect">
                        <a:avLst/>
                      </a:prstGeom>
                    </p:spPr>
                  </p:pic>
                </p:oleObj>
              </mc:Fallback>
            </mc:AlternateContent>
          </a:graphicData>
        </a:graphic>
      </p:graphicFrame>
      <p:graphicFrame>
        <p:nvGraphicFramePr>
          <p:cNvPr id="11" name="Object 10">
            <a:extLst/>
          </p:cNvPr>
          <p:cNvGraphicFramePr>
            <a:graphicFrameLocks noChangeAspect="1"/>
          </p:cNvGraphicFramePr>
          <p:nvPr>
            <p:extLst/>
          </p:nvPr>
        </p:nvGraphicFramePr>
        <p:xfrm>
          <a:off x="9467328" y="3645542"/>
          <a:ext cx="586891" cy="625129"/>
        </p:xfrm>
        <a:graphic>
          <a:graphicData uri="http://schemas.openxmlformats.org/presentationml/2006/ole">
            <mc:AlternateContent xmlns:mc="http://schemas.openxmlformats.org/markup-compatibility/2006">
              <mc:Choice xmlns:v="urn:schemas-microsoft-com:vml" Requires="v">
                <p:oleObj spid="_x0000_s3076" name="CorelDRAW" r:id="rId8" imgW="2095309" imgH="2231299" progId="CorelDraw.Graphic.17">
                  <p:embed/>
                </p:oleObj>
              </mc:Choice>
              <mc:Fallback>
                <p:oleObj name="CorelDRAW" r:id="rId8" imgW="2095309" imgH="2231299" progId="CorelDraw.Graphic.17">
                  <p:embed/>
                  <p:pic>
                    <p:nvPicPr>
                      <p:cNvPr id="11" name="Object 10">
                        <a:extLst/>
                      </p:cNvPr>
                      <p:cNvPicPr/>
                      <p:nvPr/>
                    </p:nvPicPr>
                    <p:blipFill>
                      <a:blip r:embed="rId9"/>
                      <a:stretch>
                        <a:fillRect/>
                      </a:stretch>
                    </p:blipFill>
                    <p:spPr>
                      <a:xfrm>
                        <a:off x="9467328" y="3645542"/>
                        <a:ext cx="586891" cy="625129"/>
                      </a:xfrm>
                      <a:prstGeom prst="rect">
                        <a:avLst/>
                      </a:prstGeom>
                    </p:spPr>
                  </p:pic>
                </p:oleObj>
              </mc:Fallback>
            </mc:AlternateContent>
          </a:graphicData>
        </a:graphic>
      </p:graphicFrame>
      <p:graphicFrame>
        <p:nvGraphicFramePr>
          <p:cNvPr id="12" name="Object 11">
            <a:extLst/>
          </p:cNvPr>
          <p:cNvGraphicFramePr>
            <a:graphicFrameLocks noChangeAspect="1"/>
          </p:cNvGraphicFramePr>
          <p:nvPr>
            <p:extLst/>
          </p:nvPr>
        </p:nvGraphicFramePr>
        <p:xfrm>
          <a:off x="8569325" y="3651321"/>
          <a:ext cx="614013" cy="613569"/>
        </p:xfrm>
        <a:graphic>
          <a:graphicData uri="http://schemas.openxmlformats.org/presentationml/2006/ole">
            <mc:AlternateContent xmlns:mc="http://schemas.openxmlformats.org/markup-compatibility/2006">
              <mc:Choice xmlns:v="urn:schemas-microsoft-com:vml" Requires="v">
                <p:oleObj spid="_x0000_s3077" name="CorelDRAW" r:id="rId10" imgW="2192109" imgH="2190886" progId="CorelDraw.Graphic.17">
                  <p:embed/>
                </p:oleObj>
              </mc:Choice>
              <mc:Fallback>
                <p:oleObj name="CorelDRAW" r:id="rId10" imgW="2192109" imgH="2190886" progId="CorelDraw.Graphic.17">
                  <p:embed/>
                  <p:pic>
                    <p:nvPicPr>
                      <p:cNvPr id="12" name="Object 11">
                        <a:extLst/>
                      </p:cNvPr>
                      <p:cNvPicPr/>
                      <p:nvPr/>
                    </p:nvPicPr>
                    <p:blipFill>
                      <a:blip r:embed="rId11"/>
                      <a:stretch>
                        <a:fillRect/>
                      </a:stretch>
                    </p:blipFill>
                    <p:spPr>
                      <a:xfrm>
                        <a:off x="8569325" y="3651321"/>
                        <a:ext cx="614013" cy="613569"/>
                      </a:xfrm>
                      <a:prstGeom prst="rect">
                        <a:avLst/>
                      </a:prstGeom>
                    </p:spPr>
                  </p:pic>
                </p:oleObj>
              </mc:Fallback>
            </mc:AlternateContent>
          </a:graphicData>
        </a:graphic>
      </p:graphicFrame>
      <p:graphicFrame>
        <p:nvGraphicFramePr>
          <p:cNvPr id="13" name="Object 12">
            <a:extLst/>
          </p:cNvPr>
          <p:cNvGraphicFramePr>
            <a:graphicFrameLocks noChangeAspect="1"/>
          </p:cNvGraphicFramePr>
          <p:nvPr>
            <p:extLst/>
          </p:nvPr>
        </p:nvGraphicFramePr>
        <p:xfrm>
          <a:off x="7703781" y="3651321"/>
          <a:ext cx="581556" cy="613569"/>
        </p:xfrm>
        <a:graphic>
          <a:graphicData uri="http://schemas.openxmlformats.org/presentationml/2006/ole">
            <mc:AlternateContent xmlns:mc="http://schemas.openxmlformats.org/markup-compatibility/2006">
              <mc:Choice xmlns:v="urn:schemas-microsoft-com:vml" Requires="v">
                <p:oleObj spid="_x0000_s3078" name="CorelDRAW" r:id="rId12" imgW="2075703" imgH="2190886" progId="CorelDraw.Graphic.17">
                  <p:embed/>
                </p:oleObj>
              </mc:Choice>
              <mc:Fallback>
                <p:oleObj name="CorelDRAW" r:id="rId12" imgW="2075703" imgH="2190886" progId="CorelDraw.Graphic.17">
                  <p:embed/>
                  <p:pic>
                    <p:nvPicPr>
                      <p:cNvPr id="13" name="Object 12">
                        <a:extLst/>
                      </p:cNvPr>
                      <p:cNvPicPr/>
                      <p:nvPr/>
                    </p:nvPicPr>
                    <p:blipFill>
                      <a:blip r:embed="rId13"/>
                      <a:stretch>
                        <a:fillRect/>
                      </a:stretch>
                    </p:blipFill>
                    <p:spPr>
                      <a:xfrm>
                        <a:off x="7703781" y="3651321"/>
                        <a:ext cx="581556" cy="613569"/>
                      </a:xfrm>
                      <a:prstGeom prst="rect">
                        <a:avLst/>
                      </a:prstGeom>
                    </p:spPr>
                  </p:pic>
                </p:oleObj>
              </mc:Fallback>
            </mc:AlternateContent>
          </a:graphicData>
        </a:graphic>
      </p:graphicFrame>
      <p:cxnSp>
        <p:nvCxnSpPr>
          <p:cNvPr id="14" name="Straight Arrow Connector 13">
            <a:extLst/>
          </p:cNvPr>
          <p:cNvCxnSpPr>
            <a:cxnSpLocks/>
            <a:endCxn id="17" idx="3"/>
          </p:cNvCxnSpPr>
          <p:nvPr/>
        </p:nvCxnSpPr>
        <p:spPr>
          <a:xfrm flipH="1">
            <a:off x="10542233" y="5648345"/>
            <a:ext cx="424788" cy="0"/>
          </a:xfrm>
          <a:prstGeom prst="straightConnector1">
            <a:avLst/>
          </a:prstGeom>
          <a:ln w="38100">
            <a:solidFill>
              <a:srgbClr val="008171"/>
            </a:solidFill>
            <a:prstDash val="sysDot"/>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p:cNvPr>
          <p:cNvCxnSpPr>
            <a:cxnSpLocks/>
            <a:stCxn id="17" idx="1"/>
            <a:endCxn id="21" idx="3"/>
          </p:cNvCxnSpPr>
          <p:nvPr/>
        </p:nvCxnSpPr>
        <p:spPr>
          <a:xfrm flipH="1" flipV="1">
            <a:off x="7510321" y="5637812"/>
            <a:ext cx="289099" cy="10534"/>
          </a:xfrm>
          <a:prstGeom prst="straightConnector1">
            <a:avLst/>
          </a:prstGeom>
          <a:ln w="38100">
            <a:solidFill>
              <a:srgbClr val="008171"/>
            </a:solidFill>
            <a:prstDash val="sysDot"/>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8089189" y="6213368"/>
            <a:ext cx="2418699" cy="307777"/>
          </a:xfrm>
          <a:prstGeom prst="rect">
            <a:avLst/>
          </a:prstGeom>
          <a:noFill/>
        </p:spPr>
        <p:txBody>
          <a:bodyPr wrap="square" rtlCol="0">
            <a:spAutoFit/>
          </a:bodyPr>
          <a:lstStyle/>
          <a:p>
            <a:pPr algn="ctr" defTabSz="932563"/>
            <a:r>
              <a:rPr lang="en-US" sz="1400" b="1" dirty="0">
                <a:solidFill>
                  <a:srgbClr val="008171"/>
                </a:solidFill>
              </a:rPr>
              <a:t>IPsec IKE S2S VPN Tunnel</a:t>
            </a:r>
          </a:p>
        </p:txBody>
      </p:sp>
      <p:graphicFrame>
        <p:nvGraphicFramePr>
          <p:cNvPr id="17" name="Object 16">
            <a:extLst/>
          </p:cNvPr>
          <p:cNvGraphicFramePr>
            <a:graphicFrameLocks noChangeAspect="1"/>
          </p:cNvGraphicFramePr>
          <p:nvPr>
            <p:extLst/>
          </p:nvPr>
        </p:nvGraphicFramePr>
        <p:xfrm>
          <a:off x="7799421" y="5384931"/>
          <a:ext cx="2742810" cy="526827"/>
        </p:xfrm>
        <a:graphic>
          <a:graphicData uri="http://schemas.openxmlformats.org/presentationml/2006/ole">
            <mc:AlternateContent xmlns:mc="http://schemas.openxmlformats.org/markup-compatibility/2006">
              <mc:Choice xmlns:v="urn:schemas-microsoft-com:vml" Requires="v">
                <p:oleObj spid="_x0000_s3079" name="CorelDRAW" r:id="rId14" imgW="1843300" imgH="354738" progId="CorelDraw.Graphic.17">
                  <p:embed/>
                </p:oleObj>
              </mc:Choice>
              <mc:Fallback>
                <p:oleObj name="CorelDRAW" r:id="rId14" imgW="1843300" imgH="354738" progId="CorelDraw.Graphic.17">
                  <p:embed/>
                  <p:pic>
                    <p:nvPicPr>
                      <p:cNvPr id="17" name="Object 16">
                        <a:extLst/>
                      </p:cNvPr>
                      <p:cNvPicPr/>
                      <p:nvPr/>
                    </p:nvPicPr>
                    <p:blipFill>
                      <a:blip r:embed="rId15"/>
                      <a:stretch>
                        <a:fillRect/>
                      </a:stretch>
                    </p:blipFill>
                    <p:spPr>
                      <a:xfrm>
                        <a:off x="7799421" y="5384931"/>
                        <a:ext cx="2742810" cy="526827"/>
                      </a:xfrm>
                      <a:prstGeom prst="rect">
                        <a:avLst/>
                      </a:prstGeom>
                    </p:spPr>
                  </p:pic>
                </p:oleObj>
              </mc:Fallback>
            </mc:AlternateContent>
          </a:graphicData>
        </a:graphic>
      </p:graphicFrame>
      <p:graphicFrame>
        <p:nvGraphicFramePr>
          <p:cNvPr id="18" name="Object 17">
            <a:extLst/>
          </p:cNvPr>
          <p:cNvGraphicFramePr>
            <a:graphicFrameLocks noChangeAspect="1"/>
          </p:cNvGraphicFramePr>
          <p:nvPr>
            <p:extLst/>
          </p:nvPr>
        </p:nvGraphicFramePr>
        <p:xfrm>
          <a:off x="10833870" y="4812213"/>
          <a:ext cx="1171614" cy="1225439"/>
        </p:xfrm>
        <a:graphic>
          <a:graphicData uri="http://schemas.openxmlformats.org/presentationml/2006/ole">
            <mc:AlternateContent xmlns:mc="http://schemas.openxmlformats.org/markup-compatibility/2006">
              <mc:Choice xmlns:v="urn:schemas-microsoft-com:vml" Requires="v">
                <p:oleObj spid="_x0000_s3080" name="CorelDRAW" r:id="rId16" imgW="1036218" imgH="1084217" progId="CorelDraw.Graphic.17">
                  <p:embed/>
                </p:oleObj>
              </mc:Choice>
              <mc:Fallback>
                <p:oleObj name="CorelDRAW" r:id="rId16" imgW="1036218" imgH="1084217" progId="CorelDraw.Graphic.17">
                  <p:embed/>
                  <p:pic>
                    <p:nvPicPr>
                      <p:cNvPr id="18" name="Object 17">
                        <a:extLst/>
                      </p:cNvPr>
                      <p:cNvPicPr/>
                      <p:nvPr/>
                    </p:nvPicPr>
                    <p:blipFill>
                      <a:blip r:embed="rId17"/>
                      <a:stretch>
                        <a:fillRect/>
                      </a:stretch>
                    </p:blipFill>
                    <p:spPr>
                      <a:xfrm>
                        <a:off x="10833870" y="4812213"/>
                        <a:ext cx="1171614" cy="1225439"/>
                      </a:xfrm>
                      <a:prstGeom prst="rect">
                        <a:avLst/>
                      </a:prstGeom>
                    </p:spPr>
                  </p:pic>
                </p:oleObj>
              </mc:Fallback>
            </mc:AlternateContent>
          </a:graphicData>
        </a:graphic>
      </p:graphicFrame>
      <p:sp>
        <p:nvSpPr>
          <p:cNvPr id="19" name="TextBox 18">
            <a:extLst/>
          </p:cNvPr>
          <p:cNvSpPr txBox="1"/>
          <p:nvPr/>
        </p:nvSpPr>
        <p:spPr>
          <a:xfrm>
            <a:off x="10903349" y="6213368"/>
            <a:ext cx="1264151" cy="307777"/>
          </a:xfrm>
          <a:prstGeom prst="rect">
            <a:avLst/>
          </a:prstGeom>
          <a:noFill/>
        </p:spPr>
        <p:txBody>
          <a:bodyPr wrap="square" rtlCol="0">
            <a:spAutoFit/>
          </a:bodyPr>
          <a:lstStyle/>
          <a:p>
            <a:pPr algn="ctr" defTabSz="932563"/>
            <a:r>
              <a:rPr lang="en-IN" sz="1400" b="1" dirty="0">
                <a:solidFill>
                  <a:schemeClr val="accent3">
                    <a:lumMod val="75000"/>
                  </a:schemeClr>
                </a:solidFill>
              </a:rPr>
              <a:t>O</a:t>
            </a:r>
            <a:r>
              <a:rPr lang="en-US" sz="1400" b="1" dirty="0">
                <a:solidFill>
                  <a:schemeClr val="accent3">
                    <a:lumMod val="75000"/>
                  </a:schemeClr>
                </a:solidFill>
              </a:rPr>
              <a:t>n</a:t>
            </a:r>
            <a:r>
              <a:rPr lang="sr-Cyrl-RS" sz="1400" b="1" dirty="0">
                <a:solidFill>
                  <a:schemeClr val="accent3">
                    <a:lumMod val="75000"/>
                  </a:schemeClr>
                </a:solidFill>
              </a:rPr>
              <a:t>-</a:t>
            </a:r>
            <a:r>
              <a:rPr lang="en-US" sz="1400" b="1" dirty="0">
                <a:solidFill>
                  <a:schemeClr val="accent3">
                    <a:lumMod val="75000"/>
                  </a:schemeClr>
                </a:solidFill>
              </a:rPr>
              <a:t>premises</a:t>
            </a:r>
          </a:p>
        </p:txBody>
      </p:sp>
      <p:sp>
        <p:nvSpPr>
          <p:cNvPr id="20" name="TextBox 19">
            <a:extLst/>
          </p:cNvPr>
          <p:cNvSpPr txBox="1"/>
          <p:nvPr/>
        </p:nvSpPr>
        <p:spPr>
          <a:xfrm>
            <a:off x="6234498" y="6119263"/>
            <a:ext cx="1713195" cy="523220"/>
          </a:xfrm>
          <a:prstGeom prst="rect">
            <a:avLst/>
          </a:prstGeom>
          <a:solidFill>
            <a:schemeClr val="accent2"/>
          </a:solidFill>
        </p:spPr>
        <p:txBody>
          <a:bodyPr wrap="square" rtlCol="0">
            <a:spAutoFit/>
          </a:bodyPr>
          <a:lstStyle/>
          <a:p>
            <a:pPr algn="ctr" defTabSz="932563"/>
            <a:r>
              <a:rPr lang="en-US" sz="1400" b="1" dirty="0">
                <a:solidFill>
                  <a:schemeClr val="bg1"/>
                </a:solidFill>
              </a:rPr>
              <a:t>VPN/Express </a:t>
            </a:r>
            <a:br>
              <a:rPr lang="en-US" sz="1400" b="1" dirty="0">
                <a:solidFill>
                  <a:schemeClr val="bg1"/>
                </a:solidFill>
              </a:rPr>
            </a:br>
            <a:r>
              <a:rPr lang="en-US" sz="1400" b="1" dirty="0">
                <a:solidFill>
                  <a:schemeClr val="bg1"/>
                </a:solidFill>
              </a:rPr>
              <a:t>Route Gateway</a:t>
            </a:r>
          </a:p>
        </p:txBody>
      </p:sp>
      <p:graphicFrame>
        <p:nvGraphicFramePr>
          <p:cNvPr id="21" name="Object 20">
            <a:extLst/>
          </p:cNvPr>
          <p:cNvGraphicFramePr>
            <a:graphicFrameLocks noChangeAspect="1"/>
          </p:cNvGraphicFramePr>
          <p:nvPr>
            <p:extLst/>
          </p:nvPr>
        </p:nvGraphicFramePr>
        <p:xfrm>
          <a:off x="6667480" y="5216391"/>
          <a:ext cx="842842" cy="842842"/>
        </p:xfrm>
        <a:graphic>
          <a:graphicData uri="http://schemas.openxmlformats.org/presentationml/2006/ole">
            <mc:AlternateContent xmlns:mc="http://schemas.openxmlformats.org/markup-compatibility/2006">
              <mc:Choice xmlns:v="urn:schemas-microsoft-com:vml" Requires="v">
                <p:oleObj spid="_x0000_s3081" name="CorelDRAW" r:id="rId18" imgW="1991156" imgH="1990045" progId="CorelDraw.Graphic.17">
                  <p:embed/>
                </p:oleObj>
              </mc:Choice>
              <mc:Fallback>
                <p:oleObj name="CorelDRAW" r:id="rId18" imgW="1991156" imgH="1990045" progId="CorelDraw.Graphic.17">
                  <p:embed/>
                  <p:pic>
                    <p:nvPicPr>
                      <p:cNvPr id="21" name="Object 20">
                        <a:extLst/>
                      </p:cNvPr>
                      <p:cNvPicPr/>
                      <p:nvPr/>
                    </p:nvPicPr>
                    <p:blipFill>
                      <a:blip r:embed="rId19"/>
                      <a:stretch>
                        <a:fillRect/>
                      </a:stretch>
                    </p:blipFill>
                    <p:spPr>
                      <a:xfrm>
                        <a:off x="6667480" y="5216391"/>
                        <a:ext cx="842842" cy="842842"/>
                      </a:xfrm>
                      <a:prstGeom prst="rect">
                        <a:avLst/>
                      </a:prstGeom>
                    </p:spPr>
                  </p:pic>
                </p:oleObj>
              </mc:Fallback>
            </mc:AlternateContent>
          </a:graphicData>
        </a:graphic>
      </p:graphicFrame>
      <p:cxnSp>
        <p:nvCxnSpPr>
          <p:cNvPr id="22" name="Connector: Elbow 21">
            <a:extLst/>
          </p:cNvPr>
          <p:cNvCxnSpPr>
            <a:cxnSpLocks/>
            <a:stCxn id="21" idx="0"/>
          </p:cNvCxnSpPr>
          <p:nvPr/>
        </p:nvCxnSpPr>
        <p:spPr>
          <a:xfrm rot="16200000" flipV="1">
            <a:off x="4418596" y="2546085"/>
            <a:ext cx="2488431" cy="2852181"/>
          </a:xfrm>
          <a:prstGeom prst="bentConnector2">
            <a:avLst/>
          </a:prstGeom>
          <a:ln w="38100">
            <a:solidFill>
              <a:schemeClr val="accent2"/>
            </a:solidFill>
            <a:prstDash val="sysDot"/>
            <a:headEnd type="none"/>
            <a:tailEnd type="arrow" w="med" len="sm"/>
          </a:ln>
        </p:spPr>
        <p:style>
          <a:lnRef idx="1">
            <a:schemeClr val="accent1"/>
          </a:lnRef>
          <a:fillRef idx="0">
            <a:schemeClr val="accent1"/>
          </a:fillRef>
          <a:effectRef idx="0">
            <a:schemeClr val="accent1"/>
          </a:effectRef>
          <a:fontRef idx="minor">
            <a:schemeClr val="tx1"/>
          </a:fontRef>
        </p:style>
      </p:cxnSp>
      <p:graphicFrame>
        <p:nvGraphicFramePr>
          <p:cNvPr id="23" name="Object 22">
            <a:extLst/>
          </p:cNvPr>
          <p:cNvGraphicFramePr>
            <a:graphicFrameLocks noChangeAspect="1"/>
          </p:cNvGraphicFramePr>
          <p:nvPr>
            <p:extLst/>
          </p:nvPr>
        </p:nvGraphicFramePr>
        <p:xfrm>
          <a:off x="971128" y="3553337"/>
          <a:ext cx="989071" cy="925257"/>
        </p:xfrm>
        <a:graphic>
          <a:graphicData uri="http://schemas.openxmlformats.org/presentationml/2006/ole">
            <mc:AlternateContent xmlns:mc="http://schemas.openxmlformats.org/markup-compatibility/2006">
              <mc:Choice xmlns:v="urn:schemas-microsoft-com:vml" Requires="v">
                <p:oleObj spid="_x0000_s3082" name="CorelDRAW" r:id="rId20" imgW="344317" imgH="322489" progId="CorelDraw.Graphic.17">
                  <p:embed/>
                </p:oleObj>
              </mc:Choice>
              <mc:Fallback>
                <p:oleObj name="CorelDRAW" r:id="rId20" imgW="344317" imgH="322489" progId="CorelDraw.Graphic.17">
                  <p:embed/>
                  <p:pic>
                    <p:nvPicPr>
                      <p:cNvPr id="23" name="Object 22">
                        <a:extLst/>
                      </p:cNvPr>
                      <p:cNvPicPr/>
                      <p:nvPr/>
                    </p:nvPicPr>
                    <p:blipFill>
                      <a:blip r:embed="rId21"/>
                      <a:stretch>
                        <a:fillRect/>
                      </a:stretch>
                    </p:blipFill>
                    <p:spPr>
                      <a:xfrm>
                        <a:off x="971128" y="3553337"/>
                        <a:ext cx="989071" cy="925257"/>
                      </a:xfrm>
                      <a:prstGeom prst="rect">
                        <a:avLst/>
                      </a:prstGeom>
                    </p:spPr>
                  </p:pic>
                </p:oleObj>
              </mc:Fallback>
            </mc:AlternateContent>
          </a:graphicData>
        </a:graphic>
      </p:graphicFrame>
      <p:graphicFrame>
        <p:nvGraphicFramePr>
          <p:cNvPr id="24" name="Object 23">
            <a:extLst/>
          </p:cNvPr>
          <p:cNvGraphicFramePr>
            <a:graphicFrameLocks noChangeAspect="1"/>
          </p:cNvGraphicFramePr>
          <p:nvPr>
            <p:extLst/>
          </p:nvPr>
        </p:nvGraphicFramePr>
        <p:xfrm>
          <a:off x="3244393" y="2318322"/>
          <a:ext cx="989071" cy="925257"/>
        </p:xfrm>
        <a:graphic>
          <a:graphicData uri="http://schemas.openxmlformats.org/presentationml/2006/ole">
            <mc:AlternateContent xmlns:mc="http://schemas.openxmlformats.org/markup-compatibility/2006">
              <mc:Choice xmlns:v="urn:schemas-microsoft-com:vml" Requires="v">
                <p:oleObj spid="_x0000_s3083" name="CorelDRAW" r:id="rId22" imgW="344317" imgH="322489" progId="CorelDraw.Graphic.17">
                  <p:embed/>
                </p:oleObj>
              </mc:Choice>
              <mc:Fallback>
                <p:oleObj name="CorelDRAW" r:id="rId22" imgW="344317" imgH="322489" progId="CorelDraw.Graphic.17">
                  <p:embed/>
                  <p:pic>
                    <p:nvPicPr>
                      <p:cNvPr id="24" name="Object 23">
                        <a:extLst/>
                      </p:cNvPr>
                      <p:cNvPicPr/>
                      <p:nvPr/>
                    </p:nvPicPr>
                    <p:blipFill>
                      <a:blip r:embed="rId21"/>
                      <a:stretch>
                        <a:fillRect/>
                      </a:stretch>
                    </p:blipFill>
                    <p:spPr>
                      <a:xfrm>
                        <a:off x="3244393" y="2318322"/>
                        <a:ext cx="989071" cy="925257"/>
                      </a:xfrm>
                      <a:prstGeom prst="rect">
                        <a:avLst/>
                      </a:prstGeom>
                    </p:spPr>
                  </p:pic>
                </p:oleObj>
              </mc:Fallback>
            </mc:AlternateContent>
          </a:graphicData>
        </a:graphic>
      </p:graphicFrame>
      <p:graphicFrame>
        <p:nvGraphicFramePr>
          <p:cNvPr id="25" name="Object 24">
            <a:extLst/>
          </p:cNvPr>
          <p:cNvGraphicFramePr>
            <a:graphicFrameLocks noChangeAspect="1"/>
          </p:cNvGraphicFramePr>
          <p:nvPr>
            <p:extLst/>
          </p:nvPr>
        </p:nvGraphicFramePr>
        <p:xfrm>
          <a:off x="970548" y="2318322"/>
          <a:ext cx="989071" cy="925257"/>
        </p:xfrm>
        <a:graphic>
          <a:graphicData uri="http://schemas.openxmlformats.org/presentationml/2006/ole">
            <mc:AlternateContent xmlns:mc="http://schemas.openxmlformats.org/markup-compatibility/2006">
              <mc:Choice xmlns:v="urn:schemas-microsoft-com:vml" Requires="v">
                <p:oleObj spid="_x0000_s3084" name="CorelDRAW" r:id="rId23" imgW="344317" imgH="322489" progId="CorelDraw.Graphic.17">
                  <p:embed/>
                </p:oleObj>
              </mc:Choice>
              <mc:Fallback>
                <p:oleObj name="CorelDRAW" r:id="rId23" imgW="344317" imgH="322489" progId="CorelDraw.Graphic.17">
                  <p:embed/>
                  <p:pic>
                    <p:nvPicPr>
                      <p:cNvPr id="25" name="Object 24">
                        <a:extLst/>
                      </p:cNvPr>
                      <p:cNvPicPr/>
                      <p:nvPr/>
                    </p:nvPicPr>
                    <p:blipFill>
                      <a:blip r:embed="rId21"/>
                      <a:stretch>
                        <a:fillRect/>
                      </a:stretch>
                    </p:blipFill>
                    <p:spPr>
                      <a:xfrm>
                        <a:off x="970548" y="2318322"/>
                        <a:ext cx="989071" cy="925257"/>
                      </a:xfrm>
                      <a:prstGeom prst="rect">
                        <a:avLst/>
                      </a:prstGeom>
                    </p:spPr>
                  </p:pic>
                </p:oleObj>
              </mc:Fallback>
            </mc:AlternateContent>
          </a:graphicData>
        </a:graphic>
      </p:graphicFrame>
      <p:cxnSp>
        <p:nvCxnSpPr>
          <p:cNvPr id="26" name="Connector: Elbow 25">
            <a:extLst/>
          </p:cNvPr>
          <p:cNvCxnSpPr>
            <a:cxnSpLocks/>
          </p:cNvCxnSpPr>
          <p:nvPr/>
        </p:nvCxnSpPr>
        <p:spPr>
          <a:xfrm rot="10800000" flipV="1">
            <a:off x="1465083" y="1460794"/>
            <a:ext cx="7529174" cy="836588"/>
          </a:xfrm>
          <a:prstGeom prst="bentConnector2">
            <a:avLst/>
          </a:prstGeom>
          <a:ln w="19050">
            <a:solidFill>
              <a:schemeClr val="accent3"/>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7" name="Connector: Elbow 26">
            <a:extLst/>
          </p:cNvPr>
          <p:cNvCxnSpPr>
            <a:cxnSpLocks/>
            <a:endCxn id="24" idx="0"/>
          </p:cNvCxnSpPr>
          <p:nvPr/>
        </p:nvCxnSpPr>
        <p:spPr>
          <a:xfrm rot="10800000" flipV="1">
            <a:off x="3738929" y="1729572"/>
            <a:ext cx="5255327" cy="588750"/>
          </a:xfrm>
          <a:prstGeom prst="bentConnector2">
            <a:avLst/>
          </a:prstGeom>
          <a:ln w="19050">
            <a:solidFill>
              <a:schemeClr val="accent3"/>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8" name="Connector: Elbow 27">
            <a:extLst/>
          </p:cNvPr>
          <p:cNvCxnSpPr>
            <a:cxnSpLocks/>
            <a:stCxn id="24" idx="1"/>
            <a:endCxn id="23" idx="3"/>
          </p:cNvCxnSpPr>
          <p:nvPr/>
        </p:nvCxnSpPr>
        <p:spPr>
          <a:xfrm rot="10800000" flipV="1">
            <a:off x="1960199" y="2780949"/>
            <a:ext cx="1284194" cy="1235015"/>
          </a:xfrm>
          <a:prstGeom prst="bentConnector3">
            <a:avLst>
              <a:gd name="adj1" fmla="val 50000"/>
            </a:avLst>
          </a:prstGeom>
          <a:ln w="19050">
            <a:solidFill>
              <a:srgbClr val="00BBF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p:cNvPr>
          <p:cNvSpPr txBox="1"/>
          <p:nvPr/>
        </p:nvSpPr>
        <p:spPr>
          <a:xfrm>
            <a:off x="892590" y="4527328"/>
            <a:ext cx="1146147" cy="184666"/>
          </a:xfrm>
          <a:prstGeom prst="rect">
            <a:avLst/>
          </a:prstGeom>
          <a:noFill/>
        </p:spPr>
        <p:txBody>
          <a:bodyPr wrap="none" lIns="0" tIns="0" rIns="0" bIns="0" rtlCol="0">
            <a:spAutoFit/>
          </a:bodyPr>
          <a:lstStyle/>
          <a:p>
            <a:pPr algn="ctr" defTabSz="932563"/>
            <a:r>
              <a:rPr lang="en-US" sz="1200" b="1" dirty="0">
                <a:solidFill>
                  <a:schemeClr val="tx2"/>
                </a:solidFill>
              </a:rPr>
              <a:t>SQL Instance #3</a:t>
            </a:r>
          </a:p>
        </p:txBody>
      </p:sp>
      <p:sp>
        <p:nvSpPr>
          <p:cNvPr id="31" name="Rectangle 30">
            <a:extLst/>
          </p:cNvPr>
          <p:cNvSpPr/>
          <p:nvPr/>
        </p:nvSpPr>
        <p:spPr bwMode="auto">
          <a:xfrm>
            <a:off x="8994255" y="1460793"/>
            <a:ext cx="1523783" cy="1523783"/>
          </a:xfrm>
          <a:prstGeom prst="rect">
            <a:avLst/>
          </a:prstGeom>
          <a:noFill/>
          <a:ln w="12700">
            <a:solidFill>
              <a:schemeClr val="accent3"/>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199" dirty="0">
                <a:solidFill>
                  <a:srgbClr val="59B3D8"/>
                </a:solidFill>
                <a:latin typeface="Segoe UI Semibold" panose="020B0702040204020203" pitchFamily="34" charset="0"/>
                <a:ea typeface="Segoe UI" panose="020B0502040204020203" pitchFamily="34" charset="0"/>
                <a:cs typeface="Segoe UI Semibold" panose="020B0702040204020203" pitchFamily="34" charset="0"/>
              </a:rPr>
              <a:t>VNet1</a:t>
            </a:r>
          </a:p>
        </p:txBody>
      </p:sp>
      <p:grpSp>
        <p:nvGrpSpPr>
          <p:cNvPr id="32" name="Group 31">
            <a:extLst/>
          </p:cNvPr>
          <p:cNvGrpSpPr/>
          <p:nvPr/>
        </p:nvGrpSpPr>
        <p:grpSpPr>
          <a:xfrm>
            <a:off x="4657344" y="2039641"/>
            <a:ext cx="4330446" cy="330187"/>
            <a:chOff x="4657122" y="1770744"/>
            <a:chExt cx="4529971" cy="330234"/>
          </a:xfrm>
        </p:grpSpPr>
        <p:cxnSp>
          <p:nvCxnSpPr>
            <p:cNvPr id="33" name="Straight Arrow Connector 32">
              <a:extLst/>
            </p:cNvPr>
            <p:cNvCxnSpPr>
              <a:cxnSpLocks/>
            </p:cNvCxnSpPr>
            <p:nvPr/>
          </p:nvCxnSpPr>
          <p:spPr>
            <a:xfrm>
              <a:off x="4657122" y="2100978"/>
              <a:ext cx="4529971" cy="0"/>
            </a:xfrm>
            <a:prstGeom prst="straightConnector1">
              <a:avLst/>
            </a:prstGeom>
            <a:ln w="1905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34" name="Rectangle 33">
              <a:extLst/>
            </p:cNvPr>
            <p:cNvSpPr/>
            <p:nvPr/>
          </p:nvSpPr>
          <p:spPr>
            <a:xfrm>
              <a:off x="6243363" y="1770744"/>
              <a:ext cx="1252951" cy="276910"/>
            </a:xfrm>
            <a:prstGeom prst="rect">
              <a:avLst/>
            </a:prstGeom>
          </p:spPr>
          <p:txBody>
            <a:bodyPr wrap="none">
              <a:spAutoFit/>
            </a:bodyPr>
            <a:lstStyle/>
            <a:p>
              <a:pPr algn="ctr" defTabSz="932563"/>
              <a:r>
                <a:rPr lang="en-US" sz="1199" b="1" dirty="0" err="1">
                  <a:solidFill>
                    <a:schemeClr val="tx2"/>
                  </a:solidFill>
                </a:rPr>
                <a:t>VNet</a:t>
              </a:r>
              <a:r>
                <a:rPr lang="en-US" sz="1199" b="1" dirty="0">
                  <a:solidFill>
                    <a:schemeClr val="tx2"/>
                  </a:solidFill>
                </a:rPr>
                <a:t>-to-</a:t>
              </a:r>
              <a:r>
                <a:rPr lang="en-US" sz="1199" b="1" dirty="0" err="1">
                  <a:solidFill>
                    <a:schemeClr val="tx2"/>
                  </a:solidFill>
                </a:rPr>
                <a:t>VNet</a:t>
              </a:r>
              <a:endParaRPr lang="en-US" sz="1199" dirty="0">
                <a:solidFill>
                  <a:schemeClr val="tx2"/>
                </a:solidFill>
              </a:endParaRPr>
            </a:p>
          </p:txBody>
        </p:sp>
      </p:grpSp>
      <p:grpSp>
        <p:nvGrpSpPr>
          <p:cNvPr id="35" name="Group 34">
            <a:extLst/>
          </p:cNvPr>
          <p:cNvGrpSpPr/>
          <p:nvPr/>
        </p:nvGrpSpPr>
        <p:grpSpPr>
          <a:xfrm>
            <a:off x="4641448" y="3342161"/>
            <a:ext cx="2194909" cy="523220"/>
            <a:chOff x="4641224" y="3073444"/>
            <a:chExt cx="2195220" cy="523294"/>
          </a:xfrm>
        </p:grpSpPr>
        <p:sp>
          <p:nvSpPr>
            <p:cNvPr id="36" name="TextBox 35">
              <a:extLst/>
            </p:cNvPr>
            <p:cNvSpPr txBox="1"/>
            <p:nvPr/>
          </p:nvSpPr>
          <p:spPr>
            <a:xfrm>
              <a:off x="5126725" y="3073444"/>
              <a:ext cx="1709719" cy="523294"/>
            </a:xfrm>
            <a:prstGeom prst="rect">
              <a:avLst/>
            </a:prstGeom>
            <a:noFill/>
          </p:spPr>
          <p:txBody>
            <a:bodyPr wrap="square" rtlCol="0">
              <a:spAutoFit/>
            </a:bodyPr>
            <a:lstStyle/>
            <a:p>
              <a:pPr defTabSz="932563"/>
              <a:r>
                <a:rPr lang="en-US" sz="1400" b="1" dirty="0">
                  <a:solidFill>
                    <a:schemeClr val="accent4"/>
                  </a:solidFill>
                  <a:cs typeface="Segoe UI" panose="020B0502040204020203" pitchFamily="34" charset="0"/>
                </a:rPr>
                <a:t>Network isolation </a:t>
              </a:r>
              <a:r>
                <a:rPr lang="en-US" sz="1400" dirty="0">
                  <a:solidFill>
                    <a:schemeClr val="accent4"/>
                  </a:solidFill>
                </a:rPr>
                <a:t>(customer VNET)</a:t>
              </a:r>
            </a:p>
          </p:txBody>
        </p:sp>
        <p:cxnSp>
          <p:nvCxnSpPr>
            <p:cNvPr id="37" name="Straight Arrow Connector 36">
              <a:extLst/>
            </p:cNvPr>
            <p:cNvCxnSpPr>
              <a:cxnSpLocks/>
            </p:cNvCxnSpPr>
            <p:nvPr/>
          </p:nvCxnSpPr>
          <p:spPr>
            <a:xfrm flipH="1" flipV="1">
              <a:off x="4641224" y="3335091"/>
              <a:ext cx="485501" cy="0"/>
            </a:xfrm>
            <a:prstGeom prst="straightConnector1">
              <a:avLst/>
            </a:prstGeom>
            <a:ln w="19050">
              <a:solidFill>
                <a:schemeClr val="accent4"/>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38" name="Group 37">
            <a:extLst/>
          </p:cNvPr>
          <p:cNvGrpSpPr/>
          <p:nvPr/>
        </p:nvGrpSpPr>
        <p:grpSpPr>
          <a:xfrm>
            <a:off x="4541095" y="4378700"/>
            <a:ext cx="2286379" cy="523220"/>
            <a:chOff x="4540857" y="4110130"/>
            <a:chExt cx="2286704" cy="523294"/>
          </a:xfrm>
        </p:grpSpPr>
        <p:sp>
          <p:nvSpPr>
            <p:cNvPr id="39" name="TextBox 38">
              <a:extLst/>
            </p:cNvPr>
            <p:cNvSpPr txBox="1"/>
            <p:nvPr/>
          </p:nvSpPr>
          <p:spPr>
            <a:xfrm>
              <a:off x="5126726" y="4110130"/>
              <a:ext cx="1700835" cy="523294"/>
            </a:xfrm>
            <a:prstGeom prst="rect">
              <a:avLst/>
            </a:prstGeom>
            <a:noFill/>
          </p:spPr>
          <p:txBody>
            <a:bodyPr wrap="square" rtlCol="0">
              <a:spAutoFit/>
            </a:bodyPr>
            <a:lstStyle/>
            <a:p>
              <a:pPr defTabSz="932563"/>
              <a:r>
                <a:rPr lang="en-US" sz="1400" b="1" dirty="0">
                  <a:solidFill>
                    <a:schemeClr val="bg1">
                      <a:lumMod val="50000"/>
                    </a:schemeClr>
                  </a:solidFill>
                  <a:cs typeface="Segoe UI" panose="020B0502040204020203" pitchFamily="34" charset="0"/>
                </a:rPr>
                <a:t>Tenant isolation</a:t>
              </a:r>
              <a:endParaRPr lang="sr-Cyrl-RS" sz="1400" b="1" dirty="0">
                <a:solidFill>
                  <a:schemeClr val="bg1">
                    <a:lumMod val="50000"/>
                  </a:schemeClr>
                </a:solidFill>
                <a:cs typeface="Segoe UI" panose="020B0502040204020203" pitchFamily="34" charset="0"/>
              </a:endParaRPr>
            </a:p>
            <a:p>
              <a:pPr defTabSz="932563"/>
              <a:r>
                <a:rPr lang="en-US" sz="1400" dirty="0">
                  <a:solidFill>
                    <a:schemeClr val="bg1">
                      <a:lumMod val="50000"/>
                    </a:schemeClr>
                  </a:solidFill>
                </a:rPr>
                <a:t>(compute, storage)</a:t>
              </a:r>
            </a:p>
          </p:txBody>
        </p:sp>
        <p:cxnSp>
          <p:nvCxnSpPr>
            <p:cNvPr id="40" name="Straight Arrow Connector 39">
              <a:extLst/>
            </p:cNvPr>
            <p:cNvCxnSpPr>
              <a:cxnSpLocks/>
            </p:cNvCxnSpPr>
            <p:nvPr/>
          </p:nvCxnSpPr>
          <p:spPr>
            <a:xfrm flipH="1" flipV="1">
              <a:off x="4540857" y="4371777"/>
              <a:ext cx="585869" cy="0"/>
            </a:xfrm>
            <a:prstGeom prst="straightConnector1">
              <a:avLst/>
            </a:prstGeom>
            <a:ln w="19050">
              <a:solidFill>
                <a:schemeClr val="bg1">
                  <a:lumMod val="75000"/>
                </a:schemeClr>
              </a:solidFill>
              <a:headEnd type="none"/>
              <a:tailEnd type="arrow" w="med" len="sm"/>
            </a:ln>
          </p:spPr>
          <p:style>
            <a:lnRef idx="1">
              <a:schemeClr val="accent1"/>
            </a:lnRef>
            <a:fillRef idx="0">
              <a:schemeClr val="accent1"/>
            </a:fillRef>
            <a:effectRef idx="0">
              <a:schemeClr val="accent1"/>
            </a:effectRef>
            <a:fontRef idx="minor">
              <a:schemeClr val="tx1"/>
            </a:fontRef>
          </p:style>
        </p:cxnSp>
      </p:grpSp>
      <p:sp>
        <p:nvSpPr>
          <p:cNvPr id="41" name="TextBox 40">
            <a:extLst/>
          </p:cNvPr>
          <p:cNvSpPr txBox="1"/>
          <p:nvPr/>
        </p:nvSpPr>
        <p:spPr>
          <a:xfrm>
            <a:off x="748261" y="5272938"/>
            <a:ext cx="3618899" cy="430631"/>
          </a:xfrm>
          <a:prstGeom prst="rect">
            <a:avLst/>
          </a:prstGeom>
          <a:noFill/>
        </p:spPr>
        <p:txBody>
          <a:bodyPr wrap="square" lIns="0" tIns="0" rIns="0" bIns="0" rtlCol="0">
            <a:spAutoFit/>
          </a:bodyPr>
          <a:lstStyle/>
          <a:p>
            <a:pPr algn="ctr" defTabSz="932563"/>
            <a:r>
              <a:rPr lang="en-US" sz="1399" b="1" dirty="0">
                <a:solidFill>
                  <a:schemeClr val="accent1"/>
                </a:solidFill>
              </a:rPr>
              <a:t>“</a:t>
            </a:r>
            <a:r>
              <a:rPr lang="en-US" sz="1399" b="1" dirty="0">
                <a:solidFill>
                  <a:schemeClr val="accent1"/>
                </a:solidFill>
                <a:cs typeface="Segoe UI" panose="020B0502040204020203" pitchFamily="34" charset="0"/>
              </a:rPr>
              <a:t>Virtual data cluster</a:t>
            </a:r>
            <a:r>
              <a:rPr lang="en-US" sz="1399" b="1" dirty="0">
                <a:solidFill>
                  <a:schemeClr val="accent1"/>
                </a:solidFill>
              </a:rPr>
              <a:t>” </a:t>
            </a:r>
            <a:r>
              <a:rPr lang="en-US" sz="1399" dirty="0">
                <a:solidFill>
                  <a:schemeClr val="tx2"/>
                </a:solidFill>
              </a:rPr>
              <a:t>dedicated to customer </a:t>
            </a:r>
          </a:p>
          <a:p>
            <a:pPr algn="ctr" defTabSz="932563"/>
            <a:r>
              <a:rPr lang="en-US" sz="1399" dirty="0">
                <a:solidFill>
                  <a:schemeClr val="tx2"/>
                </a:solidFill>
              </a:rPr>
              <a:t>(</a:t>
            </a:r>
            <a:r>
              <a:rPr lang="en-US" sz="1399" b="1" dirty="0">
                <a:solidFill>
                  <a:schemeClr val="tx2"/>
                </a:solidFill>
              </a:rPr>
              <a:t>virtual private cluster, VNET, private IPs</a:t>
            </a:r>
            <a:r>
              <a:rPr lang="en-US" sz="1399" dirty="0">
                <a:solidFill>
                  <a:schemeClr val="tx2"/>
                </a:solidFill>
              </a:rPr>
              <a:t>)</a:t>
            </a:r>
          </a:p>
        </p:txBody>
      </p:sp>
      <p:sp>
        <p:nvSpPr>
          <p:cNvPr id="42" name="TextBox 41">
            <a:extLst/>
          </p:cNvPr>
          <p:cNvSpPr txBox="1"/>
          <p:nvPr/>
        </p:nvSpPr>
        <p:spPr>
          <a:xfrm>
            <a:off x="10597248" y="2038147"/>
            <a:ext cx="844783" cy="430887"/>
          </a:xfrm>
          <a:prstGeom prst="rect">
            <a:avLst/>
          </a:prstGeom>
          <a:noFill/>
        </p:spPr>
        <p:txBody>
          <a:bodyPr wrap="none" lIns="0" tIns="0" rIns="0" bIns="0" rtlCol="0">
            <a:spAutoFit/>
          </a:bodyPr>
          <a:lstStyle/>
          <a:p>
            <a:pPr defTabSz="932563"/>
            <a:r>
              <a:rPr lang="en-US" sz="1400" dirty="0">
                <a:solidFill>
                  <a:schemeClr val="tx2"/>
                </a:solidFill>
              </a:rPr>
              <a:t>Web app</a:t>
            </a:r>
          </a:p>
          <a:p>
            <a:pPr defTabSz="932563"/>
            <a:r>
              <a:rPr lang="en-US" sz="1400" dirty="0">
                <a:solidFill>
                  <a:schemeClr val="tx2"/>
                </a:solidFill>
              </a:rPr>
              <a:t>(</a:t>
            </a:r>
            <a:r>
              <a:rPr lang="en-US" sz="1400" b="1" dirty="0">
                <a:solidFill>
                  <a:schemeClr val="tx2"/>
                </a:solidFill>
              </a:rPr>
              <a:t>public IP</a:t>
            </a:r>
            <a:r>
              <a:rPr lang="en-US" sz="1400" dirty="0">
                <a:solidFill>
                  <a:schemeClr val="tx2"/>
                </a:solidFill>
              </a:rPr>
              <a:t>)</a:t>
            </a:r>
          </a:p>
        </p:txBody>
      </p:sp>
      <p:sp>
        <p:nvSpPr>
          <p:cNvPr id="51" name="Freeform 533">
            <a:extLst>
              <a:ext uri="{FF2B5EF4-FFF2-40B4-BE49-F238E27FC236}">
                <a16:creationId xmlns:a16="http://schemas.microsoft.com/office/drawing/2014/main" id="{35E76EBA-6CB1-4905-8BB7-55764BF944D4}"/>
              </a:ext>
            </a:extLst>
          </p:cNvPr>
          <p:cNvSpPr/>
          <p:nvPr/>
        </p:nvSpPr>
        <p:spPr bwMode="auto">
          <a:xfrm>
            <a:off x="9286694" y="1707737"/>
            <a:ext cx="939631" cy="939628"/>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162934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300"/>
                                  </p:stCondLst>
                                  <p:childTnLst>
                                    <p:set>
                                      <p:cBhvr>
                                        <p:cTn id="6" dur="1" fill="hold">
                                          <p:stCondLst>
                                            <p:cond delay="0"/>
                                          </p:stCondLst>
                                        </p:cTn>
                                        <p:tgtEl>
                                          <p:spTgt spid="38"/>
                                        </p:tgtEl>
                                        <p:attrNameLst>
                                          <p:attrName>style.visibility</p:attrName>
                                        </p:attrNameLst>
                                      </p:cBhvr>
                                      <p:to>
                                        <p:strVal val="visible"/>
                                      </p:to>
                                    </p:set>
                                    <p:animEffect transition="in" filter="wipe(right)">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down)">
                                      <p:cBhvr>
                                        <p:cTn id="12" dur="500"/>
                                        <p:tgtEl>
                                          <p:spTgt spid="4"/>
                                        </p:tgtEl>
                                      </p:cBhvr>
                                    </p:animEffect>
                                  </p:childTnLst>
                                </p:cTn>
                              </p:par>
                              <p:par>
                                <p:cTn id="13" presetID="22" presetClass="entr" presetSubtype="2" fill="hold" nodeType="withEffect">
                                  <p:stCondLst>
                                    <p:cond delay="300"/>
                                  </p:stCondLst>
                                  <p:childTnLst>
                                    <p:set>
                                      <p:cBhvr>
                                        <p:cTn id="14" dur="1" fill="hold">
                                          <p:stCondLst>
                                            <p:cond delay="0"/>
                                          </p:stCondLst>
                                        </p:cTn>
                                        <p:tgtEl>
                                          <p:spTgt spid="35"/>
                                        </p:tgtEl>
                                        <p:attrNameLst>
                                          <p:attrName>style.visibility</p:attrName>
                                        </p:attrNameLst>
                                      </p:cBhvr>
                                      <p:to>
                                        <p:strVal val="visible"/>
                                      </p:to>
                                    </p:set>
                                    <p:animEffect transition="in" filter="wipe(right)">
                                      <p:cBhvr>
                                        <p:cTn id="15" dur="500"/>
                                        <p:tgtEl>
                                          <p:spTgt spid="35"/>
                                        </p:tgtEl>
                                      </p:cBhvr>
                                    </p:animEffect>
                                  </p:childTnLst>
                                </p:cTn>
                              </p:par>
                              <p:par>
                                <p:cTn id="16" presetID="22" presetClass="entr" presetSubtype="2" fill="hold" grpId="0" nodeType="withEffect">
                                  <p:stCondLst>
                                    <p:cond delay="300"/>
                                  </p:stCondLst>
                                  <p:childTnLst>
                                    <p:set>
                                      <p:cBhvr>
                                        <p:cTn id="17" dur="1" fill="hold">
                                          <p:stCondLst>
                                            <p:cond delay="0"/>
                                          </p:stCondLst>
                                        </p:cTn>
                                        <p:tgtEl>
                                          <p:spTgt spid="41"/>
                                        </p:tgtEl>
                                        <p:attrNameLst>
                                          <p:attrName>style.visibility</p:attrName>
                                        </p:attrNameLst>
                                      </p:cBhvr>
                                      <p:to>
                                        <p:strVal val="visible"/>
                                      </p:to>
                                    </p:set>
                                    <p:animEffect transition="in" filter="wipe(right)">
                                      <p:cBhvr>
                                        <p:cTn id="18" dur="500"/>
                                        <p:tgtEl>
                                          <p:spTgt spid="4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par>
                                <p:cTn id="24" presetID="22" presetClass="entr" presetSubtype="2" fill="hold" grpId="0" nodeType="with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wipe(right)">
                                      <p:cBhvr>
                                        <p:cTn id="26" dur="500"/>
                                        <p:tgtEl>
                                          <p:spTgt spid="19"/>
                                        </p:tgtEl>
                                      </p:cBhvr>
                                    </p:animEffect>
                                  </p:childTnLst>
                                </p:cTn>
                              </p:par>
                              <p:par>
                                <p:cTn id="27" presetID="22" presetClass="entr" presetSubtype="2" fill="hold" nodeType="withEffect">
                                  <p:stCondLst>
                                    <p:cond delay="200"/>
                                  </p:stCondLst>
                                  <p:childTnLst>
                                    <p:set>
                                      <p:cBhvr>
                                        <p:cTn id="28" dur="1" fill="hold">
                                          <p:stCondLst>
                                            <p:cond delay="0"/>
                                          </p:stCondLst>
                                        </p:cTn>
                                        <p:tgtEl>
                                          <p:spTgt spid="14"/>
                                        </p:tgtEl>
                                        <p:attrNameLst>
                                          <p:attrName>style.visibility</p:attrName>
                                        </p:attrNameLst>
                                      </p:cBhvr>
                                      <p:to>
                                        <p:strVal val="visible"/>
                                      </p:to>
                                    </p:set>
                                    <p:animEffect transition="in" filter="wipe(right)">
                                      <p:cBhvr>
                                        <p:cTn id="29" dur="300"/>
                                        <p:tgtEl>
                                          <p:spTgt spid="14"/>
                                        </p:tgtEl>
                                      </p:cBhvr>
                                    </p:animEffect>
                                  </p:childTnLst>
                                </p:cTn>
                              </p:par>
                              <p:par>
                                <p:cTn id="30" presetID="22" presetClass="entr" presetSubtype="2" fill="hold" nodeType="withEffect">
                                  <p:stCondLst>
                                    <p:cond delay="500"/>
                                  </p:stCondLst>
                                  <p:childTnLst>
                                    <p:set>
                                      <p:cBhvr>
                                        <p:cTn id="31" dur="1" fill="hold">
                                          <p:stCondLst>
                                            <p:cond delay="0"/>
                                          </p:stCondLst>
                                        </p:cTn>
                                        <p:tgtEl>
                                          <p:spTgt spid="17"/>
                                        </p:tgtEl>
                                        <p:attrNameLst>
                                          <p:attrName>style.visibility</p:attrName>
                                        </p:attrNameLst>
                                      </p:cBhvr>
                                      <p:to>
                                        <p:strVal val="visible"/>
                                      </p:to>
                                    </p:set>
                                    <p:animEffect transition="in" filter="wipe(right)">
                                      <p:cBhvr>
                                        <p:cTn id="32" dur="500"/>
                                        <p:tgtEl>
                                          <p:spTgt spid="17"/>
                                        </p:tgtEl>
                                      </p:cBhvr>
                                    </p:animEffect>
                                  </p:childTnLst>
                                </p:cTn>
                              </p:par>
                              <p:par>
                                <p:cTn id="33" presetID="22" presetClass="entr" presetSubtype="2" fill="hold" grpId="0" nodeType="withEffect">
                                  <p:stCondLst>
                                    <p:cond delay="500"/>
                                  </p:stCondLst>
                                  <p:childTnLst>
                                    <p:set>
                                      <p:cBhvr>
                                        <p:cTn id="34" dur="1" fill="hold">
                                          <p:stCondLst>
                                            <p:cond delay="0"/>
                                          </p:stCondLst>
                                        </p:cTn>
                                        <p:tgtEl>
                                          <p:spTgt spid="16"/>
                                        </p:tgtEl>
                                        <p:attrNameLst>
                                          <p:attrName>style.visibility</p:attrName>
                                        </p:attrNameLst>
                                      </p:cBhvr>
                                      <p:to>
                                        <p:strVal val="visible"/>
                                      </p:to>
                                    </p:set>
                                    <p:animEffect transition="in" filter="wipe(right)">
                                      <p:cBhvr>
                                        <p:cTn id="35" dur="500"/>
                                        <p:tgtEl>
                                          <p:spTgt spid="16"/>
                                        </p:tgtEl>
                                      </p:cBhvr>
                                    </p:animEffect>
                                  </p:childTnLst>
                                </p:cTn>
                              </p:par>
                              <p:par>
                                <p:cTn id="36" presetID="22" presetClass="entr" presetSubtype="2" fill="hold" nodeType="withEffect">
                                  <p:stCondLst>
                                    <p:cond delay="700"/>
                                  </p:stCondLst>
                                  <p:childTnLst>
                                    <p:set>
                                      <p:cBhvr>
                                        <p:cTn id="37" dur="1" fill="hold">
                                          <p:stCondLst>
                                            <p:cond delay="0"/>
                                          </p:stCondLst>
                                        </p:cTn>
                                        <p:tgtEl>
                                          <p:spTgt spid="15"/>
                                        </p:tgtEl>
                                        <p:attrNameLst>
                                          <p:attrName>style.visibility</p:attrName>
                                        </p:attrNameLst>
                                      </p:cBhvr>
                                      <p:to>
                                        <p:strVal val="visible"/>
                                      </p:to>
                                    </p:set>
                                    <p:animEffect transition="in" filter="wipe(right)">
                                      <p:cBhvr>
                                        <p:cTn id="38" dur="300"/>
                                        <p:tgtEl>
                                          <p:spTgt spid="15"/>
                                        </p:tgtEl>
                                      </p:cBhvr>
                                    </p:animEffect>
                                  </p:childTnLst>
                                </p:cTn>
                              </p:par>
                              <p:par>
                                <p:cTn id="39" presetID="10" presetClass="entr" presetSubtype="0" fill="hold" nodeType="withEffect">
                                  <p:stCondLst>
                                    <p:cond delay="100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par>
                                <p:cTn id="42" presetID="22" presetClass="entr" presetSubtype="2" fill="hold" grpId="0" nodeType="withEffect">
                                  <p:stCondLst>
                                    <p:cond delay="1000"/>
                                  </p:stCondLst>
                                  <p:childTnLst>
                                    <p:set>
                                      <p:cBhvr>
                                        <p:cTn id="43" dur="1" fill="hold">
                                          <p:stCondLst>
                                            <p:cond delay="0"/>
                                          </p:stCondLst>
                                        </p:cTn>
                                        <p:tgtEl>
                                          <p:spTgt spid="20"/>
                                        </p:tgtEl>
                                        <p:attrNameLst>
                                          <p:attrName>style.visibility</p:attrName>
                                        </p:attrNameLst>
                                      </p:cBhvr>
                                      <p:to>
                                        <p:strVal val="visible"/>
                                      </p:to>
                                    </p:set>
                                    <p:animEffect transition="in" filter="wipe(right)">
                                      <p:cBhvr>
                                        <p:cTn id="44" dur="500"/>
                                        <p:tgtEl>
                                          <p:spTgt spid="20"/>
                                        </p:tgtEl>
                                      </p:cBhvr>
                                    </p:animEffect>
                                  </p:childTnLst>
                                </p:cTn>
                              </p:par>
                              <p:par>
                                <p:cTn id="45" presetID="22" presetClass="entr" presetSubtype="2" fill="hold" nodeType="withEffect">
                                  <p:stCondLst>
                                    <p:cond delay="1200"/>
                                  </p:stCondLst>
                                  <p:childTnLst>
                                    <p:set>
                                      <p:cBhvr>
                                        <p:cTn id="46" dur="1" fill="hold">
                                          <p:stCondLst>
                                            <p:cond delay="0"/>
                                          </p:stCondLst>
                                        </p:cTn>
                                        <p:tgtEl>
                                          <p:spTgt spid="22"/>
                                        </p:tgtEl>
                                        <p:attrNameLst>
                                          <p:attrName>style.visibility</p:attrName>
                                        </p:attrNameLst>
                                      </p:cBhvr>
                                      <p:to>
                                        <p:strVal val="visible"/>
                                      </p:to>
                                    </p:set>
                                    <p:animEffect transition="in" filter="wipe(right)">
                                      <p:cBhvr>
                                        <p:cTn id="47" dur="500"/>
                                        <p:tgtEl>
                                          <p:spTgt spid="2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par>
                                <p:cTn id="53" presetID="10" presetClass="entr" presetSubtype="0" fill="hold" nodeType="withEffect">
                                  <p:stCondLst>
                                    <p:cond delay="200"/>
                                  </p:stCondLst>
                                  <p:childTnLst>
                                    <p:set>
                                      <p:cBhvr>
                                        <p:cTn id="54" dur="1" fill="hold">
                                          <p:stCondLst>
                                            <p:cond delay="0"/>
                                          </p:stCondLst>
                                        </p:cTn>
                                        <p:tgtEl>
                                          <p:spTgt spid="12"/>
                                        </p:tgtEl>
                                        <p:attrNameLst>
                                          <p:attrName>style.visibility</p:attrName>
                                        </p:attrNameLst>
                                      </p:cBhvr>
                                      <p:to>
                                        <p:strVal val="visible"/>
                                      </p:to>
                                    </p:set>
                                    <p:animEffect transition="in" filter="fade">
                                      <p:cBhvr>
                                        <p:cTn id="55" dur="500"/>
                                        <p:tgtEl>
                                          <p:spTgt spid="12"/>
                                        </p:tgtEl>
                                      </p:cBhvr>
                                    </p:animEffect>
                                  </p:childTnLst>
                                </p:cTn>
                              </p:par>
                              <p:par>
                                <p:cTn id="56" presetID="10" presetClass="entr" presetSubtype="0" fill="hold" nodeType="withEffect">
                                  <p:stCondLst>
                                    <p:cond delay="400"/>
                                  </p:stCondLst>
                                  <p:childTnLst>
                                    <p:set>
                                      <p:cBhvr>
                                        <p:cTn id="57" dur="1" fill="hold">
                                          <p:stCondLst>
                                            <p:cond delay="0"/>
                                          </p:stCondLst>
                                        </p:cTn>
                                        <p:tgtEl>
                                          <p:spTgt spid="11"/>
                                        </p:tgtEl>
                                        <p:attrNameLst>
                                          <p:attrName>style.visibility</p:attrName>
                                        </p:attrNameLst>
                                      </p:cBhvr>
                                      <p:to>
                                        <p:strVal val="visible"/>
                                      </p:to>
                                    </p:set>
                                    <p:animEffect transition="in" filter="fade">
                                      <p:cBhvr>
                                        <p:cTn id="58" dur="500"/>
                                        <p:tgtEl>
                                          <p:spTgt spid="11"/>
                                        </p:tgtEl>
                                      </p:cBhvr>
                                    </p:animEffect>
                                  </p:childTnLst>
                                </p:cTn>
                              </p:par>
                              <p:par>
                                <p:cTn id="59" presetID="10" presetClass="entr" presetSubtype="0" fill="hold" nodeType="withEffect">
                                  <p:stCondLst>
                                    <p:cond delay="600"/>
                                  </p:stCondLst>
                                  <p:childTnLst>
                                    <p:set>
                                      <p:cBhvr>
                                        <p:cTn id="60" dur="1" fill="hold">
                                          <p:stCondLst>
                                            <p:cond delay="0"/>
                                          </p:stCondLst>
                                        </p:cTn>
                                        <p:tgtEl>
                                          <p:spTgt spid="10"/>
                                        </p:tgtEl>
                                        <p:attrNameLst>
                                          <p:attrName>style.visibility</p:attrName>
                                        </p:attrNameLst>
                                      </p:cBhvr>
                                      <p:to>
                                        <p:strVal val="visible"/>
                                      </p:to>
                                    </p:set>
                                    <p:animEffect transition="in" filter="fade">
                                      <p:cBhvr>
                                        <p:cTn id="61" dur="500"/>
                                        <p:tgtEl>
                                          <p:spTgt spid="10"/>
                                        </p:tgtEl>
                                      </p:cBhvr>
                                    </p:animEffect>
                                  </p:childTnLst>
                                </p:cTn>
                              </p:par>
                              <p:par>
                                <p:cTn id="62" presetID="10" presetClass="entr" presetSubtype="0" fill="hold" nodeType="withEffect">
                                  <p:stCondLst>
                                    <p:cond delay="800"/>
                                  </p:stCondLst>
                                  <p:childTnLst>
                                    <p:set>
                                      <p:cBhvr>
                                        <p:cTn id="63" dur="1" fill="hold">
                                          <p:stCondLst>
                                            <p:cond delay="0"/>
                                          </p:stCondLst>
                                        </p:cTn>
                                        <p:tgtEl>
                                          <p:spTgt spid="9"/>
                                        </p:tgtEl>
                                        <p:attrNameLst>
                                          <p:attrName>style.visibility</p:attrName>
                                        </p:attrNameLst>
                                      </p:cBhvr>
                                      <p:to>
                                        <p:strVal val="visible"/>
                                      </p:to>
                                    </p:set>
                                    <p:animEffect transition="in" filter="fade">
                                      <p:cBhvr>
                                        <p:cTn id="64" dur="500"/>
                                        <p:tgtEl>
                                          <p:spTgt spid="9"/>
                                        </p:tgtEl>
                                      </p:cBhvr>
                                    </p:animEffect>
                                  </p:childTnLst>
                                </p:cTn>
                              </p:par>
                              <p:par>
                                <p:cTn id="65" presetID="22" presetClass="entr" presetSubtype="4" fill="hold" grpId="0" nodeType="withEffect">
                                  <p:stCondLst>
                                    <p:cond delay="800"/>
                                  </p:stCondLst>
                                  <p:childTnLst>
                                    <p:set>
                                      <p:cBhvr>
                                        <p:cTn id="66" dur="1" fill="hold">
                                          <p:stCondLst>
                                            <p:cond delay="0"/>
                                          </p:stCondLst>
                                        </p:cTn>
                                        <p:tgtEl>
                                          <p:spTgt spid="6"/>
                                        </p:tgtEl>
                                        <p:attrNameLst>
                                          <p:attrName>style.visibility</p:attrName>
                                        </p:attrNameLst>
                                      </p:cBhvr>
                                      <p:to>
                                        <p:strVal val="visible"/>
                                      </p:to>
                                    </p:set>
                                    <p:animEffect transition="in" filter="wipe(down)">
                                      <p:cBhvr>
                                        <p:cTn id="67" dur="500"/>
                                        <p:tgtEl>
                                          <p:spTgt spid="6"/>
                                        </p:tgtEl>
                                      </p:cBhvr>
                                    </p:animEffect>
                                  </p:childTnLst>
                                </p:cTn>
                              </p:par>
                              <p:par>
                                <p:cTn id="68" presetID="22" presetClass="entr" presetSubtype="4" fill="hold" grpId="0" nodeType="withEffect">
                                  <p:stCondLst>
                                    <p:cond delay="1200"/>
                                  </p:stCondLst>
                                  <p:childTnLst>
                                    <p:set>
                                      <p:cBhvr>
                                        <p:cTn id="69" dur="1" fill="hold">
                                          <p:stCondLst>
                                            <p:cond delay="0"/>
                                          </p:stCondLst>
                                        </p:cTn>
                                        <p:tgtEl>
                                          <p:spTgt spid="31"/>
                                        </p:tgtEl>
                                        <p:attrNameLst>
                                          <p:attrName>style.visibility</p:attrName>
                                        </p:attrNameLst>
                                      </p:cBhvr>
                                      <p:to>
                                        <p:strVal val="visible"/>
                                      </p:to>
                                    </p:set>
                                    <p:animEffect transition="in" filter="wipe(down)">
                                      <p:cBhvr>
                                        <p:cTn id="70" dur="800"/>
                                        <p:tgtEl>
                                          <p:spTgt spid="31"/>
                                        </p:tgtEl>
                                      </p:cBhvr>
                                    </p:animEffect>
                                  </p:childTnLst>
                                </p:cTn>
                              </p:par>
                              <p:par>
                                <p:cTn id="71" presetID="10" presetClass="entr" presetSubtype="0" fill="hold" grpId="0" nodeType="withEffect">
                                  <p:stCondLst>
                                    <p:cond delay="140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grpId="0" nodeType="withEffect">
                                  <p:stCondLst>
                                    <p:cond delay="1400"/>
                                  </p:stCondLst>
                                  <p:childTnLst>
                                    <p:set>
                                      <p:cBhvr>
                                        <p:cTn id="75" dur="1" fill="hold">
                                          <p:stCondLst>
                                            <p:cond delay="0"/>
                                          </p:stCondLst>
                                        </p:cTn>
                                        <p:tgtEl>
                                          <p:spTgt spid="51"/>
                                        </p:tgtEl>
                                        <p:attrNameLst>
                                          <p:attrName>style.visibility</p:attrName>
                                        </p:attrNameLst>
                                      </p:cBhvr>
                                      <p:to>
                                        <p:strVal val="visible"/>
                                      </p:to>
                                    </p:set>
                                    <p:animEffect transition="in" filter="fade">
                                      <p:cBhvr>
                                        <p:cTn id="76" dur="600"/>
                                        <p:tgtEl>
                                          <p:spTgt spid="51"/>
                                        </p:tgtEl>
                                      </p:cBhvr>
                                    </p:animEffect>
                                  </p:childTnLst>
                                </p:cTn>
                              </p:par>
                              <p:par>
                                <p:cTn id="77" presetID="22" presetClass="entr" presetSubtype="2" fill="hold" nodeType="withEffect">
                                  <p:stCondLst>
                                    <p:cond delay="1800"/>
                                  </p:stCondLst>
                                  <p:childTnLst>
                                    <p:set>
                                      <p:cBhvr>
                                        <p:cTn id="78" dur="1" fill="hold">
                                          <p:stCondLst>
                                            <p:cond delay="0"/>
                                          </p:stCondLst>
                                        </p:cTn>
                                        <p:tgtEl>
                                          <p:spTgt spid="26"/>
                                        </p:tgtEl>
                                        <p:attrNameLst>
                                          <p:attrName>style.visibility</p:attrName>
                                        </p:attrNameLst>
                                      </p:cBhvr>
                                      <p:to>
                                        <p:strVal val="visible"/>
                                      </p:to>
                                    </p:set>
                                    <p:animEffect transition="in" filter="wipe(right)">
                                      <p:cBhvr>
                                        <p:cTn id="79" dur="500"/>
                                        <p:tgtEl>
                                          <p:spTgt spid="26"/>
                                        </p:tgtEl>
                                      </p:cBhvr>
                                    </p:animEffect>
                                  </p:childTnLst>
                                </p:cTn>
                              </p:par>
                              <p:par>
                                <p:cTn id="80" presetID="22" presetClass="entr" presetSubtype="2" fill="hold" nodeType="withEffect">
                                  <p:stCondLst>
                                    <p:cond delay="1800"/>
                                  </p:stCondLst>
                                  <p:childTnLst>
                                    <p:set>
                                      <p:cBhvr>
                                        <p:cTn id="81" dur="1" fill="hold">
                                          <p:stCondLst>
                                            <p:cond delay="0"/>
                                          </p:stCondLst>
                                        </p:cTn>
                                        <p:tgtEl>
                                          <p:spTgt spid="27"/>
                                        </p:tgtEl>
                                        <p:attrNameLst>
                                          <p:attrName>style.visibility</p:attrName>
                                        </p:attrNameLst>
                                      </p:cBhvr>
                                      <p:to>
                                        <p:strVal val="visible"/>
                                      </p:to>
                                    </p:set>
                                    <p:animEffect transition="in" filter="wipe(right)">
                                      <p:cBhvr>
                                        <p:cTn id="82" dur="500"/>
                                        <p:tgtEl>
                                          <p:spTgt spid="27"/>
                                        </p:tgtEl>
                                      </p:cBhvr>
                                    </p:animEffect>
                                  </p:childTnLst>
                                </p:cTn>
                              </p:par>
                              <p:par>
                                <p:cTn id="83" presetID="16" presetClass="entr" presetSubtype="37" fill="hold" nodeType="withEffect">
                                  <p:stCondLst>
                                    <p:cond delay="1800"/>
                                  </p:stCondLst>
                                  <p:childTnLst>
                                    <p:set>
                                      <p:cBhvr>
                                        <p:cTn id="84" dur="1" fill="hold">
                                          <p:stCondLst>
                                            <p:cond delay="0"/>
                                          </p:stCondLst>
                                        </p:cTn>
                                        <p:tgtEl>
                                          <p:spTgt spid="32"/>
                                        </p:tgtEl>
                                        <p:attrNameLst>
                                          <p:attrName>style.visibility</p:attrName>
                                        </p:attrNameLst>
                                      </p:cBhvr>
                                      <p:to>
                                        <p:strVal val="visible"/>
                                      </p:to>
                                    </p:set>
                                    <p:animEffect transition="in" filter="barn(outVertical)">
                                      <p:cBhvr>
                                        <p:cTn id="85" dur="500"/>
                                        <p:tgtEl>
                                          <p:spTgt spid="32"/>
                                        </p:tgtEl>
                                      </p:cBhvr>
                                    </p:animEffect>
                                  </p:childTnLst>
                                </p:cTn>
                              </p:par>
                              <p:par>
                                <p:cTn id="86" presetID="22" presetClass="entr" presetSubtype="2" fill="hold" nodeType="withEffect">
                                  <p:stCondLst>
                                    <p:cond delay="1800"/>
                                  </p:stCondLst>
                                  <p:childTnLst>
                                    <p:set>
                                      <p:cBhvr>
                                        <p:cTn id="87" dur="1" fill="hold">
                                          <p:stCondLst>
                                            <p:cond delay="0"/>
                                          </p:stCondLst>
                                        </p:cTn>
                                        <p:tgtEl>
                                          <p:spTgt spid="28"/>
                                        </p:tgtEl>
                                        <p:attrNameLst>
                                          <p:attrName>style.visibility</p:attrName>
                                        </p:attrNameLst>
                                      </p:cBhvr>
                                      <p:to>
                                        <p:strVal val="visible"/>
                                      </p:to>
                                    </p:set>
                                    <p:animEffect transition="in" filter="wipe(right)">
                                      <p:cBhvr>
                                        <p:cTn id="88"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16" grpId="0"/>
      <p:bldP spid="19" grpId="0"/>
      <p:bldP spid="20" grpId="0" animBg="1"/>
      <p:bldP spid="31" grpId="0" animBg="1"/>
      <p:bldP spid="41" grpId="0"/>
      <p:bldP spid="42" grpId="0"/>
      <p:bldP spid="51" grpId="0" animBg="1"/>
    </p:bld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a:t>Nearly 100% Compatibility with SQL Server</a:t>
            </a:r>
          </a:p>
        </p:txBody>
      </p:sp>
      <p:sp>
        <p:nvSpPr>
          <p:cNvPr id="15" name="TextBox 14">
            <a:extLst>
              <a:ext uri="{FF2B5EF4-FFF2-40B4-BE49-F238E27FC236}">
                <a16:creationId xmlns:a16="http://schemas.microsoft.com/office/drawing/2014/main" id="{E49CB526-1F1F-4F23-9CEC-C1AF44938F93}"/>
              </a:ext>
            </a:extLst>
          </p:cNvPr>
          <p:cNvSpPr txBox="1"/>
          <p:nvPr/>
        </p:nvSpPr>
        <p:spPr>
          <a:xfrm>
            <a:off x="1492886" y="6550839"/>
            <a:ext cx="7787220" cy="249299"/>
          </a:xfrm>
          <a:prstGeom prst="rect">
            <a:avLst/>
          </a:prstGeom>
          <a:noFill/>
        </p:spPr>
        <p:txBody>
          <a:bodyPr wrap="square" lIns="0" tIns="0" rIns="0" bIns="0" rtlCol="0">
            <a:spAutoFit/>
          </a:bodyPr>
          <a:lstStyle/>
          <a:p>
            <a:pPr defTabSz="932597">
              <a:lnSpc>
                <a:spcPct val="90000"/>
              </a:lnSpc>
              <a:spcAft>
                <a:spcPts val="600"/>
              </a:spcAft>
            </a:pPr>
            <a:r>
              <a:rPr lang="en-US" dirty="0">
                <a:solidFill>
                  <a:schemeClr val="tx2"/>
                </a:solidFill>
              </a:rPr>
              <a:t>Support is coming in stages until General Availability of Managed Instance</a:t>
            </a:r>
          </a:p>
        </p:txBody>
      </p:sp>
      <p:grpSp>
        <p:nvGrpSpPr>
          <p:cNvPr id="11" name="Group 10">
            <a:extLst>
              <a:ext uri="{FF2B5EF4-FFF2-40B4-BE49-F238E27FC236}">
                <a16:creationId xmlns:a16="http://schemas.microsoft.com/office/drawing/2014/main" id="{0D35A089-5DC6-4B28-B551-3219B45BE9C8}"/>
              </a:ext>
            </a:extLst>
          </p:cNvPr>
          <p:cNvGrpSpPr/>
          <p:nvPr/>
        </p:nvGrpSpPr>
        <p:grpSpPr>
          <a:xfrm>
            <a:off x="490538" y="1333064"/>
            <a:ext cx="11480800" cy="806282"/>
            <a:chOff x="490538" y="1333064"/>
            <a:chExt cx="11480800" cy="806282"/>
          </a:xfrm>
        </p:grpSpPr>
        <p:sp>
          <p:nvSpPr>
            <p:cNvPr id="44" name="Rectangle 43">
              <a:extLst>
                <a:ext uri="{FF2B5EF4-FFF2-40B4-BE49-F238E27FC236}">
                  <a16:creationId xmlns:a16="http://schemas.microsoft.com/office/drawing/2014/main" id="{E2D40E0C-F206-4583-BE5A-9338ED9F2697}"/>
                </a:ext>
              </a:extLst>
            </p:cNvPr>
            <p:cNvSpPr/>
            <p:nvPr/>
          </p:nvSpPr>
          <p:spPr>
            <a:xfrm>
              <a:off x="1492886" y="1383755"/>
              <a:ext cx="10478452" cy="646331"/>
            </a:xfrm>
            <a:prstGeom prst="rect">
              <a:avLst/>
            </a:prstGeom>
          </p:spPr>
          <p:txBody>
            <a:bodyPr wrap="square" lIns="0" tIns="0" rIns="0" bIns="0">
              <a:spAutoFit/>
            </a:bodyPr>
            <a:lstStyle/>
            <a:p>
              <a:r>
                <a:rPr lang="en-US" sz="2400" dirty="0">
                  <a:latin typeface="+mj-lt"/>
                </a:rPr>
                <a:t>Quick migration</a:t>
              </a:r>
            </a:p>
            <a:p>
              <a:r>
                <a:rPr lang="en-US" dirty="0">
                  <a:solidFill>
                    <a:schemeClr val="tx2"/>
                  </a:solidFill>
                </a:rPr>
                <a:t>Native backup, restore</a:t>
              </a:r>
            </a:p>
          </p:txBody>
        </p:sp>
        <p:grpSp>
          <p:nvGrpSpPr>
            <p:cNvPr id="10" name="Group 9">
              <a:extLst>
                <a:ext uri="{FF2B5EF4-FFF2-40B4-BE49-F238E27FC236}">
                  <a16:creationId xmlns:a16="http://schemas.microsoft.com/office/drawing/2014/main" id="{6C6A333A-BD85-48F6-B6E5-958F664AE567}"/>
                </a:ext>
              </a:extLst>
            </p:cNvPr>
            <p:cNvGrpSpPr/>
            <p:nvPr/>
          </p:nvGrpSpPr>
          <p:grpSpPr>
            <a:xfrm>
              <a:off x="490538" y="1333064"/>
              <a:ext cx="747712" cy="747712"/>
              <a:chOff x="490538" y="1333064"/>
              <a:chExt cx="747712" cy="747712"/>
            </a:xfrm>
          </p:grpSpPr>
          <p:grpSp>
            <p:nvGrpSpPr>
              <p:cNvPr id="14" name="Group 13">
                <a:extLst>
                  <a:ext uri="{FF2B5EF4-FFF2-40B4-BE49-F238E27FC236}">
                    <a16:creationId xmlns:a16="http://schemas.microsoft.com/office/drawing/2014/main" id="{FDA0CD07-2761-4646-B890-EBFBDF77AEE3}"/>
                  </a:ext>
                </a:extLst>
              </p:cNvPr>
              <p:cNvGrpSpPr/>
              <p:nvPr/>
            </p:nvGrpSpPr>
            <p:grpSpPr>
              <a:xfrm>
                <a:off x="490538" y="1333064"/>
                <a:ext cx="747712" cy="747712"/>
                <a:chOff x="343218" y="1193019"/>
                <a:chExt cx="1470342" cy="1470342"/>
              </a:xfrm>
            </p:grpSpPr>
            <p:sp>
              <p:nvSpPr>
                <p:cNvPr id="16" name="Oval 15">
                  <a:extLst>
                    <a:ext uri="{FF2B5EF4-FFF2-40B4-BE49-F238E27FC236}">
                      <a16:creationId xmlns:a16="http://schemas.microsoft.com/office/drawing/2014/main" id="{41B7E42A-BE6F-4F1A-A74B-4C8B26A99811}"/>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17" name="Arc 16">
                  <a:extLst>
                    <a:ext uri="{FF2B5EF4-FFF2-40B4-BE49-F238E27FC236}">
                      <a16:creationId xmlns:a16="http://schemas.microsoft.com/office/drawing/2014/main" id="{3EDAB977-6049-4096-9DE9-C8B1515A475B}"/>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pic>
            <p:nvPicPr>
              <p:cNvPr id="36" name="Graphic 35">
                <a:extLst>
                  <a:ext uri="{FF2B5EF4-FFF2-40B4-BE49-F238E27FC236}">
                    <a16:creationId xmlns:a16="http://schemas.microsoft.com/office/drawing/2014/main" id="{9D04DA5A-36A4-48A3-A651-A5A55C10FF40}"/>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0678" t="15602" r="20678" b="15602"/>
              <a:stretch/>
            </p:blipFill>
            <p:spPr>
              <a:xfrm>
                <a:off x="648359" y="1511085"/>
                <a:ext cx="432070" cy="391671"/>
              </a:xfrm>
              <a:prstGeom prst="rect">
                <a:avLst/>
              </a:prstGeom>
            </p:spPr>
          </p:pic>
        </p:grpSp>
        <p:cxnSp>
          <p:nvCxnSpPr>
            <p:cNvPr id="4" name="Straight Connector 3">
              <a:extLst>
                <a:ext uri="{FF2B5EF4-FFF2-40B4-BE49-F238E27FC236}">
                  <a16:creationId xmlns:a16="http://schemas.microsoft.com/office/drawing/2014/main" id="{ADFA8909-34C4-40E8-B5DF-4F57F2FA3649}"/>
                </a:ext>
              </a:extLst>
            </p:cNvPr>
            <p:cNvCxnSpPr/>
            <p:nvPr/>
          </p:nvCxnSpPr>
          <p:spPr>
            <a:xfrm>
              <a:off x="1492886" y="2139346"/>
              <a:ext cx="1034859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511AE4BE-9979-4958-B9C4-722771B8A87A}"/>
              </a:ext>
            </a:extLst>
          </p:cNvPr>
          <p:cNvGrpSpPr/>
          <p:nvPr/>
        </p:nvGrpSpPr>
        <p:grpSpPr>
          <a:xfrm>
            <a:off x="483592" y="2197916"/>
            <a:ext cx="11487746" cy="808378"/>
            <a:chOff x="483592" y="2197916"/>
            <a:chExt cx="11487746" cy="808378"/>
          </a:xfrm>
        </p:grpSpPr>
        <p:sp>
          <p:nvSpPr>
            <p:cNvPr id="49" name="Rectangle 48">
              <a:extLst>
                <a:ext uri="{FF2B5EF4-FFF2-40B4-BE49-F238E27FC236}">
                  <a16:creationId xmlns:a16="http://schemas.microsoft.com/office/drawing/2014/main" id="{33295BEE-D882-4606-A193-1328E6CAC4FF}"/>
                </a:ext>
              </a:extLst>
            </p:cNvPr>
            <p:cNvSpPr/>
            <p:nvPr/>
          </p:nvSpPr>
          <p:spPr>
            <a:xfrm>
              <a:off x="1492886" y="2249655"/>
              <a:ext cx="10478452" cy="646331"/>
            </a:xfrm>
            <a:prstGeom prst="rect">
              <a:avLst/>
            </a:prstGeom>
          </p:spPr>
          <p:txBody>
            <a:bodyPr wrap="square" lIns="0" tIns="0" rIns="0" bIns="0">
              <a:spAutoFit/>
            </a:bodyPr>
            <a:lstStyle/>
            <a:p>
              <a:r>
                <a:rPr lang="en-US" sz="2400" dirty="0">
                  <a:latin typeface="+mj-lt"/>
                </a:rPr>
                <a:t>Programmability &amp; extensibility </a:t>
              </a:r>
            </a:p>
            <a:p>
              <a:r>
                <a:rPr lang="en-US" dirty="0">
                  <a:solidFill>
                    <a:schemeClr val="tx2"/>
                  </a:solidFill>
                </a:rPr>
                <a:t>Cross-database queries &amp; transactions, global temp cables, CLR, R Services</a:t>
              </a:r>
            </a:p>
          </p:txBody>
        </p:sp>
        <p:grpSp>
          <p:nvGrpSpPr>
            <p:cNvPr id="9" name="Group 8">
              <a:extLst>
                <a:ext uri="{FF2B5EF4-FFF2-40B4-BE49-F238E27FC236}">
                  <a16:creationId xmlns:a16="http://schemas.microsoft.com/office/drawing/2014/main" id="{2A9D32AE-EE5E-4C66-87DD-26C83772F4D4}"/>
                </a:ext>
              </a:extLst>
            </p:cNvPr>
            <p:cNvGrpSpPr/>
            <p:nvPr/>
          </p:nvGrpSpPr>
          <p:grpSpPr>
            <a:xfrm>
              <a:off x="483592" y="2197916"/>
              <a:ext cx="749808" cy="749808"/>
              <a:chOff x="483592" y="2204511"/>
              <a:chExt cx="749808" cy="749808"/>
            </a:xfrm>
          </p:grpSpPr>
          <p:grpSp>
            <p:nvGrpSpPr>
              <p:cNvPr id="74" name="Group 73">
                <a:extLst>
                  <a:ext uri="{FF2B5EF4-FFF2-40B4-BE49-F238E27FC236}">
                    <a16:creationId xmlns:a16="http://schemas.microsoft.com/office/drawing/2014/main" id="{9EB40999-18B8-48A7-BE93-74DA26F71F95}"/>
                  </a:ext>
                </a:extLst>
              </p:cNvPr>
              <p:cNvGrpSpPr/>
              <p:nvPr/>
            </p:nvGrpSpPr>
            <p:grpSpPr>
              <a:xfrm>
                <a:off x="483592" y="2204511"/>
                <a:ext cx="749808" cy="749808"/>
                <a:chOff x="343218" y="2937006"/>
                <a:chExt cx="1470342" cy="1470342"/>
              </a:xfrm>
            </p:grpSpPr>
            <p:sp>
              <p:nvSpPr>
                <p:cNvPr id="75" name="Oval 74">
                  <a:extLst>
                    <a:ext uri="{FF2B5EF4-FFF2-40B4-BE49-F238E27FC236}">
                      <a16:creationId xmlns:a16="http://schemas.microsoft.com/office/drawing/2014/main" id="{ADBF0CFC-A11D-4251-828B-692CE4C043FA}"/>
                    </a:ext>
                  </a:extLst>
                </p:cNvPr>
                <p:cNvSpPr/>
                <p:nvPr/>
              </p:nvSpPr>
              <p:spPr bwMode="auto">
                <a:xfrm>
                  <a:off x="465138" y="3058929"/>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76" name="Arc 75">
                  <a:extLst>
                    <a:ext uri="{FF2B5EF4-FFF2-40B4-BE49-F238E27FC236}">
                      <a16:creationId xmlns:a16="http://schemas.microsoft.com/office/drawing/2014/main" id="{37796E5F-5BED-440E-8DAA-D190A504B930}"/>
                    </a:ext>
                  </a:extLst>
                </p:cNvPr>
                <p:cNvSpPr/>
                <p:nvPr/>
              </p:nvSpPr>
              <p:spPr>
                <a:xfrm flipH="1">
                  <a:off x="343218" y="2937006"/>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pic>
            <p:nvPicPr>
              <p:cNvPr id="37" name="Graphic 36">
                <a:extLst>
                  <a:ext uri="{FF2B5EF4-FFF2-40B4-BE49-F238E27FC236}">
                    <a16:creationId xmlns:a16="http://schemas.microsoft.com/office/drawing/2014/main" id="{0526D0A0-EA3E-4048-ADBB-6FCB38EF4569}"/>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26768" t="14052" r="26768" b="14052"/>
              <a:stretch/>
            </p:blipFill>
            <p:spPr>
              <a:xfrm>
                <a:off x="642461" y="2321111"/>
                <a:ext cx="432070" cy="516608"/>
              </a:xfrm>
              <a:prstGeom prst="rect">
                <a:avLst/>
              </a:prstGeom>
            </p:spPr>
          </p:pic>
        </p:grpSp>
        <p:cxnSp>
          <p:nvCxnSpPr>
            <p:cNvPr id="38" name="Straight Connector 37">
              <a:extLst>
                <a:ext uri="{FF2B5EF4-FFF2-40B4-BE49-F238E27FC236}">
                  <a16:creationId xmlns:a16="http://schemas.microsoft.com/office/drawing/2014/main" id="{EFEDAA40-C920-42F0-B164-DCACA550B665}"/>
                </a:ext>
              </a:extLst>
            </p:cNvPr>
            <p:cNvCxnSpPr/>
            <p:nvPr/>
          </p:nvCxnSpPr>
          <p:spPr>
            <a:xfrm>
              <a:off x="1492886" y="3006294"/>
              <a:ext cx="1034859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360B34E6-6D78-4037-B4B3-7FEAB29622DD}"/>
              </a:ext>
            </a:extLst>
          </p:cNvPr>
          <p:cNvGrpSpPr/>
          <p:nvPr/>
        </p:nvGrpSpPr>
        <p:grpSpPr>
          <a:xfrm>
            <a:off x="483592" y="3929716"/>
            <a:ext cx="11487746" cy="808378"/>
            <a:chOff x="483592" y="3929716"/>
            <a:chExt cx="11487746" cy="808378"/>
          </a:xfrm>
        </p:grpSpPr>
        <p:sp>
          <p:nvSpPr>
            <p:cNvPr id="57" name="Rectangle 56">
              <a:extLst>
                <a:ext uri="{FF2B5EF4-FFF2-40B4-BE49-F238E27FC236}">
                  <a16:creationId xmlns:a16="http://schemas.microsoft.com/office/drawing/2014/main" id="{1F679516-EF2C-439D-A453-D61F0FDA7147}"/>
                </a:ext>
              </a:extLst>
            </p:cNvPr>
            <p:cNvSpPr/>
            <p:nvPr/>
          </p:nvSpPr>
          <p:spPr>
            <a:xfrm>
              <a:off x="1492886" y="3981455"/>
              <a:ext cx="10478452" cy="646331"/>
            </a:xfrm>
            <a:prstGeom prst="rect">
              <a:avLst/>
            </a:prstGeom>
          </p:spPr>
          <p:txBody>
            <a:bodyPr wrap="square" lIns="0" tIns="0" rIns="0" bIns="0">
              <a:spAutoFit/>
            </a:bodyPr>
            <a:lstStyle/>
            <a:p>
              <a:r>
                <a:rPr lang="en-US" sz="2400" dirty="0">
                  <a:latin typeface="+mj-lt"/>
                </a:rPr>
                <a:t>Scheduler/notifications</a:t>
              </a:r>
            </a:p>
            <a:p>
              <a:r>
                <a:rPr lang="en-US" dirty="0">
                  <a:solidFill>
                    <a:schemeClr val="tx2"/>
                  </a:solidFill>
                </a:rPr>
                <a:t>SQL Agent, </a:t>
              </a:r>
              <a:r>
                <a:rPr lang="en-US" dirty="0" err="1">
                  <a:solidFill>
                    <a:schemeClr val="tx2"/>
                  </a:solidFill>
                </a:rPr>
                <a:t>DBMail</a:t>
              </a:r>
              <a:r>
                <a:rPr lang="en-US" dirty="0">
                  <a:solidFill>
                    <a:schemeClr val="tx2"/>
                  </a:solidFill>
                </a:rPr>
                <a:t>, Alerts</a:t>
              </a:r>
            </a:p>
          </p:txBody>
        </p:sp>
        <p:grpSp>
          <p:nvGrpSpPr>
            <p:cNvPr id="7" name="Group 6">
              <a:extLst>
                <a:ext uri="{FF2B5EF4-FFF2-40B4-BE49-F238E27FC236}">
                  <a16:creationId xmlns:a16="http://schemas.microsoft.com/office/drawing/2014/main" id="{77BA7BBF-61D0-4279-AE97-8673ED485F5C}"/>
                </a:ext>
              </a:extLst>
            </p:cNvPr>
            <p:cNvGrpSpPr/>
            <p:nvPr/>
          </p:nvGrpSpPr>
          <p:grpSpPr>
            <a:xfrm>
              <a:off x="483592" y="3929716"/>
              <a:ext cx="749808" cy="749808"/>
              <a:chOff x="483592" y="3949501"/>
              <a:chExt cx="749808" cy="749808"/>
            </a:xfrm>
          </p:grpSpPr>
          <p:grpSp>
            <p:nvGrpSpPr>
              <p:cNvPr id="77" name="Group 76">
                <a:extLst>
                  <a:ext uri="{FF2B5EF4-FFF2-40B4-BE49-F238E27FC236}">
                    <a16:creationId xmlns:a16="http://schemas.microsoft.com/office/drawing/2014/main" id="{734E0DDD-E96C-4A17-84A7-D5E5E64E1BC0}"/>
                  </a:ext>
                </a:extLst>
              </p:cNvPr>
              <p:cNvGrpSpPr/>
              <p:nvPr/>
            </p:nvGrpSpPr>
            <p:grpSpPr>
              <a:xfrm>
                <a:off x="483592" y="3949501"/>
                <a:ext cx="749808" cy="749808"/>
                <a:chOff x="343218" y="2937006"/>
                <a:chExt cx="1470342" cy="1470342"/>
              </a:xfrm>
            </p:grpSpPr>
            <p:sp>
              <p:nvSpPr>
                <p:cNvPr id="78" name="Oval 77">
                  <a:extLst>
                    <a:ext uri="{FF2B5EF4-FFF2-40B4-BE49-F238E27FC236}">
                      <a16:creationId xmlns:a16="http://schemas.microsoft.com/office/drawing/2014/main" id="{77DCAC71-7079-40C3-85E3-619B152A9EE5}"/>
                    </a:ext>
                  </a:extLst>
                </p:cNvPr>
                <p:cNvSpPr/>
                <p:nvPr/>
              </p:nvSpPr>
              <p:spPr bwMode="auto">
                <a:xfrm>
                  <a:off x="465138" y="3058929"/>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79" name="Arc 78">
                  <a:extLst>
                    <a:ext uri="{FF2B5EF4-FFF2-40B4-BE49-F238E27FC236}">
                      <a16:creationId xmlns:a16="http://schemas.microsoft.com/office/drawing/2014/main" id="{E0D41948-771A-45C4-A731-81BE8FEA9CF9}"/>
                    </a:ext>
                  </a:extLst>
                </p:cNvPr>
                <p:cNvSpPr/>
                <p:nvPr/>
              </p:nvSpPr>
              <p:spPr>
                <a:xfrm flipH="1">
                  <a:off x="343218" y="2937006"/>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34" name="Round Diagonal Corner Rectangle 53">
                <a:extLst>
                  <a:ext uri="{FF2B5EF4-FFF2-40B4-BE49-F238E27FC236}">
                    <a16:creationId xmlns:a16="http://schemas.microsoft.com/office/drawing/2014/main" id="{2AC36A7F-5F0A-459D-9F0A-9E85E44ABDEE}"/>
                  </a:ext>
                </a:extLst>
              </p:cNvPr>
              <p:cNvSpPr/>
              <p:nvPr/>
            </p:nvSpPr>
            <p:spPr bwMode="auto">
              <a:xfrm flipH="1">
                <a:off x="661116" y="4173790"/>
                <a:ext cx="394761" cy="333522"/>
              </a:xfrm>
              <a:custGeom>
                <a:avLst/>
                <a:gdLst/>
                <a:ahLst/>
                <a:cxnLst/>
                <a:rect l="l" t="t" r="r" b="b"/>
                <a:pathLst>
                  <a:path w="1441360" h="1217762">
                    <a:moveTo>
                      <a:pt x="1194566" y="851043"/>
                    </a:moveTo>
                    <a:lnTo>
                      <a:pt x="867548" y="851043"/>
                    </a:lnTo>
                    <a:cubicBezTo>
                      <a:pt x="843269" y="875250"/>
                      <a:pt x="820891" y="900101"/>
                      <a:pt x="800414" y="924863"/>
                    </a:cubicBezTo>
                    <a:lnTo>
                      <a:pt x="1194566" y="924862"/>
                    </a:lnTo>
                    <a:cubicBezTo>
                      <a:pt x="1214951" y="924862"/>
                      <a:pt x="1231476" y="908337"/>
                      <a:pt x="1231476" y="887953"/>
                    </a:cubicBezTo>
                    <a:cubicBezTo>
                      <a:pt x="1231476" y="867568"/>
                      <a:pt x="1214951" y="851043"/>
                      <a:pt x="1194566" y="851043"/>
                    </a:cubicBezTo>
                    <a:close/>
                    <a:moveTo>
                      <a:pt x="1194566" y="679593"/>
                    </a:moveTo>
                    <a:lnTo>
                      <a:pt x="954925" y="679593"/>
                    </a:lnTo>
                    <a:cubicBezTo>
                      <a:pt x="969270" y="705888"/>
                      <a:pt x="974475" y="731855"/>
                      <a:pt x="964059" y="753413"/>
                    </a:cubicBezTo>
                    <a:lnTo>
                      <a:pt x="1194566" y="753412"/>
                    </a:lnTo>
                    <a:cubicBezTo>
                      <a:pt x="1214951" y="753412"/>
                      <a:pt x="1231476" y="736887"/>
                      <a:pt x="1231476" y="716503"/>
                    </a:cubicBezTo>
                    <a:cubicBezTo>
                      <a:pt x="1231476" y="696118"/>
                      <a:pt x="1214951" y="679593"/>
                      <a:pt x="1194566" y="679593"/>
                    </a:cubicBezTo>
                    <a:close/>
                    <a:moveTo>
                      <a:pt x="1194566" y="508142"/>
                    </a:moveTo>
                    <a:lnTo>
                      <a:pt x="618304" y="508142"/>
                    </a:lnTo>
                    <a:cubicBezTo>
                      <a:pt x="597919" y="508142"/>
                      <a:pt x="581394" y="524667"/>
                      <a:pt x="581394" y="545052"/>
                    </a:cubicBezTo>
                    <a:lnTo>
                      <a:pt x="581395" y="545052"/>
                    </a:lnTo>
                    <a:cubicBezTo>
                      <a:pt x="581395" y="565437"/>
                      <a:pt x="597920" y="581962"/>
                      <a:pt x="618305" y="581962"/>
                    </a:cubicBezTo>
                    <a:lnTo>
                      <a:pt x="656235" y="581962"/>
                    </a:lnTo>
                    <a:cubicBezTo>
                      <a:pt x="700344" y="534077"/>
                      <a:pt x="756932" y="491601"/>
                      <a:pt x="803390" y="534738"/>
                    </a:cubicBezTo>
                    <a:cubicBezTo>
                      <a:pt x="821285" y="543215"/>
                      <a:pt x="846391" y="560209"/>
                      <a:pt x="871507" y="581962"/>
                    </a:cubicBezTo>
                    <a:lnTo>
                      <a:pt x="1194566" y="581961"/>
                    </a:lnTo>
                    <a:cubicBezTo>
                      <a:pt x="1214951" y="581961"/>
                      <a:pt x="1231476" y="565436"/>
                      <a:pt x="1231476" y="545052"/>
                    </a:cubicBezTo>
                    <a:cubicBezTo>
                      <a:pt x="1231476" y="524667"/>
                      <a:pt x="1214951" y="508142"/>
                      <a:pt x="1194566" y="508142"/>
                    </a:cubicBezTo>
                    <a:close/>
                    <a:moveTo>
                      <a:pt x="942154" y="339073"/>
                    </a:moveTo>
                    <a:lnTo>
                      <a:pt x="618304" y="339073"/>
                    </a:lnTo>
                    <a:cubicBezTo>
                      <a:pt x="597919" y="339073"/>
                      <a:pt x="581394" y="355598"/>
                      <a:pt x="581394" y="375983"/>
                    </a:cubicBezTo>
                    <a:lnTo>
                      <a:pt x="581395" y="375983"/>
                    </a:lnTo>
                    <a:cubicBezTo>
                      <a:pt x="581395" y="396368"/>
                      <a:pt x="597920" y="412893"/>
                      <a:pt x="618305" y="412893"/>
                    </a:cubicBezTo>
                    <a:lnTo>
                      <a:pt x="942154" y="412892"/>
                    </a:lnTo>
                    <a:cubicBezTo>
                      <a:pt x="962539" y="412892"/>
                      <a:pt x="979064" y="396367"/>
                      <a:pt x="979064" y="375983"/>
                    </a:cubicBezTo>
                    <a:cubicBezTo>
                      <a:pt x="979064" y="355598"/>
                      <a:pt x="962539" y="339073"/>
                      <a:pt x="942154" y="339073"/>
                    </a:cubicBezTo>
                    <a:close/>
                    <a:moveTo>
                      <a:pt x="129918" y="309690"/>
                    </a:moveTo>
                    <a:cubicBezTo>
                      <a:pt x="97981" y="307240"/>
                      <a:pt x="-10154" y="445281"/>
                      <a:pt x="772" y="476169"/>
                    </a:cubicBezTo>
                    <a:cubicBezTo>
                      <a:pt x="13053" y="519709"/>
                      <a:pt x="200152" y="623119"/>
                      <a:pt x="560802" y="1085270"/>
                    </a:cubicBezTo>
                    <a:cubicBezTo>
                      <a:pt x="560818" y="1083404"/>
                      <a:pt x="581441" y="1108922"/>
                      <a:pt x="635909" y="1048807"/>
                    </a:cubicBezTo>
                    <a:cubicBezTo>
                      <a:pt x="691233" y="983593"/>
                      <a:pt x="777509" y="870755"/>
                      <a:pt x="887606" y="769820"/>
                    </a:cubicBezTo>
                    <a:cubicBezTo>
                      <a:pt x="973798" y="713399"/>
                      <a:pt x="843296" y="599030"/>
                      <a:pt x="789787" y="576739"/>
                    </a:cubicBezTo>
                    <a:cubicBezTo>
                      <a:pt x="738779" y="537426"/>
                      <a:pt x="617328" y="722517"/>
                      <a:pt x="591884" y="741112"/>
                    </a:cubicBezTo>
                    <a:cubicBezTo>
                      <a:pt x="525959" y="659695"/>
                      <a:pt x="200256" y="304237"/>
                      <a:pt x="129918" y="309690"/>
                    </a:cubicBezTo>
                    <a:close/>
                    <a:moveTo>
                      <a:pt x="1104930" y="0"/>
                    </a:moveTo>
                    <a:lnTo>
                      <a:pt x="481952" y="0"/>
                    </a:lnTo>
                    <a:cubicBezTo>
                      <a:pt x="420958" y="0"/>
                      <a:pt x="371512" y="49446"/>
                      <a:pt x="371512" y="110440"/>
                    </a:cubicBezTo>
                    <a:lnTo>
                      <a:pt x="371512" y="437795"/>
                    </a:lnTo>
                    <a:cubicBezTo>
                      <a:pt x="398755" y="464171"/>
                      <a:pt x="424987" y="490213"/>
                      <a:pt x="449236" y="515022"/>
                    </a:cubicBezTo>
                    <a:lnTo>
                      <a:pt x="449236" y="173562"/>
                    </a:lnTo>
                    <a:cubicBezTo>
                      <a:pt x="451617" y="89336"/>
                      <a:pt x="491498" y="77108"/>
                      <a:pt x="543629" y="77108"/>
                    </a:cubicBezTo>
                    <a:lnTo>
                      <a:pt x="1050725" y="74747"/>
                    </a:lnTo>
                    <a:lnTo>
                      <a:pt x="1050725" y="291168"/>
                    </a:lnTo>
                    <a:cubicBezTo>
                      <a:pt x="1050725" y="325515"/>
                      <a:pt x="1078569" y="353359"/>
                      <a:pt x="1112916" y="353359"/>
                    </a:cubicBezTo>
                    <a:lnTo>
                      <a:pt x="1363636" y="353359"/>
                    </a:lnTo>
                    <a:lnTo>
                      <a:pt x="1363636" y="1044200"/>
                    </a:lnTo>
                    <a:cubicBezTo>
                      <a:pt x="1363636" y="1097470"/>
                      <a:pt x="1342806" y="1150179"/>
                      <a:pt x="1269243" y="1140654"/>
                    </a:cubicBezTo>
                    <a:lnTo>
                      <a:pt x="449236" y="1140654"/>
                    </a:lnTo>
                    <a:lnTo>
                      <a:pt x="449236" y="1015722"/>
                    </a:lnTo>
                    <a:cubicBezTo>
                      <a:pt x="422784" y="983198"/>
                      <a:pt x="396882" y="952661"/>
                      <a:pt x="371512" y="924024"/>
                    </a:cubicBezTo>
                    <a:lnTo>
                      <a:pt x="371512" y="1217762"/>
                    </a:lnTo>
                    <a:lnTo>
                      <a:pt x="1330920" y="1217762"/>
                    </a:lnTo>
                    <a:cubicBezTo>
                      <a:pt x="1391914" y="1217762"/>
                      <a:pt x="1441360" y="1168316"/>
                      <a:pt x="1441360" y="1107322"/>
                    </a:cubicBezTo>
                    <a:lnTo>
                      <a:pt x="1441360" y="3105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cxnSp>
          <p:nvCxnSpPr>
            <p:cNvPr id="39" name="Straight Connector 38">
              <a:extLst>
                <a:ext uri="{FF2B5EF4-FFF2-40B4-BE49-F238E27FC236}">
                  <a16:creationId xmlns:a16="http://schemas.microsoft.com/office/drawing/2014/main" id="{4E720830-7350-4009-9391-04619C46FEEA}"/>
                </a:ext>
              </a:extLst>
            </p:cNvPr>
            <p:cNvCxnSpPr/>
            <p:nvPr/>
          </p:nvCxnSpPr>
          <p:spPr>
            <a:xfrm>
              <a:off x="1492886" y="4738094"/>
              <a:ext cx="1034859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E70A536D-3BF7-4CE3-9968-8D5CF9ECF4FF}"/>
              </a:ext>
            </a:extLst>
          </p:cNvPr>
          <p:cNvGrpSpPr/>
          <p:nvPr/>
        </p:nvGrpSpPr>
        <p:grpSpPr>
          <a:xfrm>
            <a:off x="490538" y="3064864"/>
            <a:ext cx="11480800" cy="806282"/>
            <a:chOff x="490538" y="3064864"/>
            <a:chExt cx="11480800" cy="806282"/>
          </a:xfrm>
        </p:grpSpPr>
        <p:sp>
          <p:nvSpPr>
            <p:cNvPr id="53" name="Rectangle 52">
              <a:extLst>
                <a:ext uri="{FF2B5EF4-FFF2-40B4-BE49-F238E27FC236}">
                  <a16:creationId xmlns:a16="http://schemas.microsoft.com/office/drawing/2014/main" id="{6F928FBD-1093-4E9E-8310-9783157741AD}"/>
                </a:ext>
              </a:extLst>
            </p:cNvPr>
            <p:cNvSpPr/>
            <p:nvPr/>
          </p:nvSpPr>
          <p:spPr>
            <a:xfrm>
              <a:off x="1492886" y="3115555"/>
              <a:ext cx="10478452" cy="646331"/>
            </a:xfrm>
            <a:prstGeom prst="rect">
              <a:avLst/>
            </a:prstGeom>
          </p:spPr>
          <p:txBody>
            <a:bodyPr wrap="square" lIns="0" tIns="0" rIns="0" bIns="0">
              <a:spAutoFit/>
            </a:bodyPr>
            <a:lstStyle/>
            <a:p>
              <a:r>
                <a:rPr lang="en-US" sz="2400" dirty="0">
                  <a:latin typeface="+mj-lt"/>
                </a:rPr>
                <a:t>Security</a:t>
              </a:r>
            </a:p>
            <a:p>
              <a:r>
                <a:rPr lang="en-US" dirty="0" err="1">
                  <a:solidFill>
                    <a:schemeClr val="tx2"/>
                  </a:solidFill>
                </a:rPr>
                <a:t>TDE</a:t>
              </a:r>
              <a:r>
                <a:rPr lang="en-US" dirty="0">
                  <a:solidFill>
                    <a:schemeClr val="tx2"/>
                  </a:solidFill>
                </a:rPr>
                <a:t>, SQL Audit, Always On, Dynamic Data Masking</a:t>
              </a:r>
            </a:p>
          </p:txBody>
        </p:sp>
        <p:grpSp>
          <p:nvGrpSpPr>
            <p:cNvPr id="8" name="Group 7">
              <a:extLst>
                <a:ext uri="{FF2B5EF4-FFF2-40B4-BE49-F238E27FC236}">
                  <a16:creationId xmlns:a16="http://schemas.microsoft.com/office/drawing/2014/main" id="{8FF01C5A-01BF-476D-A492-DF679A070A1A}"/>
                </a:ext>
              </a:extLst>
            </p:cNvPr>
            <p:cNvGrpSpPr/>
            <p:nvPr/>
          </p:nvGrpSpPr>
          <p:grpSpPr>
            <a:xfrm>
              <a:off x="490538" y="3064864"/>
              <a:ext cx="747712" cy="747712"/>
              <a:chOff x="490538" y="3078054"/>
              <a:chExt cx="747712" cy="747712"/>
            </a:xfrm>
          </p:grpSpPr>
          <p:grpSp>
            <p:nvGrpSpPr>
              <p:cNvPr id="50" name="Group 49">
                <a:extLst>
                  <a:ext uri="{FF2B5EF4-FFF2-40B4-BE49-F238E27FC236}">
                    <a16:creationId xmlns:a16="http://schemas.microsoft.com/office/drawing/2014/main" id="{D771EF16-F55A-4464-A729-B020BA901D14}"/>
                  </a:ext>
                </a:extLst>
              </p:cNvPr>
              <p:cNvGrpSpPr/>
              <p:nvPr/>
            </p:nvGrpSpPr>
            <p:grpSpPr>
              <a:xfrm>
                <a:off x="490538" y="3078054"/>
                <a:ext cx="747712" cy="747712"/>
                <a:chOff x="343218" y="1193019"/>
                <a:chExt cx="1470342" cy="1470342"/>
              </a:xfrm>
            </p:grpSpPr>
            <p:sp>
              <p:nvSpPr>
                <p:cNvPr id="51" name="Oval 50">
                  <a:extLst>
                    <a:ext uri="{FF2B5EF4-FFF2-40B4-BE49-F238E27FC236}">
                      <a16:creationId xmlns:a16="http://schemas.microsoft.com/office/drawing/2014/main" id="{D568EFB5-5D25-43E4-8617-76A50F8C1872}"/>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52" name="Arc 51">
                  <a:extLst>
                    <a:ext uri="{FF2B5EF4-FFF2-40B4-BE49-F238E27FC236}">
                      <a16:creationId xmlns:a16="http://schemas.microsoft.com/office/drawing/2014/main" id="{EB7B5684-9251-4A1F-B455-F96414A64C1C}"/>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73" name="Oval 39">
                <a:extLst>
                  <a:ext uri="{FF2B5EF4-FFF2-40B4-BE49-F238E27FC236}">
                    <a16:creationId xmlns:a16="http://schemas.microsoft.com/office/drawing/2014/main" id="{A95AC63D-5C38-4FC9-91FB-D674A2DC3A21}"/>
                  </a:ext>
                </a:extLst>
              </p:cNvPr>
              <p:cNvSpPr/>
              <p:nvPr/>
            </p:nvSpPr>
            <p:spPr>
              <a:xfrm>
                <a:off x="696261" y="3263016"/>
                <a:ext cx="336266" cy="377788"/>
              </a:xfrm>
              <a:custGeom>
                <a:avLst/>
                <a:gdLst/>
                <a:ahLst/>
                <a:cxnLst/>
                <a:rect l="l" t="t" r="r" b="b"/>
                <a:pathLst>
                  <a:path w="4781359" h="5371757">
                    <a:moveTo>
                      <a:pt x="4092637" y="3000907"/>
                    </a:moveTo>
                    <a:cubicBezTo>
                      <a:pt x="4473008" y="3000907"/>
                      <a:pt x="4781359" y="3309258"/>
                      <a:pt x="4781359" y="3689629"/>
                    </a:cubicBezTo>
                    <a:lnTo>
                      <a:pt x="4781359" y="4683035"/>
                    </a:lnTo>
                    <a:cubicBezTo>
                      <a:pt x="4781359" y="5063406"/>
                      <a:pt x="4473008" y="5371757"/>
                      <a:pt x="4092637" y="5371757"/>
                    </a:cubicBezTo>
                    <a:cubicBezTo>
                      <a:pt x="3712266" y="5371757"/>
                      <a:pt x="3403915" y="5063406"/>
                      <a:pt x="3403915" y="4683035"/>
                    </a:cubicBezTo>
                    <a:cubicBezTo>
                      <a:pt x="3404381" y="4521317"/>
                      <a:pt x="3404846" y="4359600"/>
                      <a:pt x="3405312" y="4197882"/>
                    </a:cubicBezTo>
                    <a:cubicBezTo>
                      <a:pt x="3522586" y="4408870"/>
                      <a:pt x="3706135" y="4513820"/>
                      <a:pt x="3795837" y="4534015"/>
                    </a:cubicBezTo>
                    <a:lnTo>
                      <a:pt x="3795837" y="4706411"/>
                    </a:lnTo>
                    <a:cubicBezTo>
                      <a:pt x="3795837" y="4870329"/>
                      <a:pt x="3928719" y="5003211"/>
                      <a:pt x="4092637" y="5003211"/>
                    </a:cubicBezTo>
                    <a:cubicBezTo>
                      <a:pt x="4256555" y="5003211"/>
                      <a:pt x="4389437" y="4870329"/>
                      <a:pt x="4389437" y="4706411"/>
                    </a:cubicBezTo>
                    <a:lnTo>
                      <a:pt x="4389437" y="3666253"/>
                    </a:lnTo>
                    <a:cubicBezTo>
                      <a:pt x="4389437" y="3502335"/>
                      <a:pt x="4256555" y="3369453"/>
                      <a:pt x="4092637" y="3369453"/>
                    </a:cubicBezTo>
                    <a:cubicBezTo>
                      <a:pt x="4062116" y="3369453"/>
                      <a:pt x="4032671" y="3374060"/>
                      <a:pt x="4005387" y="3383999"/>
                    </a:cubicBezTo>
                    <a:lnTo>
                      <a:pt x="4005387" y="3009702"/>
                    </a:lnTo>
                    <a:cubicBezTo>
                      <a:pt x="4033679" y="3002786"/>
                      <a:pt x="4062938" y="3000907"/>
                      <a:pt x="4092637" y="3000907"/>
                    </a:cubicBezTo>
                    <a:close/>
                    <a:moveTo>
                      <a:pt x="4092637" y="2016408"/>
                    </a:moveTo>
                    <a:cubicBezTo>
                      <a:pt x="4473008" y="2016408"/>
                      <a:pt x="4781359" y="2324759"/>
                      <a:pt x="4781359" y="2705130"/>
                    </a:cubicBezTo>
                    <a:cubicBezTo>
                      <a:pt x="4780893" y="2866848"/>
                      <a:pt x="4780428" y="3028565"/>
                      <a:pt x="4779962" y="3190283"/>
                    </a:cubicBezTo>
                    <a:cubicBezTo>
                      <a:pt x="4662688" y="2979295"/>
                      <a:pt x="4479139" y="2874345"/>
                      <a:pt x="4389437" y="2854150"/>
                    </a:cubicBezTo>
                    <a:lnTo>
                      <a:pt x="4389437" y="2681754"/>
                    </a:lnTo>
                    <a:cubicBezTo>
                      <a:pt x="4389437" y="2517836"/>
                      <a:pt x="4256555" y="2384954"/>
                      <a:pt x="4092637" y="2384954"/>
                    </a:cubicBezTo>
                    <a:cubicBezTo>
                      <a:pt x="3928719" y="2384954"/>
                      <a:pt x="3795837" y="2517836"/>
                      <a:pt x="3795837" y="2681754"/>
                    </a:cubicBezTo>
                    <a:lnTo>
                      <a:pt x="3795837" y="3721912"/>
                    </a:lnTo>
                    <a:cubicBezTo>
                      <a:pt x="3795837" y="3885830"/>
                      <a:pt x="3928719" y="4018712"/>
                      <a:pt x="4092637" y="4018712"/>
                    </a:cubicBezTo>
                    <a:cubicBezTo>
                      <a:pt x="4123158" y="4018712"/>
                      <a:pt x="4152603" y="4014105"/>
                      <a:pt x="4179887" y="4004166"/>
                    </a:cubicBezTo>
                    <a:lnTo>
                      <a:pt x="4179887" y="4378463"/>
                    </a:lnTo>
                    <a:cubicBezTo>
                      <a:pt x="4151595" y="4385379"/>
                      <a:pt x="4122336" y="4387258"/>
                      <a:pt x="4092637" y="4387258"/>
                    </a:cubicBezTo>
                    <a:cubicBezTo>
                      <a:pt x="3712266" y="4387258"/>
                      <a:pt x="3403915" y="4078907"/>
                      <a:pt x="3403915" y="3698536"/>
                    </a:cubicBezTo>
                    <a:lnTo>
                      <a:pt x="3403915" y="2705130"/>
                    </a:lnTo>
                    <a:cubicBezTo>
                      <a:pt x="3403915" y="2324759"/>
                      <a:pt x="3712266" y="2016408"/>
                      <a:pt x="4092637" y="2016408"/>
                    </a:cubicBezTo>
                    <a:close/>
                    <a:moveTo>
                      <a:pt x="138937" y="821099"/>
                    </a:moveTo>
                    <a:cubicBezTo>
                      <a:pt x="214688" y="821099"/>
                      <a:pt x="276097" y="882508"/>
                      <a:pt x="276097" y="958259"/>
                    </a:cubicBezTo>
                    <a:cubicBezTo>
                      <a:pt x="275081" y="1628184"/>
                      <a:pt x="252190" y="1939492"/>
                      <a:pt x="273050" y="2968033"/>
                    </a:cubicBezTo>
                    <a:cubicBezTo>
                      <a:pt x="293910" y="3996574"/>
                      <a:pt x="1516506" y="4371861"/>
                      <a:pt x="2638297" y="4379639"/>
                    </a:cubicBezTo>
                    <a:cubicBezTo>
                      <a:pt x="2714048" y="4379639"/>
                      <a:pt x="2775457" y="4441048"/>
                      <a:pt x="2775457" y="4516799"/>
                    </a:cubicBezTo>
                    <a:cubicBezTo>
                      <a:pt x="2775457" y="4592550"/>
                      <a:pt x="2714048" y="4653959"/>
                      <a:pt x="2638297" y="4653959"/>
                    </a:cubicBezTo>
                    <a:cubicBezTo>
                      <a:pt x="1762040" y="4700002"/>
                      <a:pt x="3926" y="4347572"/>
                      <a:pt x="0" y="2968033"/>
                    </a:cubicBezTo>
                    <a:lnTo>
                      <a:pt x="1777" y="958259"/>
                    </a:lnTo>
                    <a:cubicBezTo>
                      <a:pt x="1777" y="882508"/>
                      <a:pt x="63186" y="821099"/>
                      <a:pt x="138937" y="821099"/>
                    </a:cubicBezTo>
                    <a:close/>
                    <a:moveTo>
                      <a:pt x="2644145" y="374057"/>
                    </a:moveTo>
                    <a:cubicBezTo>
                      <a:pt x="1702165" y="374057"/>
                      <a:pt x="938540" y="635897"/>
                      <a:pt x="938540" y="958893"/>
                    </a:cubicBezTo>
                    <a:cubicBezTo>
                      <a:pt x="938540" y="1281888"/>
                      <a:pt x="1702165" y="1543728"/>
                      <a:pt x="2644145" y="1543728"/>
                    </a:cubicBezTo>
                    <a:cubicBezTo>
                      <a:pt x="3586126" y="1543728"/>
                      <a:pt x="4349751" y="1281888"/>
                      <a:pt x="4349751" y="958893"/>
                    </a:cubicBezTo>
                    <a:cubicBezTo>
                      <a:pt x="4349751" y="635897"/>
                      <a:pt x="3586126" y="374057"/>
                      <a:pt x="2644145" y="374057"/>
                    </a:cubicBezTo>
                    <a:close/>
                    <a:moveTo>
                      <a:pt x="2651760" y="42"/>
                    </a:moveTo>
                    <a:cubicBezTo>
                      <a:pt x="3369469" y="-3027"/>
                      <a:pt x="4736308" y="156780"/>
                      <a:pt x="4732021" y="1012390"/>
                    </a:cubicBezTo>
                    <a:lnTo>
                      <a:pt x="4732021" y="2004302"/>
                    </a:lnTo>
                    <a:cubicBezTo>
                      <a:pt x="4618833" y="1863965"/>
                      <a:pt x="4493898" y="1824231"/>
                      <a:pt x="4354515" y="1776920"/>
                    </a:cubicBezTo>
                    <a:cubicBezTo>
                      <a:pt x="4353985" y="1643792"/>
                      <a:pt x="4353456" y="1510664"/>
                      <a:pt x="4352926" y="1377536"/>
                    </a:cubicBezTo>
                    <a:cubicBezTo>
                      <a:pt x="3973377" y="1622477"/>
                      <a:pt x="3341175" y="1780586"/>
                      <a:pt x="2625842" y="1780586"/>
                    </a:cubicBezTo>
                    <a:cubicBezTo>
                      <a:pt x="1934928" y="1780586"/>
                      <a:pt x="1345379" y="1656898"/>
                      <a:pt x="940923" y="1356874"/>
                    </a:cubicBezTo>
                    <a:cubicBezTo>
                      <a:pt x="940923" y="1557631"/>
                      <a:pt x="940922" y="1520263"/>
                      <a:pt x="940922" y="1721020"/>
                    </a:cubicBezTo>
                    <a:cubicBezTo>
                      <a:pt x="1211291" y="2113942"/>
                      <a:pt x="2056392" y="2242735"/>
                      <a:pt x="2625842" y="2239055"/>
                    </a:cubicBezTo>
                    <a:cubicBezTo>
                      <a:pt x="2828018" y="2237749"/>
                      <a:pt x="3076818" y="2217449"/>
                      <a:pt x="3323742" y="2174033"/>
                    </a:cubicBezTo>
                    <a:cubicBezTo>
                      <a:pt x="3277313" y="2244766"/>
                      <a:pt x="3243806" y="2323995"/>
                      <a:pt x="3223533" y="2408349"/>
                    </a:cubicBezTo>
                    <a:cubicBezTo>
                      <a:pt x="3033068" y="2432278"/>
                      <a:pt x="2831268" y="2443833"/>
                      <a:pt x="2622667" y="2443833"/>
                    </a:cubicBezTo>
                    <a:cubicBezTo>
                      <a:pt x="1931753" y="2443833"/>
                      <a:pt x="1345379" y="2342370"/>
                      <a:pt x="940924" y="2042346"/>
                    </a:cubicBezTo>
                    <a:cubicBezTo>
                      <a:pt x="940924" y="2243103"/>
                      <a:pt x="934572" y="2234310"/>
                      <a:pt x="934572" y="2435067"/>
                    </a:cubicBezTo>
                    <a:cubicBezTo>
                      <a:pt x="1204941" y="2827989"/>
                      <a:pt x="2055324" y="2930556"/>
                      <a:pt x="2625843" y="2924527"/>
                    </a:cubicBezTo>
                    <a:cubicBezTo>
                      <a:pt x="2794126" y="2922749"/>
                      <a:pt x="2993042" y="2908493"/>
                      <a:pt x="3195762" y="2878063"/>
                    </a:cubicBezTo>
                    <a:lnTo>
                      <a:pt x="3195762" y="3113507"/>
                    </a:lnTo>
                    <a:cubicBezTo>
                      <a:pt x="3019016" y="3131053"/>
                      <a:pt x="2832295" y="3139158"/>
                      <a:pt x="2638542" y="3139158"/>
                    </a:cubicBezTo>
                    <a:cubicBezTo>
                      <a:pt x="1947628" y="3139158"/>
                      <a:pt x="1351728" y="3034520"/>
                      <a:pt x="940923" y="2763071"/>
                    </a:cubicBezTo>
                    <a:cubicBezTo>
                      <a:pt x="940923" y="2963828"/>
                      <a:pt x="940922" y="2869310"/>
                      <a:pt x="940922" y="3070067"/>
                    </a:cubicBezTo>
                    <a:cubicBezTo>
                      <a:pt x="1128741" y="3577289"/>
                      <a:pt x="2040506" y="3722719"/>
                      <a:pt x="2609967" y="3730977"/>
                    </a:cubicBezTo>
                    <a:cubicBezTo>
                      <a:pt x="2781546" y="3733465"/>
                      <a:pt x="2986721" y="3712558"/>
                      <a:pt x="3195762" y="3669737"/>
                    </a:cubicBezTo>
                    <a:lnTo>
                      <a:pt x="3195762" y="3967596"/>
                    </a:lnTo>
                    <a:cubicBezTo>
                      <a:pt x="3195762" y="4003251"/>
                      <a:pt x="3197898" y="4038407"/>
                      <a:pt x="3202706" y="4072864"/>
                    </a:cubicBezTo>
                    <a:cubicBezTo>
                      <a:pt x="2997467" y="4098585"/>
                      <a:pt x="2803713" y="4106163"/>
                      <a:pt x="2645569" y="4103095"/>
                    </a:cubicBezTo>
                    <a:cubicBezTo>
                      <a:pt x="1949133" y="4085414"/>
                      <a:pt x="735171" y="3943909"/>
                      <a:pt x="556260" y="3088028"/>
                    </a:cubicBezTo>
                    <a:lnTo>
                      <a:pt x="556260" y="1012390"/>
                    </a:lnTo>
                    <a:cubicBezTo>
                      <a:pt x="562610" y="139585"/>
                      <a:pt x="1934052" y="3111"/>
                      <a:pt x="2651760" y="42"/>
                    </a:cubicBezTo>
                    <a:close/>
                  </a:path>
                </a:pathLst>
              </a:custGeom>
              <a:solidFill>
                <a:schemeClr val="bg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grpSp>
        <p:cxnSp>
          <p:nvCxnSpPr>
            <p:cNvPr id="40" name="Straight Connector 39">
              <a:extLst>
                <a:ext uri="{FF2B5EF4-FFF2-40B4-BE49-F238E27FC236}">
                  <a16:creationId xmlns:a16="http://schemas.microsoft.com/office/drawing/2014/main" id="{7E65E3FD-87C9-48D6-8B99-CB2AE4BE95BF}"/>
                </a:ext>
              </a:extLst>
            </p:cNvPr>
            <p:cNvCxnSpPr/>
            <p:nvPr/>
          </p:nvCxnSpPr>
          <p:spPr>
            <a:xfrm>
              <a:off x="1492886" y="3871146"/>
              <a:ext cx="1034859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DFFA256D-D83E-4AFB-A85E-8F1848ACE7A4}"/>
              </a:ext>
            </a:extLst>
          </p:cNvPr>
          <p:cNvGrpSpPr/>
          <p:nvPr/>
        </p:nvGrpSpPr>
        <p:grpSpPr>
          <a:xfrm>
            <a:off x="490538" y="4796664"/>
            <a:ext cx="11480800" cy="806282"/>
            <a:chOff x="490538" y="4796664"/>
            <a:chExt cx="11480800" cy="806282"/>
          </a:xfrm>
        </p:grpSpPr>
        <p:sp>
          <p:nvSpPr>
            <p:cNvPr id="61" name="Rectangle 60">
              <a:extLst>
                <a:ext uri="{FF2B5EF4-FFF2-40B4-BE49-F238E27FC236}">
                  <a16:creationId xmlns:a16="http://schemas.microsoft.com/office/drawing/2014/main" id="{C41ECE50-1D3D-4626-A0E2-6C8612771EC2}"/>
                </a:ext>
              </a:extLst>
            </p:cNvPr>
            <p:cNvSpPr/>
            <p:nvPr/>
          </p:nvSpPr>
          <p:spPr>
            <a:xfrm>
              <a:off x="1492886" y="4847355"/>
              <a:ext cx="10478452" cy="646331"/>
            </a:xfrm>
            <a:prstGeom prst="rect">
              <a:avLst/>
            </a:prstGeom>
          </p:spPr>
          <p:txBody>
            <a:bodyPr wrap="square" lIns="0" tIns="0" rIns="0" bIns="0">
              <a:spAutoFit/>
            </a:bodyPr>
            <a:lstStyle/>
            <a:p>
              <a:r>
                <a:rPr lang="en-US" sz="2400" dirty="0">
                  <a:latin typeface="+mj-lt"/>
                </a:rPr>
                <a:t>Scenario enablers</a:t>
              </a:r>
            </a:p>
            <a:p>
              <a:r>
                <a:rPr lang="en-US" dirty="0">
                  <a:solidFill>
                    <a:schemeClr val="tx2"/>
                  </a:solidFill>
                </a:rPr>
                <a:t>Change Data Capture, Service Broker, Transactional Replication, Log Shipping</a:t>
              </a:r>
            </a:p>
          </p:txBody>
        </p:sp>
        <p:grpSp>
          <p:nvGrpSpPr>
            <p:cNvPr id="6" name="Group 5">
              <a:extLst>
                <a:ext uri="{FF2B5EF4-FFF2-40B4-BE49-F238E27FC236}">
                  <a16:creationId xmlns:a16="http://schemas.microsoft.com/office/drawing/2014/main" id="{D69EB9A7-233D-4C61-A4EB-3D389929D31D}"/>
                </a:ext>
              </a:extLst>
            </p:cNvPr>
            <p:cNvGrpSpPr/>
            <p:nvPr/>
          </p:nvGrpSpPr>
          <p:grpSpPr>
            <a:xfrm>
              <a:off x="490538" y="4796664"/>
              <a:ext cx="747712" cy="747712"/>
              <a:chOff x="490538" y="4823044"/>
              <a:chExt cx="747712" cy="747712"/>
            </a:xfrm>
          </p:grpSpPr>
          <p:grpSp>
            <p:nvGrpSpPr>
              <p:cNvPr id="58" name="Group 57">
                <a:extLst>
                  <a:ext uri="{FF2B5EF4-FFF2-40B4-BE49-F238E27FC236}">
                    <a16:creationId xmlns:a16="http://schemas.microsoft.com/office/drawing/2014/main" id="{0A43960E-6785-4543-A601-C652078D4F35}"/>
                  </a:ext>
                </a:extLst>
              </p:cNvPr>
              <p:cNvGrpSpPr/>
              <p:nvPr/>
            </p:nvGrpSpPr>
            <p:grpSpPr>
              <a:xfrm>
                <a:off x="490538" y="4823044"/>
                <a:ext cx="747712" cy="747712"/>
                <a:chOff x="343218" y="1193019"/>
                <a:chExt cx="1470342" cy="1470342"/>
              </a:xfrm>
            </p:grpSpPr>
            <p:sp>
              <p:nvSpPr>
                <p:cNvPr id="59" name="Oval 58">
                  <a:extLst>
                    <a:ext uri="{FF2B5EF4-FFF2-40B4-BE49-F238E27FC236}">
                      <a16:creationId xmlns:a16="http://schemas.microsoft.com/office/drawing/2014/main" id="{C84E5669-2F4D-4F3A-8EDB-04D50A8449F1}"/>
                    </a:ext>
                  </a:extLst>
                </p:cNvPr>
                <p:cNvSpPr/>
                <p:nvPr/>
              </p:nvSpPr>
              <p:spPr bwMode="auto">
                <a:xfrm>
                  <a:off x="465138" y="1314941"/>
                  <a:ext cx="1226502" cy="12264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60" name="Arc 59">
                  <a:extLst>
                    <a:ext uri="{FF2B5EF4-FFF2-40B4-BE49-F238E27FC236}">
                      <a16:creationId xmlns:a16="http://schemas.microsoft.com/office/drawing/2014/main" id="{5CAE5118-CF7B-43DB-9231-9F437668643D}"/>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35" name="Freeform 83">
                <a:extLst>
                  <a:ext uri="{FF2B5EF4-FFF2-40B4-BE49-F238E27FC236}">
                    <a16:creationId xmlns:a16="http://schemas.microsoft.com/office/drawing/2014/main" id="{00EFBFA3-7B40-4BE0-9637-088DAA6373CC}"/>
                  </a:ext>
                </a:extLst>
              </p:cNvPr>
              <p:cNvSpPr>
                <a:spLocks noEditPoints="1"/>
              </p:cNvSpPr>
              <p:nvPr/>
            </p:nvSpPr>
            <p:spPr bwMode="black">
              <a:xfrm>
                <a:off x="672238" y="4994055"/>
                <a:ext cx="384312" cy="40569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41" name="Straight Connector 40">
              <a:extLst>
                <a:ext uri="{FF2B5EF4-FFF2-40B4-BE49-F238E27FC236}">
                  <a16:creationId xmlns:a16="http://schemas.microsoft.com/office/drawing/2014/main" id="{C7704C47-40C3-4F9E-A4D5-624550D0DB0C}"/>
                </a:ext>
              </a:extLst>
            </p:cNvPr>
            <p:cNvCxnSpPr/>
            <p:nvPr/>
          </p:nvCxnSpPr>
          <p:spPr>
            <a:xfrm>
              <a:off x="1492886" y="5602946"/>
              <a:ext cx="1034859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637737DC-AC56-41F6-B371-8D413FA7302A}"/>
              </a:ext>
            </a:extLst>
          </p:cNvPr>
          <p:cNvGrpSpPr/>
          <p:nvPr/>
        </p:nvGrpSpPr>
        <p:grpSpPr>
          <a:xfrm>
            <a:off x="483592" y="5661516"/>
            <a:ext cx="11487746" cy="808380"/>
            <a:chOff x="483592" y="5661516"/>
            <a:chExt cx="11487746" cy="808380"/>
          </a:xfrm>
        </p:grpSpPr>
        <p:sp>
          <p:nvSpPr>
            <p:cNvPr id="65" name="Rectangle 64">
              <a:extLst>
                <a:ext uri="{FF2B5EF4-FFF2-40B4-BE49-F238E27FC236}">
                  <a16:creationId xmlns:a16="http://schemas.microsoft.com/office/drawing/2014/main" id="{1F1BA01D-763F-4F13-BBF1-B6E5428C327A}"/>
                </a:ext>
              </a:extLst>
            </p:cNvPr>
            <p:cNvSpPr/>
            <p:nvPr/>
          </p:nvSpPr>
          <p:spPr>
            <a:xfrm>
              <a:off x="1492886" y="5713255"/>
              <a:ext cx="10478452" cy="646331"/>
            </a:xfrm>
            <a:prstGeom prst="rect">
              <a:avLst/>
            </a:prstGeom>
          </p:spPr>
          <p:txBody>
            <a:bodyPr wrap="square" lIns="0" tIns="0" rIns="0" bIns="0">
              <a:spAutoFit/>
            </a:bodyPr>
            <a:lstStyle/>
            <a:p>
              <a:r>
                <a:rPr lang="en-US" sz="2400" dirty="0">
                  <a:latin typeface="+mj-lt"/>
                </a:rPr>
                <a:t>Troubleshooting </a:t>
              </a:r>
            </a:p>
            <a:p>
              <a:r>
                <a:rPr lang="en-US" dirty="0">
                  <a:solidFill>
                    <a:schemeClr val="tx2"/>
                  </a:solidFill>
                </a:rPr>
                <a:t>DMVs/</a:t>
              </a:r>
              <a:r>
                <a:rPr lang="en-US" dirty="0" err="1">
                  <a:solidFill>
                    <a:schemeClr val="tx2"/>
                  </a:solidFill>
                </a:rPr>
                <a:t>Xevents</a:t>
              </a:r>
              <a:r>
                <a:rPr lang="en-US" dirty="0">
                  <a:solidFill>
                    <a:schemeClr val="tx2"/>
                  </a:solidFill>
                </a:rPr>
                <a:t>, Query Store</a:t>
              </a:r>
            </a:p>
          </p:txBody>
        </p:sp>
        <p:grpSp>
          <p:nvGrpSpPr>
            <p:cNvPr id="5" name="Group 4">
              <a:extLst>
                <a:ext uri="{FF2B5EF4-FFF2-40B4-BE49-F238E27FC236}">
                  <a16:creationId xmlns:a16="http://schemas.microsoft.com/office/drawing/2014/main" id="{6666DC1C-D14B-4A4E-9DD9-5E67E4A90546}"/>
                </a:ext>
              </a:extLst>
            </p:cNvPr>
            <p:cNvGrpSpPr/>
            <p:nvPr/>
          </p:nvGrpSpPr>
          <p:grpSpPr>
            <a:xfrm>
              <a:off x="483592" y="5661516"/>
              <a:ext cx="749808" cy="749808"/>
              <a:chOff x="483592" y="5694490"/>
              <a:chExt cx="749808" cy="749808"/>
            </a:xfrm>
          </p:grpSpPr>
          <p:grpSp>
            <p:nvGrpSpPr>
              <p:cNvPr id="80" name="Group 79">
                <a:extLst>
                  <a:ext uri="{FF2B5EF4-FFF2-40B4-BE49-F238E27FC236}">
                    <a16:creationId xmlns:a16="http://schemas.microsoft.com/office/drawing/2014/main" id="{DF9DD6D4-9493-49C4-9E25-6FBC82E35DE5}"/>
                  </a:ext>
                </a:extLst>
              </p:cNvPr>
              <p:cNvGrpSpPr/>
              <p:nvPr/>
            </p:nvGrpSpPr>
            <p:grpSpPr>
              <a:xfrm>
                <a:off x="483592" y="5694490"/>
                <a:ext cx="749808" cy="749808"/>
                <a:chOff x="343218" y="2937006"/>
                <a:chExt cx="1470342" cy="1470342"/>
              </a:xfrm>
            </p:grpSpPr>
            <p:sp>
              <p:nvSpPr>
                <p:cNvPr id="81" name="Oval 80">
                  <a:extLst>
                    <a:ext uri="{FF2B5EF4-FFF2-40B4-BE49-F238E27FC236}">
                      <a16:creationId xmlns:a16="http://schemas.microsoft.com/office/drawing/2014/main" id="{CE6BC633-544A-4850-99AC-66F4E2EDBE0D}"/>
                    </a:ext>
                  </a:extLst>
                </p:cNvPr>
                <p:cNvSpPr/>
                <p:nvPr/>
              </p:nvSpPr>
              <p:spPr bwMode="auto">
                <a:xfrm>
                  <a:off x="465138" y="3058929"/>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82" name="Arc 81">
                  <a:extLst>
                    <a:ext uri="{FF2B5EF4-FFF2-40B4-BE49-F238E27FC236}">
                      <a16:creationId xmlns:a16="http://schemas.microsoft.com/office/drawing/2014/main" id="{4AF0E4A4-A54E-42DB-9464-8EE385FE8D41}"/>
                    </a:ext>
                  </a:extLst>
                </p:cNvPr>
                <p:cNvSpPr/>
                <p:nvPr/>
              </p:nvSpPr>
              <p:spPr>
                <a:xfrm flipH="1">
                  <a:off x="343218" y="2937006"/>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83" name="Freeform 81">
                <a:extLst>
                  <a:ext uri="{FF2B5EF4-FFF2-40B4-BE49-F238E27FC236}">
                    <a16:creationId xmlns:a16="http://schemas.microsoft.com/office/drawing/2014/main" id="{DA6AFAA6-943C-468F-ABA9-68927C10BD8B}"/>
                  </a:ext>
                </a:extLst>
              </p:cNvPr>
              <p:cNvSpPr>
                <a:spLocks/>
              </p:cNvSpPr>
              <p:nvPr/>
            </p:nvSpPr>
            <p:spPr bwMode="black">
              <a:xfrm>
                <a:off x="674938" y="5819457"/>
                <a:ext cx="367116" cy="499874"/>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42" name="Straight Connector 41">
              <a:extLst>
                <a:ext uri="{FF2B5EF4-FFF2-40B4-BE49-F238E27FC236}">
                  <a16:creationId xmlns:a16="http://schemas.microsoft.com/office/drawing/2014/main" id="{F305AB89-BA67-4EB1-B76E-970C58E54241}"/>
                </a:ext>
              </a:extLst>
            </p:cNvPr>
            <p:cNvCxnSpPr/>
            <p:nvPr/>
          </p:nvCxnSpPr>
          <p:spPr>
            <a:xfrm>
              <a:off x="1492886" y="6469896"/>
              <a:ext cx="1034859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95282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gration: Version compatibility</a:t>
            </a:r>
          </a:p>
        </p:txBody>
      </p:sp>
      <p:grpSp>
        <p:nvGrpSpPr>
          <p:cNvPr id="9" name="Group 8"/>
          <p:cNvGrpSpPr/>
          <p:nvPr/>
        </p:nvGrpSpPr>
        <p:grpSpPr>
          <a:xfrm>
            <a:off x="6565901" y="1451941"/>
            <a:ext cx="5405437" cy="5196535"/>
            <a:chOff x="6746144" y="1286611"/>
            <a:chExt cx="5227428" cy="5112341"/>
          </a:xfrm>
        </p:grpSpPr>
        <p:graphicFrame>
          <p:nvGraphicFramePr>
            <p:cNvPr id="5" name="Chart 4">
              <a:extLst>
                <a:ext uri="{FF2B5EF4-FFF2-40B4-BE49-F238E27FC236}">
                  <a16:creationId xmlns:a16="http://schemas.microsoft.com/office/drawing/2014/main" id="{86BAEC51-2ADA-428C-A996-B557B65A474C}"/>
                </a:ext>
              </a:extLst>
            </p:cNvPr>
            <p:cNvGraphicFramePr>
              <a:graphicFrameLocks/>
            </p:cNvGraphicFramePr>
            <p:nvPr>
              <p:extLst>
                <p:ext uri="{D42A27DB-BD31-4B8C-83A1-F6EECF244321}">
                  <p14:modId xmlns:p14="http://schemas.microsoft.com/office/powerpoint/2010/main" val="419143558"/>
                </p:ext>
              </p:extLst>
            </p:nvPr>
          </p:nvGraphicFramePr>
          <p:xfrm>
            <a:off x="6746144" y="1286611"/>
            <a:ext cx="5227428" cy="5112341"/>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8275637" y="4183063"/>
              <a:ext cx="2151770" cy="835659"/>
            </a:xfrm>
            <a:prstGeom prst="rect">
              <a:avLst/>
            </a:prstGeom>
            <a:noFill/>
            <a:ln w="6350">
              <a:noFill/>
            </a:ln>
          </p:spPr>
          <p:txBody>
            <a:bodyPr wrap="none" lIns="182854" tIns="146283" rIns="182854" bIns="146283" rtlCol="0">
              <a:spAutoFit/>
            </a:bodyPr>
            <a:lstStyle/>
            <a:p>
              <a:pPr defTabSz="932597">
                <a:spcAft>
                  <a:spcPts val="600"/>
                </a:spcAft>
              </a:pPr>
              <a:r>
                <a:rPr lang="en-US" dirty="0">
                  <a:solidFill>
                    <a:schemeClr val="bg1"/>
                  </a:solidFill>
                  <a:latin typeface="Segoe UI"/>
                </a:rPr>
                <a:t>81% would prefer </a:t>
              </a:r>
              <a:br>
                <a:rPr lang="en-US" dirty="0">
                  <a:solidFill>
                    <a:schemeClr val="bg1"/>
                  </a:solidFill>
                  <a:latin typeface="Segoe UI"/>
                </a:rPr>
              </a:br>
              <a:r>
                <a:rPr lang="en-US" dirty="0">
                  <a:solidFill>
                    <a:schemeClr val="bg1"/>
                  </a:solidFill>
                  <a:latin typeface="Segoe UI"/>
                </a:rPr>
                <a:t>the latest version</a:t>
              </a:r>
            </a:p>
          </p:txBody>
        </p:sp>
        <p:sp>
          <p:nvSpPr>
            <p:cNvPr id="7" name="TextBox 6"/>
            <p:cNvSpPr txBox="1"/>
            <p:nvPr/>
          </p:nvSpPr>
          <p:spPr>
            <a:xfrm rot="1303475">
              <a:off x="7168886" y="2586942"/>
              <a:ext cx="2017645" cy="835659"/>
            </a:xfrm>
            <a:prstGeom prst="rect">
              <a:avLst/>
            </a:prstGeom>
            <a:noFill/>
            <a:ln w="6350">
              <a:noFill/>
            </a:ln>
          </p:spPr>
          <p:txBody>
            <a:bodyPr wrap="none" lIns="182854" tIns="146283" rIns="182854" bIns="146283" rtlCol="0">
              <a:spAutoFit/>
            </a:bodyPr>
            <a:lstStyle/>
            <a:p>
              <a:pPr defTabSz="932597">
                <a:spcAft>
                  <a:spcPts val="600"/>
                </a:spcAft>
              </a:pPr>
              <a:r>
                <a:rPr lang="en-US" dirty="0">
                  <a:solidFill>
                    <a:srgbClr val="000000"/>
                  </a:solidFill>
                  <a:latin typeface="Segoe UI"/>
                </a:rPr>
                <a:t>9% must run </a:t>
              </a:r>
              <a:br>
                <a:rPr lang="en-US" dirty="0">
                  <a:solidFill>
                    <a:srgbClr val="000000"/>
                  </a:solidFill>
                  <a:latin typeface="Segoe UI"/>
                </a:rPr>
              </a:br>
              <a:r>
                <a:rPr lang="en-US" dirty="0">
                  <a:solidFill>
                    <a:srgbClr val="000000"/>
                  </a:solidFill>
                  <a:latin typeface="Segoe UI"/>
                </a:rPr>
                <a:t>the same version</a:t>
              </a:r>
            </a:p>
          </p:txBody>
        </p:sp>
        <p:sp>
          <p:nvSpPr>
            <p:cNvPr id="8" name="TextBox 7"/>
            <p:cNvSpPr txBox="1"/>
            <p:nvPr/>
          </p:nvSpPr>
          <p:spPr>
            <a:xfrm rot="3235253">
              <a:off x="7995090" y="2003340"/>
              <a:ext cx="1756615" cy="821448"/>
            </a:xfrm>
            <a:prstGeom prst="rect">
              <a:avLst/>
            </a:prstGeom>
            <a:noFill/>
            <a:ln w="6350">
              <a:noFill/>
            </a:ln>
          </p:spPr>
          <p:txBody>
            <a:bodyPr wrap="square" lIns="182854" tIns="146283" rIns="182854" bIns="146283" rtlCol="0">
              <a:spAutoFit/>
            </a:bodyPr>
            <a:lstStyle/>
            <a:p>
              <a:pPr defTabSz="932597">
                <a:spcAft>
                  <a:spcPts val="600"/>
                </a:spcAft>
              </a:pPr>
              <a:r>
                <a:rPr lang="en-US" dirty="0">
                  <a:solidFill>
                    <a:schemeClr val="bg1"/>
                  </a:solidFill>
                  <a:latin typeface="Segoe UI"/>
                </a:rPr>
                <a:t>10%</a:t>
              </a:r>
              <a:br>
                <a:rPr lang="en-US" dirty="0">
                  <a:solidFill>
                    <a:schemeClr val="bg1"/>
                  </a:solidFill>
                  <a:latin typeface="Segoe UI"/>
                </a:rPr>
              </a:br>
              <a:r>
                <a:rPr lang="en-US" dirty="0">
                  <a:solidFill>
                    <a:schemeClr val="bg1"/>
                  </a:solidFill>
                  <a:latin typeface="Segoe UI"/>
                </a:rPr>
                <a:t>doesn’t care</a:t>
              </a:r>
            </a:p>
          </p:txBody>
        </p:sp>
      </p:grpSp>
      <p:sp>
        <p:nvSpPr>
          <p:cNvPr id="19" name="Rectangle 18">
            <a:extLst>
              <a:ext uri="{FF2B5EF4-FFF2-40B4-BE49-F238E27FC236}">
                <a16:creationId xmlns:a16="http://schemas.microsoft.com/office/drawing/2014/main" id="{08538693-DEAB-42B8-B80B-96E7F1786F3E}"/>
              </a:ext>
            </a:extLst>
          </p:cNvPr>
          <p:cNvSpPr/>
          <p:nvPr/>
        </p:nvSpPr>
        <p:spPr bwMode="auto">
          <a:xfrm>
            <a:off x="465137" y="1448740"/>
            <a:ext cx="5935663" cy="11887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solidFill>
                  <a:schemeClr val="tx1"/>
                </a:solidFill>
                <a:latin typeface="+mj-lt"/>
              </a:rPr>
              <a:t>Most users would prefer the latest version</a:t>
            </a:r>
          </a:p>
        </p:txBody>
      </p:sp>
      <p:sp>
        <p:nvSpPr>
          <p:cNvPr id="20" name="Rectangle 19">
            <a:extLst>
              <a:ext uri="{FF2B5EF4-FFF2-40B4-BE49-F238E27FC236}">
                <a16:creationId xmlns:a16="http://schemas.microsoft.com/office/drawing/2014/main" id="{D770F6A2-ADCF-45A5-A669-6892E2DAF570}"/>
              </a:ext>
            </a:extLst>
          </p:cNvPr>
          <p:cNvSpPr/>
          <p:nvPr/>
        </p:nvSpPr>
        <p:spPr bwMode="auto">
          <a:xfrm>
            <a:off x="465137" y="2786161"/>
            <a:ext cx="5935663" cy="11887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solidFill>
                  <a:schemeClr val="tx1"/>
                </a:solidFill>
                <a:latin typeface="+mj-lt"/>
              </a:rPr>
              <a:t>The major concern is risk associated to upgrades</a:t>
            </a:r>
          </a:p>
        </p:txBody>
      </p:sp>
      <p:sp>
        <p:nvSpPr>
          <p:cNvPr id="21" name="Rectangle 20">
            <a:extLst>
              <a:ext uri="{FF2B5EF4-FFF2-40B4-BE49-F238E27FC236}">
                <a16:creationId xmlns:a16="http://schemas.microsoft.com/office/drawing/2014/main" id="{FE46419A-5A19-4694-ABAF-ED62DA6F5585}"/>
              </a:ext>
            </a:extLst>
          </p:cNvPr>
          <p:cNvSpPr/>
          <p:nvPr/>
        </p:nvSpPr>
        <p:spPr bwMode="auto">
          <a:xfrm>
            <a:off x="465137" y="4123582"/>
            <a:ext cx="5935663" cy="11887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solidFill>
                  <a:schemeClr val="tx1"/>
                </a:solidFill>
                <a:latin typeface="+mj-lt"/>
              </a:rPr>
              <a:t>We will support migrations from</a:t>
            </a:r>
            <a:br>
              <a:rPr lang="en-US" sz="2800" dirty="0">
                <a:solidFill>
                  <a:schemeClr val="tx1"/>
                </a:solidFill>
                <a:latin typeface="+mj-lt"/>
              </a:rPr>
            </a:br>
            <a:r>
              <a:rPr lang="en-US" sz="2800" dirty="0">
                <a:solidFill>
                  <a:schemeClr val="tx1"/>
                </a:solidFill>
                <a:latin typeface="+mj-lt"/>
              </a:rPr>
              <a:t>SQL 2005+</a:t>
            </a:r>
          </a:p>
        </p:txBody>
      </p:sp>
      <p:sp>
        <p:nvSpPr>
          <p:cNvPr id="22" name="Rectangle 21">
            <a:extLst>
              <a:ext uri="{FF2B5EF4-FFF2-40B4-BE49-F238E27FC236}">
                <a16:creationId xmlns:a16="http://schemas.microsoft.com/office/drawing/2014/main" id="{A562B865-D1D4-4F22-9BEC-A0B5C28B1C20}"/>
              </a:ext>
            </a:extLst>
          </p:cNvPr>
          <p:cNvSpPr/>
          <p:nvPr/>
        </p:nvSpPr>
        <p:spPr bwMode="auto">
          <a:xfrm>
            <a:off x="465137" y="5461004"/>
            <a:ext cx="5935663" cy="11887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solidFill>
                  <a:schemeClr val="tx1"/>
                </a:solidFill>
                <a:latin typeface="+mj-lt"/>
              </a:rPr>
              <a:t>We will keep supporting old version DB </a:t>
            </a:r>
            <a:r>
              <a:rPr lang="en-US" sz="2800" dirty="0" err="1">
                <a:solidFill>
                  <a:schemeClr val="tx1"/>
                </a:solidFill>
                <a:latin typeface="+mj-lt"/>
              </a:rPr>
              <a:t>compat</a:t>
            </a:r>
            <a:r>
              <a:rPr lang="en-US" sz="2800" dirty="0">
                <a:solidFill>
                  <a:schemeClr val="tx1"/>
                </a:solidFill>
                <a:latin typeface="+mj-lt"/>
              </a:rPr>
              <a:t> levels in cloud </a:t>
            </a:r>
          </a:p>
        </p:txBody>
      </p:sp>
      <p:sp>
        <p:nvSpPr>
          <p:cNvPr id="23" name="Rectangle 22">
            <a:extLst>
              <a:ext uri="{FF2B5EF4-FFF2-40B4-BE49-F238E27FC236}">
                <a16:creationId xmlns:a16="http://schemas.microsoft.com/office/drawing/2014/main" id="{229C336F-2735-41E9-A8FB-F050379A3D9D}"/>
              </a:ext>
            </a:extLst>
          </p:cNvPr>
          <p:cNvSpPr/>
          <p:nvPr/>
        </p:nvSpPr>
        <p:spPr bwMode="auto">
          <a:xfrm>
            <a:off x="6565901" y="1448740"/>
            <a:ext cx="5405437" cy="5202936"/>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67094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CB305-3753-4FC7-9EFB-65D7B907A33D}"/>
              </a:ext>
            </a:extLst>
          </p:cNvPr>
          <p:cNvSpPr>
            <a:spLocks noGrp="1"/>
          </p:cNvSpPr>
          <p:nvPr>
            <p:ph type="title"/>
          </p:nvPr>
        </p:nvSpPr>
        <p:spPr/>
        <p:txBody>
          <a:bodyPr/>
          <a:lstStyle/>
          <a:p>
            <a:r>
              <a:rPr lang="en-US" dirty="0"/>
              <a:t>Reliable and seamless migrations</a:t>
            </a:r>
            <a:br>
              <a:rPr lang="en-US" dirty="0"/>
            </a:br>
            <a:r>
              <a:rPr lang="en-US" sz="3200" dirty="0"/>
              <a:t>Azure Database Migration Service (DMS)</a:t>
            </a:r>
            <a:br>
              <a:rPr lang="en-US" sz="3200" dirty="0"/>
            </a:br>
            <a:endParaRPr lang="en-US" sz="3200" dirty="0"/>
          </a:p>
        </p:txBody>
      </p:sp>
      <p:sp>
        <p:nvSpPr>
          <p:cNvPr id="5" name="Rectangle 4">
            <a:extLst>
              <a:ext uri="{FF2B5EF4-FFF2-40B4-BE49-F238E27FC236}">
                <a16:creationId xmlns:a16="http://schemas.microsoft.com/office/drawing/2014/main" id="{F14A636E-5A0F-4F6B-9F23-EC6C6623814F}"/>
              </a:ext>
            </a:extLst>
          </p:cNvPr>
          <p:cNvSpPr/>
          <p:nvPr/>
        </p:nvSpPr>
        <p:spPr bwMode="auto">
          <a:xfrm>
            <a:off x="5347504" y="1570102"/>
            <a:ext cx="6620803" cy="4970998"/>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defRPr/>
            </a:pPr>
            <a:endParaRPr lang="en-US" sz="1600" dirty="0">
              <a:solidFill>
                <a:schemeClr val="tx2"/>
              </a:solidFill>
              <a:ea typeface="Segoe UI" pitchFamily="34" charset="0"/>
              <a:cs typeface="Segoe UI" pitchFamily="34" charset="0"/>
            </a:endParaRPr>
          </a:p>
        </p:txBody>
      </p:sp>
      <p:grpSp>
        <p:nvGrpSpPr>
          <p:cNvPr id="28" name="Group 27">
            <a:extLst>
              <a:ext uri="{FF2B5EF4-FFF2-40B4-BE49-F238E27FC236}">
                <a16:creationId xmlns:a16="http://schemas.microsoft.com/office/drawing/2014/main" id="{6B5A3E7F-FEEB-4A81-BFD8-D2E45EE254CF}"/>
              </a:ext>
            </a:extLst>
          </p:cNvPr>
          <p:cNvGrpSpPr/>
          <p:nvPr/>
        </p:nvGrpSpPr>
        <p:grpSpPr>
          <a:xfrm>
            <a:off x="462987" y="1570102"/>
            <a:ext cx="4745621" cy="4970998"/>
            <a:chOff x="462987" y="1570102"/>
            <a:chExt cx="4745621" cy="4970998"/>
          </a:xfrm>
        </p:grpSpPr>
        <p:sp>
          <p:nvSpPr>
            <p:cNvPr id="7" name="Rectangle 6">
              <a:extLst>
                <a:ext uri="{FF2B5EF4-FFF2-40B4-BE49-F238E27FC236}">
                  <a16:creationId xmlns:a16="http://schemas.microsoft.com/office/drawing/2014/main" id="{77A9EBEC-2910-45AE-A0BF-7841936A27F3}"/>
                </a:ext>
              </a:extLst>
            </p:cNvPr>
            <p:cNvSpPr/>
            <p:nvPr/>
          </p:nvSpPr>
          <p:spPr bwMode="auto">
            <a:xfrm>
              <a:off x="462987" y="1570102"/>
              <a:ext cx="4745621" cy="72089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IN" sz="1600" kern="0" dirty="0">
                  <a:solidFill>
                    <a:schemeClr val="tx2"/>
                  </a:solidFill>
                  <a:cs typeface="Segoe UI Semibold" charset="0"/>
                </a:rPr>
                <a:t>Fully managed database migration service for both operational databases and data warehouses</a:t>
              </a:r>
            </a:p>
          </p:txBody>
        </p:sp>
        <p:sp>
          <p:nvSpPr>
            <p:cNvPr id="8" name="Rectangle 7">
              <a:extLst>
                <a:ext uri="{FF2B5EF4-FFF2-40B4-BE49-F238E27FC236}">
                  <a16:creationId xmlns:a16="http://schemas.microsoft.com/office/drawing/2014/main" id="{D973C157-924B-4AF0-A8B3-36010359F64C}"/>
                </a:ext>
              </a:extLst>
            </p:cNvPr>
            <p:cNvSpPr/>
            <p:nvPr/>
          </p:nvSpPr>
          <p:spPr bwMode="auto">
            <a:xfrm>
              <a:off x="462987" y="2420123"/>
              <a:ext cx="4745621" cy="72089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IN" sz="1600" kern="0" dirty="0">
                  <a:solidFill>
                    <a:schemeClr val="tx2"/>
                  </a:solidFill>
                  <a:cs typeface="Segoe UI Semibold" charset="0"/>
                </a:rPr>
                <a:t>Supports minimal down time migrations</a:t>
              </a:r>
            </a:p>
          </p:txBody>
        </p:sp>
        <p:sp>
          <p:nvSpPr>
            <p:cNvPr id="9" name="Rectangle 8">
              <a:extLst>
                <a:ext uri="{FF2B5EF4-FFF2-40B4-BE49-F238E27FC236}">
                  <a16:creationId xmlns:a16="http://schemas.microsoft.com/office/drawing/2014/main" id="{F7A463F0-EF2E-49AD-A35C-D963D9658441}"/>
                </a:ext>
              </a:extLst>
            </p:cNvPr>
            <p:cNvSpPr/>
            <p:nvPr/>
          </p:nvSpPr>
          <p:spPr bwMode="auto">
            <a:xfrm>
              <a:off x="462987" y="3270143"/>
              <a:ext cx="4745621" cy="72089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defTabSz="856695" fontAlgn="base">
                <a:spcBef>
                  <a:spcPct val="0"/>
                </a:spcBef>
                <a:spcAft>
                  <a:spcPct val="0"/>
                </a:spcAft>
                <a:defRPr/>
              </a:pPr>
              <a:r>
                <a:rPr lang="en-IN" sz="1600" kern="0" dirty="0">
                  <a:solidFill>
                    <a:schemeClr val="tx2"/>
                  </a:solidFill>
                  <a:cs typeface="Segoe UI Semibold" charset="0"/>
                </a:rPr>
                <a:t>Supports both homogeneous and heterogeneous source-target pairs</a:t>
              </a:r>
            </a:p>
          </p:txBody>
        </p:sp>
        <p:sp>
          <p:nvSpPr>
            <p:cNvPr id="10" name="Rectangle 9">
              <a:extLst>
                <a:ext uri="{FF2B5EF4-FFF2-40B4-BE49-F238E27FC236}">
                  <a16:creationId xmlns:a16="http://schemas.microsoft.com/office/drawing/2014/main" id="{E001B5E0-1A23-4D45-BECB-16FAED3D4A90}"/>
                </a:ext>
              </a:extLst>
            </p:cNvPr>
            <p:cNvSpPr/>
            <p:nvPr/>
          </p:nvSpPr>
          <p:spPr bwMode="auto">
            <a:xfrm>
              <a:off x="462987" y="4120164"/>
              <a:ext cx="4745621" cy="72089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IN" sz="1600" kern="0" dirty="0">
                  <a:solidFill>
                    <a:schemeClr val="tx2"/>
                  </a:solidFill>
                  <a:cs typeface="Segoe UI Semibold" charset="0"/>
                </a:rPr>
                <a:t>Initial focus on reliability and performance</a:t>
              </a:r>
            </a:p>
          </p:txBody>
        </p:sp>
        <p:sp>
          <p:nvSpPr>
            <p:cNvPr id="11" name="Rectangle 10">
              <a:extLst>
                <a:ext uri="{FF2B5EF4-FFF2-40B4-BE49-F238E27FC236}">
                  <a16:creationId xmlns:a16="http://schemas.microsoft.com/office/drawing/2014/main" id="{FD471C99-6F4C-4314-B773-0116AB36E415}"/>
                </a:ext>
              </a:extLst>
            </p:cNvPr>
            <p:cNvSpPr/>
            <p:nvPr/>
          </p:nvSpPr>
          <p:spPr bwMode="auto">
            <a:xfrm>
              <a:off x="462987" y="4970186"/>
              <a:ext cx="4745621" cy="72089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IN" sz="1600" kern="0" dirty="0">
                  <a:solidFill>
                    <a:schemeClr val="tx2"/>
                  </a:solidFill>
                  <a:cs typeface="Segoe UI Semibold" charset="0"/>
                </a:rPr>
                <a:t>Iterative addition of source-target pairs</a:t>
              </a:r>
            </a:p>
          </p:txBody>
        </p:sp>
        <p:sp>
          <p:nvSpPr>
            <p:cNvPr id="12" name="Rectangle 11">
              <a:extLst>
                <a:ext uri="{FF2B5EF4-FFF2-40B4-BE49-F238E27FC236}">
                  <a16:creationId xmlns:a16="http://schemas.microsoft.com/office/drawing/2014/main" id="{E07FAB31-C433-4F56-8179-2FEA07D4984A}"/>
                </a:ext>
              </a:extLst>
            </p:cNvPr>
            <p:cNvSpPr/>
            <p:nvPr/>
          </p:nvSpPr>
          <p:spPr bwMode="auto">
            <a:xfrm>
              <a:off x="462987" y="5820206"/>
              <a:ext cx="4745621" cy="72089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defTabSz="856695" fontAlgn="base">
                <a:spcBef>
                  <a:spcPct val="0"/>
                </a:spcBef>
                <a:spcAft>
                  <a:spcPct val="0"/>
                </a:spcAft>
                <a:defRPr/>
              </a:pPr>
              <a:r>
                <a:rPr lang="en-IN" sz="1600" kern="0" dirty="0">
                  <a:solidFill>
                    <a:schemeClr val="tx2"/>
                  </a:solidFill>
                  <a:cs typeface="Segoe UI Semibold" charset="0"/>
                </a:rPr>
                <a:t>Continued investment in friction-free competitive conversions</a:t>
              </a:r>
            </a:p>
          </p:txBody>
        </p:sp>
      </p:grpSp>
      <p:grpSp>
        <p:nvGrpSpPr>
          <p:cNvPr id="13" name="Group 12">
            <a:extLst>
              <a:ext uri="{FF2B5EF4-FFF2-40B4-BE49-F238E27FC236}">
                <a16:creationId xmlns:a16="http://schemas.microsoft.com/office/drawing/2014/main" id="{EC578893-C18A-4879-8112-0B017A49D35F}"/>
              </a:ext>
            </a:extLst>
          </p:cNvPr>
          <p:cNvGrpSpPr/>
          <p:nvPr/>
        </p:nvGrpSpPr>
        <p:grpSpPr>
          <a:xfrm>
            <a:off x="6897281" y="1779750"/>
            <a:ext cx="3566233" cy="4567908"/>
            <a:chOff x="1018752" y="1259369"/>
            <a:chExt cx="3074164" cy="3937626"/>
          </a:xfrm>
        </p:grpSpPr>
        <p:sp>
          <p:nvSpPr>
            <p:cNvPr id="14" name="Freeform 266">
              <a:extLst>
                <a:ext uri="{FF2B5EF4-FFF2-40B4-BE49-F238E27FC236}">
                  <a16:creationId xmlns:a16="http://schemas.microsoft.com/office/drawing/2014/main" id="{DBC8D732-987F-470A-891A-CEEE6D85EA96}"/>
                </a:ext>
              </a:extLst>
            </p:cNvPr>
            <p:cNvSpPr>
              <a:spLocks noChangeAspect="1"/>
            </p:cNvSpPr>
            <p:nvPr/>
          </p:nvSpPr>
          <p:spPr bwMode="black">
            <a:xfrm>
              <a:off x="1018752" y="1259369"/>
              <a:ext cx="3074164" cy="18180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solidFill>
                <a:schemeClr val="tx1">
                  <a:lumMod val="40000"/>
                  <a:lumOff val="60000"/>
                </a:schemeClr>
              </a:solidFill>
            </a:ln>
          </p:spPr>
          <p:txBody>
            <a:bodyPr vert="horz" wrap="square" lIns="91390" tIns="45696" rIns="91390" bIns="45696" numCol="1" anchor="t" anchorCtr="0" compatLnSpc="1">
              <a:prstTxWarp prst="textNoShape">
                <a:avLst/>
              </a:prstTxWarp>
            </a:bodyPr>
            <a:lstStyle/>
            <a:p>
              <a:pPr defTabSz="932418">
                <a:defRPr/>
              </a:pPr>
              <a:endParaRPr lang="en-US" sz="1799">
                <a:solidFill>
                  <a:srgbClr val="2C2C2C"/>
                </a:solidFill>
                <a:latin typeface="Segoe UI"/>
              </a:endParaRPr>
            </a:p>
          </p:txBody>
        </p:sp>
        <p:pic>
          <p:nvPicPr>
            <p:cNvPr id="15" name="Picture 14">
              <a:extLst>
                <a:ext uri="{FF2B5EF4-FFF2-40B4-BE49-F238E27FC236}">
                  <a16:creationId xmlns:a16="http://schemas.microsoft.com/office/drawing/2014/main" id="{E89CD283-FF97-4830-9F18-8033A60AF401}"/>
                </a:ext>
              </a:extLst>
            </p:cNvPr>
            <p:cNvPicPr>
              <a:picLocks noChangeAspect="1"/>
            </p:cNvPicPr>
            <p:nvPr/>
          </p:nvPicPr>
          <p:blipFill>
            <a:blip r:embed="rId2"/>
            <a:stretch>
              <a:fillRect/>
            </a:stretch>
          </p:blipFill>
          <p:spPr>
            <a:xfrm>
              <a:off x="1329868" y="3547270"/>
              <a:ext cx="1225965" cy="1641117"/>
            </a:xfrm>
            <a:prstGeom prst="rect">
              <a:avLst/>
            </a:prstGeom>
          </p:spPr>
        </p:pic>
        <p:sp>
          <p:nvSpPr>
            <p:cNvPr id="16" name="TextBox 15">
              <a:extLst>
                <a:ext uri="{FF2B5EF4-FFF2-40B4-BE49-F238E27FC236}">
                  <a16:creationId xmlns:a16="http://schemas.microsoft.com/office/drawing/2014/main" id="{CAB4DEBB-C3D3-416D-9325-003F8BD31FEF}"/>
                </a:ext>
              </a:extLst>
            </p:cNvPr>
            <p:cNvSpPr txBox="1"/>
            <p:nvPr/>
          </p:nvSpPr>
          <p:spPr>
            <a:xfrm>
              <a:off x="1473141" y="4350470"/>
              <a:ext cx="943135" cy="641241"/>
            </a:xfrm>
            <a:prstGeom prst="rect">
              <a:avLst/>
            </a:prstGeom>
            <a:noFill/>
          </p:spPr>
          <p:txBody>
            <a:bodyPr wrap="none" lIns="182828" tIns="146262" rIns="182828" bIns="146262" rtlCol="0">
              <a:spAutoFit/>
            </a:bodyPr>
            <a:lstStyle/>
            <a:p>
              <a:pPr algn="ctr" defTabSz="932418">
                <a:lnSpc>
                  <a:spcPct val="90000"/>
                </a:lnSpc>
                <a:spcAft>
                  <a:spcPts val="600"/>
                </a:spcAft>
                <a:defRPr/>
              </a:pPr>
              <a:r>
                <a:rPr lang="en-US" sz="2448">
                  <a:solidFill>
                    <a:srgbClr val="505050"/>
                  </a:solidFill>
                  <a:latin typeface="Segoe UI Semibold" panose="020B0702040204020203" pitchFamily="34" charset="0"/>
                  <a:cs typeface="Segoe UI Semibold" panose="020B0702040204020203" pitchFamily="34" charset="0"/>
                </a:rPr>
                <a:t>SQL</a:t>
              </a:r>
            </a:p>
          </p:txBody>
        </p:sp>
        <p:grpSp>
          <p:nvGrpSpPr>
            <p:cNvPr id="18" name="Group 17">
              <a:extLst>
                <a:ext uri="{FF2B5EF4-FFF2-40B4-BE49-F238E27FC236}">
                  <a16:creationId xmlns:a16="http://schemas.microsoft.com/office/drawing/2014/main" id="{B68F4E4B-3821-4D65-8886-B64D730CA7F6}"/>
                </a:ext>
              </a:extLst>
            </p:cNvPr>
            <p:cNvGrpSpPr/>
            <p:nvPr/>
          </p:nvGrpSpPr>
          <p:grpSpPr>
            <a:xfrm>
              <a:off x="2677647" y="3555878"/>
              <a:ext cx="1225965" cy="1641117"/>
              <a:chOff x="10005145" y="2724746"/>
              <a:chExt cx="1183664" cy="1584487"/>
            </a:xfrm>
          </p:grpSpPr>
          <p:pic>
            <p:nvPicPr>
              <p:cNvPr id="25" name="Picture 24">
                <a:extLst>
                  <a:ext uri="{FF2B5EF4-FFF2-40B4-BE49-F238E27FC236}">
                    <a16:creationId xmlns:a16="http://schemas.microsoft.com/office/drawing/2014/main" id="{C79C9467-B922-4C49-83B6-CF0E3BD32A14}"/>
                  </a:ext>
                </a:extLst>
              </p:cNvPr>
              <p:cNvPicPr>
                <a:picLocks noChangeAspect="1"/>
              </p:cNvPicPr>
              <p:nvPr/>
            </p:nvPicPr>
            <p:blipFill>
              <a:blip r:embed="rId3"/>
              <a:stretch>
                <a:fillRect/>
              </a:stretch>
            </p:blipFill>
            <p:spPr>
              <a:xfrm>
                <a:off x="10005145" y="2724746"/>
                <a:ext cx="1183664" cy="1584487"/>
              </a:xfrm>
              <a:prstGeom prst="rect">
                <a:avLst/>
              </a:prstGeom>
            </p:spPr>
          </p:pic>
          <p:sp>
            <p:nvSpPr>
              <p:cNvPr id="26" name="TextBox 25">
                <a:extLst>
                  <a:ext uri="{FF2B5EF4-FFF2-40B4-BE49-F238E27FC236}">
                    <a16:creationId xmlns:a16="http://schemas.microsoft.com/office/drawing/2014/main" id="{13075FBA-F827-40B3-81E0-BFAFF9E36CF2}"/>
                  </a:ext>
                </a:extLst>
              </p:cNvPr>
              <p:cNvSpPr txBox="1"/>
              <p:nvPr/>
            </p:nvSpPr>
            <p:spPr>
              <a:xfrm>
                <a:off x="10233692" y="3500230"/>
                <a:ext cx="775582" cy="528034"/>
              </a:xfrm>
              <a:prstGeom prst="rect">
                <a:avLst/>
              </a:prstGeom>
              <a:noFill/>
            </p:spPr>
            <p:txBody>
              <a:bodyPr wrap="none" lIns="182828" tIns="146262" rIns="182828" bIns="146262" rtlCol="0">
                <a:spAutoFit/>
              </a:bodyPr>
              <a:lstStyle/>
              <a:p>
                <a:pPr algn="ctr" defTabSz="932418">
                  <a:lnSpc>
                    <a:spcPct val="90000"/>
                  </a:lnSpc>
                  <a:spcAft>
                    <a:spcPts val="600"/>
                  </a:spcAft>
                  <a:defRPr/>
                </a:pPr>
                <a:r>
                  <a:rPr lang="en-US" sz="2400" dirty="0">
                    <a:solidFill>
                      <a:schemeClr val="tx2"/>
                    </a:solidFill>
                    <a:latin typeface="Segoe UI Semibold" panose="020B0702040204020203" pitchFamily="34" charset="0"/>
                    <a:cs typeface="Segoe UI Semibold" panose="020B0702040204020203" pitchFamily="34" charset="0"/>
                  </a:rPr>
                  <a:t>SQL</a:t>
                </a:r>
              </a:p>
            </p:txBody>
          </p:sp>
        </p:grpSp>
        <p:cxnSp>
          <p:nvCxnSpPr>
            <p:cNvPr id="19" name="Straight Arrow Connector 18">
              <a:extLst>
                <a:ext uri="{FF2B5EF4-FFF2-40B4-BE49-F238E27FC236}">
                  <a16:creationId xmlns:a16="http://schemas.microsoft.com/office/drawing/2014/main" id="{1830F071-7BC2-4D2E-9AD3-D4597B197F0C}"/>
                </a:ext>
              </a:extLst>
            </p:cNvPr>
            <p:cNvCxnSpPr/>
            <p:nvPr/>
          </p:nvCxnSpPr>
          <p:spPr>
            <a:xfrm flipV="1">
              <a:off x="3238199" y="2778953"/>
              <a:ext cx="0" cy="1134675"/>
            </a:xfrm>
            <a:prstGeom prst="straightConnector1">
              <a:avLst/>
            </a:prstGeom>
            <a:ln w="381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102EB40C-3FE4-43F2-87B6-8EC581BBF832}"/>
                </a:ext>
              </a:extLst>
            </p:cNvPr>
            <p:cNvPicPr>
              <a:picLocks noChangeAspect="1"/>
            </p:cNvPicPr>
            <p:nvPr/>
          </p:nvPicPr>
          <p:blipFill>
            <a:blip r:embed="rId3"/>
            <a:stretch>
              <a:fillRect/>
            </a:stretch>
          </p:blipFill>
          <p:spPr>
            <a:xfrm>
              <a:off x="2189959" y="1790712"/>
              <a:ext cx="756024" cy="1012038"/>
            </a:xfrm>
            <a:prstGeom prst="rect">
              <a:avLst/>
            </a:prstGeom>
          </p:spPr>
        </p:pic>
        <p:sp>
          <p:nvSpPr>
            <p:cNvPr id="21" name="TextBox 20">
              <a:extLst>
                <a:ext uri="{FF2B5EF4-FFF2-40B4-BE49-F238E27FC236}">
                  <a16:creationId xmlns:a16="http://schemas.microsoft.com/office/drawing/2014/main" id="{D623CC29-985B-42CF-B130-C15EA91DC935}"/>
                </a:ext>
              </a:extLst>
            </p:cNvPr>
            <p:cNvSpPr txBox="1"/>
            <p:nvPr/>
          </p:nvSpPr>
          <p:spPr>
            <a:xfrm>
              <a:off x="2140524" y="2245649"/>
              <a:ext cx="843373" cy="421769"/>
            </a:xfrm>
            <a:prstGeom prst="rect">
              <a:avLst/>
            </a:prstGeom>
            <a:noFill/>
          </p:spPr>
          <p:txBody>
            <a:bodyPr wrap="none" lIns="182828" tIns="146262" rIns="182828" bIns="146262" rtlCol="0">
              <a:spAutoFit/>
            </a:bodyPr>
            <a:lstStyle/>
            <a:p>
              <a:pPr algn="ctr" defTabSz="932418">
                <a:lnSpc>
                  <a:spcPct val="90000"/>
                </a:lnSpc>
                <a:spcAft>
                  <a:spcPts val="600"/>
                </a:spcAft>
                <a:defRPr/>
              </a:pPr>
              <a:r>
                <a:rPr lang="en-US" sz="1400" dirty="0">
                  <a:solidFill>
                    <a:schemeClr val="tx2"/>
                  </a:solidFill>
                  <a:latin typeface="Segoe UI Semibold" panose="020B0702040204020203" pitchFamily="34" charset="0"/>
                  <a:cs typeface="Segoe UI Semibold" panose="020B0702040204020203" pitchFamily="34" charset="0"/>
                </a:rPr>
                <a:t>SQL DB</a:t>
              </a:r>
            </a:p>
          </p:txBody>
        </p:sp>
        <p:pic>
          <p:nvPicPr>
            <p:cNvPr id="22" name="Picture 21">
              <a:extLst>
                <a:ext uri="{FF2B5EF4-FFF2-40B4-BE49-F238E27FC236}">
                  <a16:creationId xmlns:a16="http://schemas.microsoft.com/office/drawing/2014/main" id="{E8AFD14A-7381-41D6-B4CA-B22DC551BB26}"/>
                </a:ext>
              </a:extLst>
            </p:cNvPr>
            <p:cNvPicPr>
              <a:picLocks noChangeAspect="1"/>
            </p:cNvPicPr>
            <p:nvPr/>
          </p:nvPicPr>
          <p:blipFill>
            <a:blip r:embed="rId2"/>
            <a:stretch>
              <a:fillRect/>
            </a:stretch>
          </p:blipFill>
          <p:spPr>
            <a:xfrm>
              <a:off x="1313668" y="3533300"/>
              <a:ext cx="1225965" cy="1641117"/>
            </a:xfrm>
            <a:prstGeom prst="rect">
              <a:avLst/>
            </a:prstGeom>
          </p:spPr>
        </p:pic>
        <p:cxnSp>
          <p:nvCxnSpPr>
            <p:cNvPr id="23" name="Straight Arrow Connector 22">
              <a:extLst>
                <a:ext uri="{FF2B5EF4-FFF2-40B4-BE49-F238E27FC236}">
                  <a16:creationId xmlns:a16="http://schemas.microsoft.com/office/drawing/2014/main" id="{BA5897FA-779F-4FF7-AB79-4D488FF0B852}"/>
                </a:ext>
              </a:extLst>
            </p:cNvPr>
            <p:cNvCxnSpPr>
              <a:cxnSpLocks/>
            </p:cNvCxnSpPr>
            <p:nvPr/>
          </p:nvCxnSpPr>
          <p:spPr>
            <a:xfrm flipV="1">
              <a:off x="1933376" y="2778953"/>
              <a:ext cx="0" cy="1264937"/>
            </a:xfrm>
            <a:prstGeom prst="straightConnector1">
              <a:avLst/>
            </a:prstGeom>
            <a:ln w="38100">
              <a:solidFill>
                <a:srgbClr val="008A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07B54C8-2CB4-4C60-94A4-0427A05693EF}"/>
                </a:ext>
              </a:extLst>
            </p:cNvPr>
            <p:cNvSpPr txBox="1"/>
            <p:nvPr/>
          </p:nvSpPr>
          <p:spPr>
            <a:xfrm>
              <a:off x="1361263" y="4336501"/>
              <a:ext cx="1089336" cy="541158"/>
            </a:xfrm>
            <a:prstGeom prst="rect">
              <a:avLst/>
            </a:prstGeom>
            <a:noFill/>
          </p:spPr>
          <p:txBody>
            <a:bodyPr wrap="none" lIns="182828" tIns="146262" rIns="182828" bIns="146262" rtlCol="0">
              <a:spAutoFit/>
            </a:bodyPr>
            <a:lstStyle/>
            <a:p>
              <a:pPr algn="ctr" defTabSz="932418">
                <a:lnSpc>
                  <a:spcPct val="90000"/>
                </a:lnSpc>
                <a:spcAft>
                  <a:spcPts val="600"/>
                </a:spcAft>
                <a:defRPr/>
              </a:pPr>
              <a:r>
                <a:rPr lang="en-US" sz="2400" dirty="0">
                  <a:solidFill>
                    <a:schemeClr val="tx2"/>
                  </a:solidFill>
                  <a:latin typeface="Segoe UI Semibold" panose="020B0702040204020203" pitchFamily="34" charset="0"/>
                  <a:cs typeface="Segoe UI Semibold" panose="020B0702040204020203" pitchFamily="34" charset="0"/>
                </a:rPr>
                <a:t>Oracle</a:t>
              </a:r>
            </a:p>
          </p:txBody>
        </p:sp>
      </p:grpSp>
      <p:sp>
        <p:nvSpPr>
          <p:cNvPr id="27" name="Text Placeholder 3">
            <a:extLst>
              <a:ext uri="{FF2B5EF4-FFF2-40B4-BE49-F238E27FC236}">
                <a16:creationId xmlns:a16="http://schemas.microsoft.com/office/drawing/2014/main" id="{3FA6ECC9-2463-4D95-9E44-61E46303323D}"/>
              </a:ext>
            </a:extLst>
          </p:cNvPr>
          <p:cNvSpPr txBox="1">
            <a:spLocks/>
          </p:cNvSpPr>
          <p:nvPr/>
        </p:nvSpPr>
        <p:spPr>
          <a:xfrm>
            <a:off x="462987" y="6689176"/>
            <a:ext cx="4219104" cy="138499"/>
          </a:xfrm>
          <a:prstGeom prst="rect">
            <a:avLst/>
          </a:prstGeom>
          <a:noFill/>
        </p:spPr>
        <p:txBody>
          <a:bodyPr wrap="none" lIns="0" tIns="0" rIns="0" bIns="0">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32418">
              <a:spcBef>
                <a:spcPts val="1020"/>
              </a:spcBef>
              <a:buClr>
                <a:srgbClr val="D2D2D2"/>
              </a:buClr>
              <a:buNone/>
            </a:pPr>
            <a:r>
              <a:rPr lang="en-IN" sz="1000" b="1" dirty="0">
                <a:solidFill>
                  <a:schemeClr val="tx2"/>
                </a:solidFill>
                <a:latin typeface="Segoe UI" charset="0"/>
                <a:ea typeface="Segoe UI" charset="0"/>
                <a:cs typeface="Segoe UI" charset="0"/>
              </a:rPr>
              <a:t>Note</a:t>
            </a:r>
            <a:r>
              <a:rPr lang="en-IN" sz="1000" dirty="0">
                <a:solidFill>
                  <a:schemeClr val="tx2"/>
                </a:solidFill>
                <a:latin typeface="Segoe UI" charset="0"/>
                <a:ea typeface="Segoe UI" charset="0"/>
                <a:cs typeface="Segoe UI" charset="0"/>
              </a:rPr>
              <a:t>: For more information, contact </a:t>
            </a:r>
            <a:r>
              <a:rPr lang="en-IN" sz="1000" dirty="0">
                <a:solidFill>
                  <a:schemeClr val="tx2"/>
                </a:solidFill>
                <a:latin typeface="Segoe UI" charset="0"/>
                <a:ea typeface="Segoe UI" charset="0"/>
                <a:cs typeface="Segoe UI" charset="0"/>
                <a:hlinkClick r:id="rId4"/>
              </a:rPr>
              <a:t>datamigrationteam@microsoft.com</a:t>
            </a:r>
            <a:r>
              <a:rPr lang="en-IN" sz="1000" dirty="0">
                <a:solidFill>
                  <a:schemeClr val="tx2"/>
                </a:solidFill>
                <a:latin typeface="Segoe UI" charset="0"/>
                <a:ea typeface="Segoe UI" charset="0"/>
                <a:cs typeface="Segoe UI" charset="0"/>
              </a:rPr>
              <a:t>. </a:t>
            </a:r>
          </a:p>
        </p:txBody>
      </p:sp>
    </p:spTree>
    <p:extLst>
      <p:ext uri="{BB962C8B-B14F-4D97-AF65-F5344CB8AC3E}">
        <p14:creationId xmlns:p14="http://schemas.microsoft.com/office/powerpoint/2010/main" val="33257959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Migration: SSIS/</a:t>
            </a:r>
            <a:r>
              <a:rPr lang="en-US" sz="4400" dirty="0" err="1"/>
              <a:t>SSAS</a:t>
            </a:r>
            <a:r>
              <a:rPr lang="en-US" sz="4400" dirty="0"/>
              <a:t>/SSRS</a:t>
            </a:r>
          </a:p>
        </p:txBody>
      </p:sp>
      <p:sp>
        <p:nvSpPr>
          <p:cNvPr id="22" name="Text Placeholder 2">
            <a:extLst>
              <a:ext uri="{FF2B5EF4-FFF2-40B4-BE49-F238E27FC236}">
                <a16:creationId xmlns:a16="http://schemas.microsoft.com/office/drawing/2014/main" id="{7A256F12-14C6-42C3-A39E-5DF18C185562}"/>
              </a:ext>
            </a:extLst>
          </p:cNvPr>
          <p:cNvSpPr txBox="1">
            <a:spLocks/>
          </p:cNvSpPr>
          <p:nvPr/>
        </p:nvSpPr>
        <p:spPr>
          <a:xfrm>
            <a:off x="2146300" y="3173622"/>
            <a:ext cx="9825037" cy="1544012"/>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nSpc>
                <a:spcPct val="100000"/>
              </a:lnSpc>
              <a:spcBef>
                <a:spcPts val="100"/>
              </a:spcBef>
              <a:spcAft>
                <a:spcPts val="100"/>
              </a:spcAft>
              <a:buNone/>
            </a:pPr>
            <a:r>
              <a:rPr lang="en-US" sz="2400" dirty="0">
                <a:solidFill>
                  <a:schemeClr val="tx1"/>
                </a:solidFill>
              </a:rPr>
              <a:t>Recommendation: Move to PaaS model</a:t>
            </a:r>
          </a:p>
          <a:p>
            <a:pPr marL="274320" lvl="1" indent="-274320">
              <a:lnSpc>
                <a:spcPct val="100000"/>
              </a:lnSpc>
              <a:spcBef>
                <a:spcPts val="100"/>
              </a:spcBef>
              <a:spcAft>
                <a:spcPts val="300"/>
              </a:spcAft>
            </a:pPr>
            <a:r>
              <a:rPr lang="en-US" sz="2200" dirty="0"/>
              <a:t>Migrate your SSIS packages to new SSIS PaaS service</a:t>
            </a:r>
          </a:p>
          <a:p>
            <a:pPr marL="274320" lvl="1" indent="-274320">
              <a:lnSpc>
                <a:spcPct val="100000"/>
              </a:lnSpc>
              <a:spcBef>
                <a:spcPts val="100"/>
              </a:spcBef>
              <a:spcAft>
                <a:spcPts val="300"/>
              </a:spcAft>
            </a:pPr>
            <a:r>
              <a:rPr lang="en-US" sz="2200" dirty="0"/>
              <a:t>Migrate your OLAP models to Azure Analysis Services</a:t>
            </a:r>
          </a:p>
          <a:p>
            <a:pPr marL="0" lvl="1" indent="0">
              <a:lnSpc>
                <a:spcPct val="100000"/>
              </a:lnSpc>
              <a:spcBef>
                <a:spcPts val="100"/>
              </a:spcBef>
              <a:spcAft>
                <a:spcPts val="600"/>
              </a:spcAft>
              <a:buNone/>
            </a:pPr>
            <a:r>
              <a:rPr lang="en-US" sz="2400" dirty="0">
                <a:solidFill>
                  <a:schemeClr val="tx1"/>
                </a:solidFill>
              </a:rPr>
              <a:t>or run these services in Azure virtual machines</a:t>
            </a:r>
            <a:endParaRPr lang="en-US" sz="2800" dirty="0">
              <a:solidFill>
                <a:schemeClr val="tx1"/>
              </a:solidFill>
            </a:endParaRPr>
          </a:p>
        </p:txBody>
      </p:sp>
      <p:grpSp>
        <p:nvGrpSpPr>
          <p:cNvPr id="23" name="Group 22">
            <a:extLst>
              <a:ext uri="{FF2B5EF4-FFF2-40B4-BE49-F238E27FC236}">
                <a16:creationId xmlns:a16="http://schemas.microsoft.com/office/drawing/2014/main" id="{222F37D2-8A41-4DE7-BAE7-85F5975B9139}"/>
              </a:ext>
            </a:extLst>
          </p:cNvPr>
          <p:cNvGrpSpPr/>
          <p:nvPr/>
        </p:nvGrpSpPr>
        <p:grpSpPr>
          <a:xfrm>
            <a:off x="472758" y="1193019"/>
            <a:ext cx="1470342" cy="1470342"/>
            <a:chOff x="343218" y="1193019"/>
            <a:chExt cx="1470342" cy="1470342"/>
          </a:xfrm>
        </p:grpSpPr>
        <p:sp>
          <p:nvSpPr>
            <p:cNvPr id="24" name="Oval 23">
              <a:extLst>
                <a:ext uri="{FF2B5EF4-FFF2-40B4-BE49-F238E27FC236}">
                  <a16:creationId xmlns:a16="http://schemas.microsoft.com/office/drawing/2014/main" id="{CE8C6BA3-C025-401D-BD75-2C59B0093051}"/>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25" name="Arc 24">
              <a:extLst>
                <a:ext uri="{FF2B5EF4-FFF2-40B4-BE49-F238E27FC236}">
                  <a16:creationId xmlns:a16="http://schemas.microsoft.com/office/drawing/2014/main" id="{B8AD79D6-8ABD-457F-A259-31993F107585}"/>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26" name="Rectangle 25">
            <a:extLst>
              <a:ext uri="{FF2B5EF4-FFF2-40B4-BE49-F238E27FC236}">
                <a16:creationId xmlns:a16="http://schemas.microsoft.com/office/drawing/2014/main" id="{8CFC99FA-13EE-4FB3-B953-5908F5F4A6E2}"/>
              </a:ext>
            </a:extLst>
          </p:cNvPr>
          <p:cNvSpPr/>
          <p:nvPr/>
        </p:nvSpPr>
        <p:spPr>
          <a:xfrm>
            <a:off x="2146300" y="1743524"/>
            <a:ext cx="9825038" cy="369332"/>
          </a:xfrm>
          <a:prstGeom prst="rect">
            <a:avLst/>
          </a:prstGeom>
        </p:spPr>
        <p:txBody>
          <a:bodyPr wrap="square" lIns="0" tIns="0" rIns="0" bIns="0">
            <a:spAutoFit/>
          </a:bodyPr>
          <a:lstStyle/>
          <a:p>
            <a:r>
              <a:rPr lang="en-US" sz="2400" dirty="0">
                <a:latin typeface="+mj-lt"/>
              </a:rPr>
              <a:t>These services will </a:t>
            </a:r>
            <a:r>
              <a:rPr lang="en-US" sz="2400" b="1" dirty="0"/>
              <a:t>not be installed </a:t>
            </a:r>
            <a:r>
              <a:rPr lang="en-US" sz="2400" dirty="0">
                <a:latin typeface="+mj-lt"/>
              </a:rPr>
              <a:t>side-by-side with Managed Instance</a:t>
            </a:r>
          </a:p>
        </p:txBody>
      </p:sp>
      <p:cxnSp>
        <p:nvCxnSpPr>
          <p:cNvPr id="27" name="Straight Connector 26">
            <a:extLst>
              <a:ext uri="{FF2B5EF4-FFF2-40B4-BE49-F238E27FC236}">
                <a16:creationId xmlns:a16="http://schemas.microsoft.com/office/drawing/2014/main" id="{553AC351-5B0B-43AF-947D-3653E5598DCF}"/>
              </a:ext>
            </a:extLst>
          </p:cNvPr>
          <p:cNvCxnSpPr>
            <a:cxnSpLocks/>
          </p:cNvCxnSpPr>
          <p:nvPr/>
        </p:nvCxnSpPr>
        <p:spPr>
          <a:xfrm>
            <a:off x="2141538" y="4913310"/>
            <a:ext cx="982980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248F8DE8-C046-48BA-8135-5685C227FC02}"/>
              </a:ext>
            </a:extLst>
          </p:cNvPr>
          <p:cNvGrpSpPr/>
          <p:nvPr/>
        </p:nvGrpSpPr>
        <p:grpSpPr>
          <a:xfrm>
            <a:off x="472758" y="3183099"/>
            <a:ext cx="1470342" cy="1470342"/>
            <a:chOff x="343218" y="2937006"/>
            <a:chExt cx="1470342" cy="1470342"/>
          </a:xfrm>
        </p:grpSpPr>
        <p:sp>
          <p:nvSpPr>
            <p:cNvPr id="29" name="Oval 28">
              <a:extLst>
                <a:ext uri="{FF2B5EF4-FFF2-40B4-BE49-F238E27FC236}">
                  <a16:creationId xmlns:a16="http://schemas.microsoft.com/office/drawing/2014/main" id="{AB0C8336-76AF-4663-AD5F-4C01D155E3D9}"/>
                </a:ext>
              </a:extLst>
            </p:cNvPr>
            <p:cNvSpPr/>
            <p:nvPr/>
          </p:nvSpPr>
          <p:spPr bwMode="auto">
            <a:xfrm>
              <a:off x="465138" y="3058929"/>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30" name="Arc 29">
              <a:extLst>
                <a:ext uri="{FF2B5EF4-FFF2-40B4-BE49-F238E27FC236}">
                  <a16:creationId xmlns:a16="http://schemas.microsoft.com/office/drawing/2014/main" id="{F316AFE8-F143-4ADE-BE84-E1281549ABB6}"/>
                </a:ext>
              </a:extLst>
            </p:cNvPr>
            <p:cNvSpPr/>
            <p:nvPr/>
          </p:nvSpPr>
          <p:spPr>
            <a:xfrm flipH="1">
              <a:off x="343218" y="2937006"/>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grpSp>
        <p:nvGrpSpPr>
          <p:cNvPr id="31" name="Group 30">
            <a:extLst>
              <a:ext uri="{FF2B5EF4-FFF2-40B4-BE49-F238E27FC236}">
                <a16:creationId xmlns:a16="http://schemas.microsoft.com/office/drawing/2014/main" id="{7F711513-316E-4F86-A074-DB5D20694945}"/>
              </a:ext>
            </a:extLst>
          </p:cNvPr>
          <p:cNvGrpSpPr/>
          <p:nvPr/>
        </p:nvGrpSpPr>
        <p:grpSpPr>
          <a:xfrm>
            <a:off x="472758" y="5173177"/>
            <a:ext cx="1470342" cy="1470342"/>
            <a:chOff x="343218" y="1193019"/>
            <a:chExt cx="1470342" cy="1470342"/>
          </a:xfrm>
        </p:grpSpPr>
        <p:sp>
          <p:nvSpPr>
            <p:cNvPr id="32" name="Oval 31">
              <a:extLst>
                <a:ext uri="{FF2B5EF4-FFF2-40B4-BE49-F238E27FC236}">
                  <a16:creationId xmlns:a16="http://schemas.microsoft.com/office/drawing/2014/main" id="{DE9F9613-8E48-4947-9FFC-5B00FFA7D70F}"/>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33" name="Arc 32">
              <a:extLst>
                <a:ext uri="{FF2B5EF4-FFF2-40B4-BE49-F238E27FC236}">
                  <a16:creationId xmlns:a16="http://schemas.microsoft.com/office/drawing/2014/main" id="{31EDB296-48BE-419F-9BBD-1BBEBF1BBB9B}"/>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34" name="Rectangle 33">
            <a:extLst>
              <a:ext uri="{FF2B5EF4-FFF2-40B4-BE49-F238E27FC236}">
                <a16:creationId xmlns:a16="http://schemas.microsoft.com/office/drawing/2014/main" id="{F740D8C3-CD10-4D6D-A209-6BB82F25CC72}"/>
              </a:ext>
            </a:extLst>
          </p:cNvPr>
          <p:cNvSpPr/>
          <p:nvPr/>
        </p:nvSpPr>
        <p:spPr>
          <a:xfrm>
            <a:off x="2146300" y="5723682"/>
            <a:ext cx="9825038" cy="369332"/>
          </a:xfrm>
          <a:prstGeom prst="rect">
            <a:avLst/>
          </a:prstGeom>
        </p:spPr>
        <p:txBody>
          <a:bodyPr wrap="square" lIns="0" tIns="0" rIns="0" bIns="0">
            <a:spAutoFit/>
          </a:bodyPr>
          <a:lstStyle/>
          <a:p>
            <a:r>
              <a:rPr lang="en-US" sz="2400" dirty="0">
                <a:latin typeface="+mj-lt"/>
              </a:rPr>
              <a:t>For SSRS, the recommendation is to run in a virtual machine</a:t>
            </a:r>
          </a:p>
        </p:txBody>
      </p:sp>
      <p:cxnSp>
        <p:nvCxnSpPr>
          <p:cNvPr id="38" name="Straight Connector 37">
            <a:extLst>
              <a:ext uri="{FF2B5EF4-FFF2-40B4-BE49-F238E27FC236}">
                <a16:creationId xmlns:a16="http://schemas.microsoft.com/office/drawing/2014/main" id="{1B73E7BA-53FD-4A6A-9EF0-87FC4DF5C57D}"/>
              </a:ext>
            </a:extLst>
          </p:cNvPr>
          <p:cNvCxnSpPr>
            <a:cxnSpLocks/>
          </p:cNvCxnSpPr>
          <p:nvPr/>
        </p:nvCxnSpPr>
        <p:spPr>
          <a:xfrm>
            <a:off x="2141538" y="2923230"/>
            <a:ext cx="982980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Freeform: Shape 47">
            <a:extLst>
              <a:ext uri="{FF2B5EF4-FFF2-40B4-BE49-F238E27FC236}">
                <a16:creationId xmlns:a16="http://schemas.microsoft.com/office/drawing/2014/main" id="{52CB5375-7615-494C-9819-025DE979C058}"/>
              </a:ext>
            </a:extLst>
          </p:cNvPr>
          <p:cNvSpPr/>
          <p:nvPr/>
        </p:nvSpPr>
        <p:spPr>
          <a:xfrm>
            <a:off x="880263" y="5605818"/>
            <a:ext cx="655332" cy="605060"/>
          </a:xfrm>
          <a:custGeom>
            <a:avLst/>
            <a:gdLst>
              <a:gd name="connsiteX0" fmla="*/ 530484 w 564644"/>
              <a:gd name="connsiteY0" fmla="*/ 1412 h 521330"/>
              <a:gd name="connsiteX1" fmla="*/ 32467 w 564644"/>
              <a:gd name="connsiteY1" fmla="*/ 1412 h 521330"/>
              <a:gd name="connsiteX2" fmla="*/ 1412 w 564644"/>
              <a:gd name="connsiteY2" fmla="*/ 32466 h 521330"/>
              <a:gd name="connsiteX3" fmla="*/ 1412 w 564644"/>
              <a:gd name="connsiteY3" fmla="*/ 385351 h 521330"/>
              <a:gd name="connsiteX4" fmla="*/ 32467 w 564644"/>
              <a:gd name="connsiteY4" fmla="*/ 417911 h 521330"/>
              <a:gd name="connsiteX5" fmla="*/ 202990 w 564644"/>
              <a:gd name="connsiteY5" fmla="*/ 417911 h 521330"/>
              <a:gd name="connsiteX6" fmla="*/ 105118 w 564644"/>
              <a:gd name="connsiteY6" fmla="*/ 489053 h 521330"/>
              <a:gd name="connsiteX7" fmla="*/ 105118 w 564644"/>
              <a:gd name="connsiteY7" fmla="*/ 521612 h 521330"/>
              <a:gd name="connsiteX8" fmla="*/ 460844 w 564644"/>
              <a:gd name="connsiteY8" fmla="*/ 521612 h 521330"/>
              <a:gd name="connsiteX9" fmla="*/ 460844 w 564644"/>
              <a:gd name="connsiteY9" fmla="*/ 489053 h 521330"/>
              <a:gd name="connsiteX10" fmla="*/ 355632 w 564644"/>
              <a:gd name="connsiteY10" fmla="*/ 417911 h 521330"/>
              <a:gd name="connsiteX11" fmla="*/ 530484 w 564644"/>
              <a:gd name="connsiteY11" fmla="*/ 417911 h 521330"/>
              <a:gd name="connsiteX12" fmla="*/ 564551 w 564644"/>
              <a:gd name="connsiteY12" fmla="*/ 388174 h 521330"/>
              <a:gd name="connsiteX13" fmla="*/ 564551 w 564644"/>
              <a:gd name="connsiteY13" fmla="*/ 32466 h 521330"/>
              <a:gd name="connsiteX14" fmla="*/ 530484 w 564644"/>
              <a:gd name="connsiteY14" fmla="*/ 1412 h 521330"/>
              <a:gd name="connsiteX15" fmla="*/ 530484 w 564644"/>
              <a:gd name="connsiteY15" fmla="*/ 1412 h 521330"/>
              <a:gd name="connsiteX16" fmla="*/ 520132 w 564644"/>
              <a:gd name="connsiteY16" fmla="*/ 371989 h 521330"/>
              <a:gd name="connsiteX17" fmla="*/ 42819 w 564644"/>
              <a:gd name="connsiteY17" fmla="*/ 371989 h 521330"/>
              <a:gd name="connsiteX18" fmla="*/ 45830 w 564644"/>
              <a:gd name="connsiteY18" fmla="*/ 44322 h 521330"/>
              <a:gd name="connsiteX19" fmla="*/ 520132 w 564644"/>
              <a:gd name="connsiteY19" fmla="*/ 45828 h 521330"/>
              <a:gd name="connsiteX20" fmla="*/ 520132 w 564644"/>
              <a:gd name="connsiteY20" fmla="*/ 371989 h 52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644" h="521330">
                <a:moveTo>
                  <a:pt x="530484" y="1412"/>
                </a:moveTo>
                <a:lnTo>
                  <a:pt x="32467" y="1412"/>
                </a:lnTo>
                <a:cubicBezTo>
                  <a:pt x="16092" y="1412"/>
                  <a:pt x="1412" y="14774"/>
                  <a:pt x="1412" y="32466"/>
                </a:cubicBezTo>
                <a:lnTo>
                  <a:pt x="1412" y="385351"/>
                </a:lnTo>
                <a:cubicBezTo>
                  <a:pt x="1412" y="401725"/>
                  <a:pt x="14775" y="417911"/>
                  <a:pt x="32467" y="417911"/>
                </a:cubicBezTo>
                <a:lnTo>
                  <a:pt x="202990" y="417911"/>
                </a:lnTo>
                <a:cubicBezTo>
                  <a:pt x="220870" y="483218"/>
                  <a:pt x="213342" y="489053"/>
                  <a:pt x="105118" y="489053"/>
                </a:cubicBezTo>
                <a:lnTo>
                  <a:pt x="105118" y="521612"/>
                </a:lnTo>
                <a:lnTo>
                  <a:pt x="460844" y="521612"/>
                </a:lnTo>
                <a:lnTo>
                  <a:pt x="460844" y="489053"/>
                </a:lnTo>
                <a:cubicBezTo>
                  <a:pt x="352621" y="489053"/>
                  <a:pt x="337752" y="483030"/>
                  <a:pt x="355632" y="417911"/>
                </a:cubicBezTo>
                <a:lnTo>
                  <a:pt x="530484" y="417911"/>
                </a:lnTo>
                <a:cubicBezTo>
                  <a:pt x="546859" y="417911"/>
                  <a:pt x="564551" y="403043"/>
                  <a:pt x="564551" y="388174"/>
                </a:cubicBezTo>
                <a:lnTo>
                  <a:pt x="564551" y="32466"/>
                </a:lnTo>
                <a:cubicBezTo>
                  <a:pt x="564739" y="14774"/>
                  <a:pt x="546859" y="1412"/>
                  <a:pt x="530484" y="1412"/>
                </a:cubicBezTo>
                <a:lnTo>
                  <a:pt x="530484" y="1412"/>
                </a:lnTo>
                <a:close/>
                <a:moveTo>
                  <a:pt x="520132" y="371989"/>
                </a:moveTo>
                <a:lnTo>
                  <a:pt x="42819" y="371989"/>
                </a:lnTo>
                <a:lnTo>
                  <a:pt x="45830" y="44322"/>
                </a:lnTo>
                <a:lnTo>
                  <a:pt x="520132" y="45828"/>
                </a:lnTo>
                <a:lnTo>
                  <a:pt x="520132" y="371989"/>
                </a:lnTo>
                <a:close/>
              </a:path>
            </a:pathLst>
          </a:custGeom>
          <a:solidFill>
            <a:schemeClr val="bg1"/>
          </a:solidFill>
          <a:ln w="9525" cap="flat">
            <a:noFill/>
            <a:prstDash val="solid"/>
            <a:miter/>
          </a:ln>
        </p:spPr>
        <p:txBody>
          <a:bodyPr rtlCol="0" anchor="ctr"/>
          <a:lstStyle/>
          <a:p>
            <a:endParaRPr lang="en-IN"/>
          </a:p>
        </p:txBody>
      </p:sp>
      <p:grpSp>
        <p:nvGrpSpPr>
          <p:cNvPr id="52" name="Group 51">
            <a:extLst>
              <a:ext uri="{FF2B5EF4-FFF2-40B4-BE49-F238E27FC236}">
                <a16:creationId xmlns:a16="http://schemas.microsoft.com/office/drawing/2014/main" id="{A865C86B-29CD-40B5-953C-1A7677A1E279}"/>
              </a:ext>
            </a:extLst>
          </p:cNvPr>
          <p:cNvGrpSpPr/>
          <p:nvPr/>
        </p:nvGrpSpPr>
        <p:grpSpPr>
          <a:xfrm>
            <a:off x="1115825" y="5741785"/>
            <a:ext cx="194049" cy="223588"/>
            <a:chOff x="1111661" y="5769170"/>
            <a:chExt cx="194049" cy="223588"/>
          </a:xfrm>
        </p:grpSpPr>
        <p:sp>
          <p:nvSpPr>
            <p:cNvPr id="49" name="Freeform: Shape 48">
              <a:extLst>
                <a:ext uri="{FF2B5EF4-FFF2-40B4-BE49-F238E27FC236}">
                  <a16:creationId xmlns:a16="http://schemas.microsoft.com/office/drawing/2014/main" id="{9C51BB49-010C-4F66-BA17-55692315994C}"/>
                </a:ext>
              </a:extLst>
            </p:cNvPr>
            <p:cNvSpPr/>
            <p:nvPr/>
          </p:nvSpPr>
          <p:spPr>
            <a:xfrm>
              <a:off x="1122013" y="5769170"/>
              <a:ext cx="175040" cy="103513"/>
            </a:xfrm>
            <a:custGeom>
              <a:avLst/>
              <a:gdLst>
                <a:gd name="connsiteX0" fmla="*/ 174758 w 175039"/>
                <a:gd name="connsiteY0" fmla="*/ 51851 h 103513"/>
                <a:gd name="connsiteX1" fmla="*/ 87426 w 175039"/>
                <a:gd name="connsiteY1" fmla="*/ 1412 h 103513"/>
                <a:gd name="connsiteX2" fmla="*/ 1412 w 175039"/>
                <a:gd name="connsiteY2" fmla="*/ 51851 h 103513"/>
                <a:gd name="connsiteX3" fmla="*/ 1412 w 175039"/>
                <a:gd name="connsiteY3" fmla="*/ 53168 h 103513"/>
                <a:gd name="connsiteX4" fmla="*/ 87426 w 175039"/>
                <a:gd name="connsiteY4" fmla="*/ 103607 h 103513"/>
                <a:gd name="connsiteX5" fmla="*/ 174758 w 175039"/>
                <a:gd name="connsiteY5" fmla="*/ 53168 h 103513"/>
                <a:gd name="connsiteX6" fmla="*/ 174758 w 175039"/>
                <a:gd name="connsiteY6" fmla="*/ 51851 h 103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039" h="103513">
                  <a:moveTo>
                    <a:pt x="174758" y="51851"/>
                  </a:moveTo>
                  <a:lnTo>
                    <a:pt x="87426" y="1412"/>
                  </a:lnTo>
                  <a:lnTo>
                    <a:pt x="1412" y="51851"/>
                  </a:lnTo>
                  <a:lnTo>
                    <a:pt x="1412" y="53168"/>
                  </a:lnTo>
                  <a:lnTo>
                    <a:pt x="87426" y="103607"/>
                  </a:lnTo>
                  <a:lnTo>
                    <a:pt x="174758" y="53168"/>
                  </a:lnTo>
                  <a:lnTo>
                    <a:pt x="174758" y="51851"/>
                  </a:lnTo>
                  <a:close/>
                </a:path>
              </a:pathLst>
            </a:custGeom>
            <a:solidFill>
              <a:schemeClr val="bg1"/>
            </a:solidFill>
            <a:ln w="9525" cap="flat">
              <a:noFill/>
              <a:prstDash val="solid"/>
              <a:miter/>
            </a:ln>
          </p:spPr>
          <p:txBody>
            <a:bodyPr rtlCol="0" anchor="ctr"/>
            <a:lstStyle/>
            <a:p>
              <a:endParaRPr lang="en-IN"/>
            </a:p>
          </p:txBody>
        </p:sp>
        <p:sp>
          <p:nvSpPr>
            <p:cNvPr id="50" name="Freeform: Shape 49">
              <a:extLst>
                <a:ext uri="{FF2B5EF4-FFF2-40B4-BE49-F238E27FC236}">
                  <a16:creationId xmlns:a16="http://schemas.microsoft.com/office/drawing/2014/main" id="{1F84FFA4-0830-4DF1-8D7F-D610848F1B63}"/>
                </a:ext>
              </a:extLst>
            </p:cNvPr>
            <p:cNvSpPr/>
            <p:nvPr/>
          </p:nvSpPr>
          <p:spPr>
            <a:xfrm>
              <a:off x="1215367" y="5840311"/>
              <a:ext cx="90343" cy="152447"/>
            </a:xfrm>
            <a:custGeom>
              <a:avLst/>
              <a:gdLst>
                <a:gd name="connsiteX0" fmla="*/ 1412 w 90343"/>
                <a:gd name="connsiteY0" fmla="*/ 51851 h 152446"/>
                <a:gd name="connsiteX1" fmla="*/ 1412 w 90343"/>
                <a:gd name="connsiteY1" fmla="*/ 151035 h 152446"/>
                <a:gd name="connsiteX2" fmla="*/ 90437 w 90343"/>
                <a:gd name="connsiteY2" fmla="*/ 100784 h 152446"/>
                <a:gd name="connsiteX3" fmla="*/ 90437 w 90343"/>
                <a:gd name="connsiteY3" fmla="*/ 1412 h 152446"/>
                <a:gd name="connsiteX4" fmla="*/ 1412 w 90343"/>
                <a:gd name="connsiteY4" fmla="*/ 51851 h 152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343" h="152446">
                  <a:moveTo>
                    <a:pt x="1412" y="51851"/>
                  </a:moveTo>
                  <a:lnTo>
                    <a:pt x="1412" y="151035"/>
                  </a:lnTo>
                  <a:lnTo>
                    <a:pt x="90437" y="100784"/>
                  </a:lnTo>
                  <a:lnTo>
                    <a:pt x="90437" y="1412"/>
                  </a:lnTo>
                  <a:lnTo>
                    <a:pt x="1412" y="51851"/>
                  </a:lnTo>
                  <a:close/>
                </a:path>
              </a:pathLst>
            </a:custGeom>
            <a:solidFill>
              <a:schemeClr val="bg1"/>
            </a:solidFill>
            <a:ln w="9525" cap="flat">
              <a:noFill/>
              <a:prstDash val="solid"/>
              <a:miter/>
            </a:ln>
          </p:spPr>
          <p:txBody>
            <a:bodyPr rtlCol="0" anchor="ctr"/>
            <a:lstStyle/>
            <a:p>
              <a:endParaRPr lang="en-IN"/>
            </a:p>
          </p:txBody>
        </p:sp>
        <p:sp>
          <p:nvSpPr>
            <p:cNvPr id="51" name="Freeform: Shape 50">
              <a:extLst>
                <a:ext uri="{FF2B5EF4-FFF2-40B4-BE49-F238E27FC236}">
                  <a16:creationId xmlns:a16="http://schemas.microsoft.com/office/drawing/2014/main" id="{CB339772-1BD1-47AE-9D27-7F5DE21E4D15}"/>
                </a:ext>
              </a:extLst>
            </p:cNvPr>
            <p:cNvSpPr/>
            <p:nvPr/>
          </p:nvSpPr>
          <p:spPr>
            <a:xfrm>
              <a:off x="1111661" y="5840311"/>
              <a:ext cx="90343" cy="152447"/>
            </a:xfrm>
            <a:custGeom>
              <a:avLst/>
              <a:gdLst>
                <a:gd name="connsiteX0" fmla="*/ 90249 w 90343"/>
                <a:gd name="connsiteY0" fmla="*/ 51851 h 152446"/>
                <a:gd name="connsiteX1" fmla="*/ 1412 w 90343"/>
                <a:gd name="connsiteY1" fmla="*/ 1412 h 152446"/>
                <a:gd name="connsiteX2" fmla="*/ 1412 w 90343"/>
                <a:gd name="connsiteY2" fmla="*/ 100784 h 152446"/>
                <a:gd name="connsiteX3" fmla="*/ 90249 w 90343"/>
                <a:gd name="connsiteY3" fmla="*/ 151035 h 152446"/>
                <a:gd name="connsiteX4" fmla="*/ 90249 w 90343"/>
                <a:gd name="connsiteY4" fmla="*/ 51851 h 152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343" h="152446">
                  <a:moveTo>
                    <a:pt x="90249" y="51851"/>
                  </a:moveTo>
                  <a:lnTo>
                    <a:pt x="1412" y="1412"/>
                  </a:lnTo>
                  <a:lnTo>
                    <a:pt x="1412" y="100784"/>
                  </a:lnTo>
                  <a:lnTo>
                    <a:pt x="90249" y="151035"/>
                  </a:lnTo>
                  <a:lnTo>
                    <a:pt x="90249" y="51851"/>
                  </a:lnTo>
                  <a:close/>
                </a:path>
              </a:pathLst>
            </a:custGeom>
            <a:solidFill>
              <a:schemeClr val="bg1"/>
            </a:solidFill>
            <a:ln w="9525" cap="flat">
              <a:noFill/>
              <a:prstDash val="solid"/>
              <a:miter/>
            </a:ln>
          </p:spPr>
          <p:txBody>
            <a:bodyPr rtlCol="0" anchor="ctr"/>
            <a:lstStyle/>
            <a:p>
              <a:endParaRPr lang="en-IN"/>
            </a:p>
          </p:txBody>
        </p:sp>
      </p:grpSp>
      <p:grpSp>
        <p:nvGrpSpPr>
          <p:cNvPr id="56" name="Group 55">
            <a:extLst>
              <a:ext uri="{FF2B5EF4-FFF2-40B4-BE49-F238E27FC236}">
                <a16:creationId xmlns:a16="http://schemas.microsoft.com/office/drawing/2014/main" id="{FA779C68-C50E-4F47-874D-E789D266D55F}"/>
              </a:ext>
            </a:extLst>
          </p:cNvPr>
          <p:cNvGrpSpPr/>
          <p:nvPr/>
        </p:nvGrpSpPr>
        <p:grpSpPr>
          <a:xfrm>
            <a:off x="817772" y="1599095"/>
            <a:ext cx="780315" cy="658190"/>
            <a:chOff x="819179" y="1599095"/>
            <a:chExt cx="780315" cy="658190"/>
          </a:xfrm>
        </p:grpSpPr>
        <p:sp>
          <p:nvSpPr>
            <p:cNvPr id="54" name="Freeform 726">
              <a:extLst>
                <a:ext uri="{FF2B5EF4-FFF2-40B4-BE49-F238E27FC236}">
                  <a16:creationId xmlns:a16="http://schemas.microsoft.com/office/drawing/2014/main" id="{CA03F582-474D-43D8-BA5E-0E58DCB95E21}"/>
                </a:ext>
              </a:extLst>
            </p:cNvPr>
            <p:cNvSpPr>
              <a:spLocks noChangeArrowheads="1"/>
            </p:cNvSpPr>
            <p:nvPr/>
          </p:nvSpPr>
          <p:spPr bwMode="auto">
            <a:xfrm flipH="1" flipV="1">
              <a:off x="969576" y="1599095"/>
              <a:ext cx="629918" cy="658190"/>
            </a:xfrm>
            <a:custGeom>
              <a:avLst/>
              <a:gdLst>
                <a:gd name="connsiteX0" fmla="*/ 686121 w 1300903"/>
                <a:gd name="connsiteY0" fmla="*/ 789686 h 1359292"/>
                <a:gd name="connsiteX1" fmla="*/ 569606 w 1300903"/>
                <a:gd name="connsiteY1" fmla="*/ 679646 h 1359292"/>
                <a:gd name="connsiteX2" fmla="*/ 686121 w 1300903"/>
                <a:gd name="connsiteY2" fmla="*/ 569607 h 1359292"/>
                <a:gd name="connsiteX3" fmla="*/ 802635 w 1300903"/>
                <a:gd name="connsiteY3" fmla="*/ 679646 h 1359292"/>
                <a:gd name="connsiteX4" fmla="*/ 686121 w 1300903"/>
                <a:gd name="connsiteY4" fmla="*/ 789686 h 1359292"/>
                <a:gd name="connsiteX5" fmla="*/ 679646 w 1300903"/>
                <a:gd name="connsiteY5" fmla="*/ 1359292 h 1359292"/>
                <a:gd name="connsiteX6" fmla="*/ 1160230 w 1300903"/>
                <a:gd name="connsiteY6" fmla="*/ 1160230 h 1359292"/>
                <a:gd name="connsiteX7" fmla="*/ 1222702 w 1300903"/>
                <a:gd name="connsiteY7" fmla="*/ 1084512 h 1359292"/>
                <a:gd name="connsiteX8" fmla="*/ 1222702 w 1300903"/>
                <a:gd name="connsiteY8" fmla="*/ 746485 h 1359292"/>
                <a:gd name="connsiteX9" fmla="*/ 1025298 w 1300903"/>
                <a:gd name="connsiteY9" fmla="*/ 931550 h 1359292"/>
                <a:gd name="connsiteX10" fmla="*/ 1025298 w 1300903"/>
                <a:gd name="connsiteY10" fmla="*/ 668401 h 1359292"/>
                <a:gd name="connsiteX11" fmla="*/ 1300903 w 1300903"/>
                <a:gd name="connsiteY11" fmla="*/ 405922 h 1359292"/>
                <a:gd name="connsiteX12" fmla="*/ 1243220 w 1300903"/>
                <a:gd name="connsiteY12" fmla="*/ 299648 h 1359292"/>
                <a:gd name="connsiteX13" fmla="*/ 679646 w 1300903"/>
                <a:gd name="connsiteY13" fmla="*/ 0 h 1359292"/>
                <a:gd name="connsiteX14" fmla="*/ 0 w 1300903"/>
                <a:gd name="connsiteY14" fmla="*/ 679646 h 1359292"/>
                <a:gd name="connsiteX15" fmla="*/ 679646 w 1300903"/>
                <a:gd name="connsiteY15" fmla="*/ 1359292 h 1359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00903" h="1359292">
                  <a:moveTo>
                    <a:pt x="686121" y="789686"/>
                  </a:moveTo>
                  <a:cubicBezTo>
                    <a:pt x="621772" y="789686"/>
                    <a:pt x="569606" y="740423"/>
                    <a:pt x="569606" y="679646"/>
                  </a:cubicBezTo>
                  <a:cubicBezTo>
                    <a:pt x="569606" y="618869"/>
                    <a:pt x="621772" y="569607"/>
                    <a:pt x="686121" y="569607"/>
                  </a:cubicBezTo>
                  <a:cubicBezTo>
                    <a:pt x="750470" y="569607"/>
                    <a:pt x="802635" y="618869"/>
                    <a:pt x="802635" y="679646"/>
                  </a:cubicBezTo>
                  <a:cubicBezTo>
                    <a:pt x="802635" y="740423"/>
                    <a:pt x="750470" y="789686"/>
                    <a:pt x="686121" y="789686"/>
                  </a:cubicBezTo>
                  <a:close/>
                  <a:moveTo>
                    <a:pt x="679646" y="1359292"/>
                  </a:moveTo>
                  <a:cubicBezTo>
                    <a:pt x="867327" y="1359292"/>
                    <a:pt x="1037238" y="1283221"/>
                    <a:pt x="1160230" y="1160230"/>
                  </a:cubicBezTo>
                  <a:lnTo>
                    <a:pt x="1222702" y="1084512"/>
                  </a:lnTo>
                  <a:lnTo>
                    <a:pt x="1222702" y="746485"/>
                  </a:lnTo>
                  <a:lnTo>
                    <a:pt x="1025298" y="931550"/>
                  </a:lnTo>
                  <a:lnTo>
                    <a:pt x="1025298" y="668401"/>
                  </a:lnTo>
                  <a:lnTo>
                    <a:pt x="1300903" y="405922"/>
                  </a:lnTo>
                  <a:lnTo>
                    <a:pt x="1243220" y="299648"/>
                  </a:lnTo>
                  <a:cubicBezTo>
                    <a:pt x="1121083" y="118861"/>
                    <a:pt x="914247" y="0"/>
                    <a:pt x="679646" y="0"/>
                  </a:cubicBezTo>
                  <a:cubicBezTo>
                    <a:pt x="304285" y="0"/>
                    <a:pt x="0" y="304285"/>
                    <a:pt x="0" y="679646"/>
                  </a:cubicBezTo>
                  <a:cubicBezTo>
                    <a:pt x="0" y="1055007"/>
                    <a:pt x="304285" y="1359292"/>
                    <a:pt x="679646" y="1359292"/>
                  </a:cubicBezTo>
                  <a:close/>
                </a:path>
              </a:pathLst>
            </a:custGeom>
            <a:solidFill>
              <a:schemeClr val="bg1"/>
            </a:solidFill>
            <a:ln>
              <a:noFill/>
            </a:ln>
          </p:spPr>
          <p:txBody>
            <a:bodyPr vert="horz" wrap="square" lIns="91416" tIns="45708" rIns="91416" bIns="45708" numCol="1" anchor="t" anchorCtr="0" compatLnSpc="1">
              <a:prstTxWarp prst="textNoShape">
                <a:avLst/>
              </a:prstTxWarp>
              <a:noAutofit/>
            </a:bodyPr>
            <a:lstStyle/>
            <a:p>
              <a:pPr marL="0" marR="0" lvl="0" indent="0" algn="l" defTabSz="914126" rtl="0" eaLnBrk="1" fontAlgn="auto" latinLnBrk="0" hangingPunct="1">
                <a:spcBef>
                  <a:spcPts val="0"/>
                </a:spcBef>
                <a:spcAft>
                  <a:spcPts val="0"/>
                </a:spcAft>
                <a:buClrTx/>
                <a:buSzTx/>
                <a:buFontTx/>
                <a:buNone/>
                <a:tabLst/>
                <a:defRPr/>
              </a:pPr>
              <a:endParaRPr kumimoji="0" lang="en-US" sz="900" b="0" i="0" u="none" strike="noStrike" kern="1200" cap="none" normalizeH="0" baseline="0" noProof="0">
                <a:ln>
                  <a:noFill/>
                </a:ln>
                <a:solidFill>
                  <a:prstClr val="black"/>
                </a:solidFill>
                <a:effectLst/>
                <a:uLnTx/>
                <a:uFillTx/>
                <a:latin typeface="Calibri" panose="020F0502020204030204"/>
                <a:ea typeface="+mn-ea"/>
                <a:cs typeface="+mn-cs"/>
              </a:endParaRPr>
            </a:p>
          </p:txBody>
        </p:sp>
        <p:sp>
          <p:nvSpPr>
            <p:cNvPr id="55" name="Freeform 482">
              <a:extLst>
                <a:ext uri="{FF2B5EF4-FFF2-40B4-BE49-F238E27FC236}">
                  <a16:creationId xmlns:a16="http://schemas.microsoft.com/office/drawing/2014/main" id="{C29F2C90-E50C-4103-B7AE-E850525DE902}"/>
                </a:ext>
              </a:extLst>
            </p:cNvPr>
            <p:cNvSpPr>
              <a:spLocks/>
            </p:cNvSpPr>
            <p:nvPr/>
          </p:nvSpPr>
          <p:spPr bwMode="auto">
            <a:xfrm flipH="1" flipV="1">
              <a:off x="819179" y="1747539"/>
              <a:ext cx="269547" cy="294621"/>
            </a:xfrm>
            <a:custGeom>
              <a:avLst/>
              <a:gdLst>
                <a:gd name="T0" fmla="*/ 27 w 43"/>
                <a:gd name="T1" fmla="*/ 17 h 47"/>
                <a:gd name="T2" fmla="*/ 43 w 43"/>
                <a:gd name="T3" fmla="*/ 32 h 47"/>
                <a:gd name="T4" fmla="*/ 43 w 43"/>
                <a:gd name="T5" fmla="*/ 20 h 47"/>
                <a:gd name="T6" fmla="*/ 21 w 43"/>
                <a:gd name="T7" fmla="*/ 0 h 47"/>
                <a:gd name="T8" fmla="*/ 0 w 43"/>
                <a:gd name="T9" fmla="*/ 20 h 47"/>
                <a:gd name="T10" fmla="*/ 0 w 43"/>
                <a:gd name="T11" fmla="*/ 32 h 47"/>
                <a:gd name="T12" fmla="*/ 16 w 43"/>
                <a:gd name="T13" fmla="*/ 17 h 47"/>
                <a:gd name="T14" fmla="*/ 16 w 43"/>
                <a:gd name="T15" fmla="*/ 47 h 47"/>
                <a:gd name="T16" fmla="*/ 27 w 43"/>
                <a:gd name="T17" fmla="*/ 47 h 47"/>
                <a:gd name="T18" fmla="*/ 27 w 43"/>
                <a:gd name="T19"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7">
                  <a:moveTo>
                    <a:pt x="27" y="17"/>
                  </a:moveTo>
                  <a:lnTo>
                    <a:pt x="43" y="32"/>
                  </a:lnTo>
                  <a:lnTo>
                    <a:pt x="43" y="20"/>
                  </a:lnTo>
                  <a:lnTo>
                    <a:pt x="21" y="0"/>
                  </a:lnTo>
                  <a:lnTo>
                    <a:pt x="0" y="20"/>
                  </a:lnTo>
                  <a:lnTo>
                    <a:pt x="0" y="32"/>
                  </a:lnTo>
                  <a:lnTo>
                    <a:pt x="16" y="17"/>
                  </a:lnTo>
                  <a:lnTo>
                    <a:pt x="16" y="47"/>
                  </a:lnTo>
                  <a:lnTo>
                    <a:pt x="27" y="47"/>
                  </a:lnTo>
                  <a:lnTo>
                    <a:pt x="27" y="17"/>
                  </a:lnTo>
                  <a:close/>
                </a:path>
              </a:pathLst>
            </a:custGeom>
            <a:solidFill>
              <a:schemeClr val="bg1"/>
            </a:solidFill>
            <a:ln w="4763" cap="flat">
              <a:noFill/>
              <a:prstDash val="solid"/>
              <a:miter lim="800000"/>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spcBef>
                  <a:spcPts val="0"/>
                </a:spcBef>
                <a:spcAft>
                  <a:spcPts val="0"/>
                </a:spcAft>
                <a:buClrTx/>
                <a:buSzTx/>
                <a:buFontTx/>
                <a:buNone/>
                <a:tabLst/>
                <a:defRPr/>
              </a:pPr>
              <a:endParaRPr kumimoji="0" lang="en-US" sz="900" b="0" i="0" u="none" strike="noStrike" kern="1200" cap="none" normalizeH="0" baseline="0" noProof="0">
                <a:ln>
                  <a:noFill/>
                </a:ln>
                <a:solidFill>
                  <a:prstClr val="black"/>
                </a:solidFill>
                <a:effectLst/>
                <a:uLnTx/>
                <a:uFillTx/>
                <a:latin typeface="Calibri" panose="020F0502020204030204"/>
                <a:ea typeface="+mn-ea"/>
                <a:cs typeface="+mn-cs"/>
              </a:endParaRPr>
            </a:p>
          </p:txBody>
        </p:sp>
      </p:grpSp>
      <p:grpSp>
        <p:nvGrpSpPr>
          <p:cNvPr id="61" name="Group 60">
            <a:extLst>
              <a:ext uri="{FF2B5EF4-FFF2-40B4-BE49-F238E27FC236}">
                <a16:creationId xmlns:a16="http://schemas.microsoft.com/office/drawing/2014/main" id="{218906C7-9E19-48A6-9996-FF598789C106}"/>
              </a:ext>
            </a:extLst>
          </p:cNvPr>
          <p:cNvGrpSpPr/>
          <p:nvPr/>
        </p:nvGrpSpPr>
        <p:grpSpPr>
          <a:xfrm>
            <a:off x="834919" y="3545259"/>
            <a:ext cx="746020" cy="746020"/>
            <a:chOff x="5982026" y="1506033"/>
            <a:chExt cx="1160466" cy="1160466"/>
          </a:xfrm>
          <a:solidFill>
            <a:schemeClr val="bg1"/>
          </a:solidFill>
        </p:grpSpPr>
        <p:sp>
          <p:nvSpPr>
            <p:cNvPr id="58" name="Oval 69">
              <a:extLst>
                <a:ext uri="{FF2B5EF4-FFF2-40B4-BE49-F238E27FC236}">
                  <a16:creationId xmlns:a16="http://schemas.microsoft.com/office/drawing/2014/main" id="{FB716D09-2709-403A-8E77-C9F1A7A5374A}"/>
                </a:ext>
              </a:extLst>
            </p:cNvPr>
            <p:cNvSpPr/>
            <p:nvPr/>
          </p:nvSpPr>
          <p:spPr bwMode="auto">
            <a:xfrm>
              <a:off x="5982026" y="1506033"/>
              <a:ext cx="1160466" cy="1160466"/>
            </a:xfrm>
            <a:custGeom>
              <a:avLst/>
              <a:gdLst/>
              <a:ahLst/>
              <a:cxnLst/>
              <a:rect l="l" t="t" r="r" b="b"/>
              <a:pathLst>
                <a:path w="1476966" h="1476966">
                  <a:moveTo>
                    <a:pt x="738483" y="51986"/>
                  </a:moveTo>
                  <a:cubicBezTo>
                    <a:pt x="359341" y="51986"/>
                    <a:pt x="51985" y="359341"/>
                    <a:pt x="51985" y="738483"/>
                  </a:cubicBezTo>
                  <a:cubicBezTo>
                    <a:pt x="51985" y="1117625"/>
                    <a:pt x="359341" y="1424980"/>
                    <a:pt x="738483" y="1424980"/>
                  </a:cubicBezTo>
                  <a:cubicBezTo>
                    <a:pt x="1117625" y="1424980"/>
                    <a:pt x="1424981" y="1117625"/>
                    <a:pt x="1424981" y="738483"/>
                  </a:cubicBezTo>
                  <a:cubicBezTo>
                    <a:pt x="1424981" y="359341"/>
                    <a:pt x="1117625" y="51986"/>
                    <a:pt x="738483" y="51986"/>
                  </a:cubicBezTo>
                  <a:close/>
                  <a:moveTo>
                    <a:pt x="738483" y="0"/>
                  </a:moveTo>
                  <a:cubicBezTo>
                    <a:pt x="1146336" y="0"/>
                    <a:pt x="1476966" y="330630"/>
                    <a:pt x="1476966" y="738483"/>
                  </a:cubicBezTo>
                  <a:cubicBezTo>
                    <a:pt x="1476966" y="1146336"/>
                    <a:pt x="1146336" y="1476966"/>
                    <a:pt x="738483" y="1476966"/>
                  </a:cubicBezTo>
                  <a:cubicBezTo>
                    <a:pt x="330630" y="1476966"/>
                    <a:pt x="0" y="1146336"/>
                    <a:pt x="0" y="738483"/>
                  </a:cubicBezTo>
                  <a:cubicBezTo>
                    <a:pt x="0" y="330630"/>
                    <a:pt x="330630" y="0"/>
                    <a:pt x="73848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9" name="Round Same Side Corner Rectangle 24">
              <a:extLst>
                <a:ext uri="{FF2B5EF4-FFF2-40B4-BE49-F238E27FC236}">
                  <a16:creationId xmlns:a16="http://schemas.microsoft.com/office/drawing/2014/main" id="{AF17789B-E18F-4A47-88D2-ACCC8A9E1D29}"/>
                </a:ext>
              </a:extLst>
            </p:cNvPr>
            <p:cNvSpPr/>
            <p:nvPr/>
          </p:nvSpPr>
          <p:spPr bwMode="auto">
            <a:xfrm>
              <a:off x="6171850" y="1783688"/>
              <a:ext cx="780818" cy="82145"/>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solidFill>
                  <a:schemeClr val="accent2"/>
                </a:solidFill>
                <a:latin typeface="Segoe UI Light" pitchFamily="34" charset="0"/>
              </a:endParaRPr>
            </a:p>
          </p:txBody>
        </p:sp>
        <p:sp>
          <p:nvSpPr>
            <p:cNvPr id="60" name="Rounded Rectangle 47">
              <a:extLst>
                <a:ext uri="{FF2B5EF4-FFF2-40B4-BE49-F238E27FC236}">
                  <a16:creationId xmlns:a16="http://schemas.microsoft.com/office/drawing/2014/main" id="{E8898D56-E1B5-4214-BC5B-6FEB3EE76BFB}"/>
                </a:ext>
              </a:extLst>
            </p:cNvPr>
            <p:cNvSpPr/>
            <p:nvPr/>
          </p:nvSpPr>
          <p:spPr bwMode="auto">
            <a:xfrm>
              <a:off x="6171850" y="1855709"/>
              <a:ext cx="780818" cy="533136"/>
            </a:xfrm>
            <a:custGeom>
              <a:avLst/>
              <a:gdLst/>
              <a:ahLst/>
              <a:cxnLst/>
              <a:rect l="l" t="t" r="r" b="b"/>
              <a:pathLst>
                <a:path w="874190" h="596890">
                  <a:moveTo>
                    <a:pt x="517315" y="302103"/>
                  </a:moveTo>
                  <a:cubicBezTo>
                    <a:pt x="526057" y="305544"/>
                    <a:pt x="533486" y="312320"/>
                    <a:pt x="537531" y="321615"/>
                  </a:cubicBezTo>
                  <a:cubicBezTo>
                    <a:pt x="545620" y="340205"/>
                    <a:pt x="537107" y="361833"/>
                    <a:pt x="518517" y="369922"/>
                  </a:cubicBezTo>
                  <a:cubicBezTo>
                    <a:pt x="499927" y="378011"/>
                    <a:pt x="478299" y="369498"/>
                    <a:pt x="470210" y="350908"/>
                  </a:cubicBezTo>
                  <a:cubicBezTo>
                    <a:pt x="462121" y="332318"/>
                    <a:pt x="470634" y="310690"/>
                    <a:pt x="489224" y="302601"/>
                  </a:cubicBezTo>
                  <a:cubicBezTo>
                    <a:pt x="498519" y="298557"/>
                    <a:pt x="508573" y="298663"/>
                    <a:pt x="517315" y="302103"/>
                  </a:cubicBezTo>
                  <a:close/>
                  <a:moveTo>
                    <a:pt x="503242" y="277592"/>
                  </a:moveTo>
                  <a:cubicBezTo>
                    <a:pt x="495622" y="277670"/>
                    <a:pt x="487893" y="279244"/>
                    <a:pt x="480466" y="282475"/>
                  </a:cubicBezTo>
                  <a:cubicBezTo>
                    <a:pt x="450761" y="295401"/>
                    <a:pt x="437158" y="329960"/>
                    <a:pt x="450084" y="359666"/>
                  </a:cubicBezTo>
                  <a:cubicBezTo>
                    <a:pt x="463010" y="389371"/>
                    <a:pt x="497569" y="402974"/>
                    <a:pt x="527274" y="390048"/>
                  </a:cubicBezTo>
                  <a:cubicBezTo>
                    <a:pt x="556980" y="377122"/>
                    <a:pt x="570582" y="342563"/>
                    <a:pt x="557657" y="312858"/>
                  </a:cubicBezTo>
                  <a:cubicBezTo>
                    <a:pt x="547963" y="290579"/>
                    <a:pt x="526099" y="277357"/>
                    <a:pt x="503242" y="277592"/>
                  </a:cubicBezTo>
                  <a:close/>
                  <a:moveTo>
                    <a:pt x="503002" y="255200"/>
                  </a:moveTo>
                  <a:cubicBezTo>
                    <a:pt x="534583" y="254875"/>
                    <a:pt x="564791" y="273143"/>
                    <a:pt x="578185" y="303925"/>
                  </a:cubicBezTo>
                  <a:cubicBezTo>
                    <a:pt x="596044" y="344968"/>
                    <a:pt x="577250" y="392718"/>
                    <a:pt x="536207" y="410577"/>
                  </a:cubicBezTo>
                  <a:cubicBezTo>
                    <a:pt x="495164" y="428436"/>
                    <a:pt x="447414" y="409641"/>
                    <a:pt x="429555" y="368598"/>
                  </a:cubicBezTo>
                  <a:cubicBezTo>
                    <a:pt x="411696" y="327555"/>
                    <a:pt x="430491" y="279806"/>
                    <a:pt x="471534" y="261947"/>
                  </a:cubicBezTo>
                  <a:cubicBezTo>
                    <a:pt x="481795" y="257482"/>
                    <a:pt x="492475" y="255308"/>
                    <a:pt x="503002" y="255200"/>
                  </a:cubicBezTo>
                  <a:close/>
                  <a:moveTo>
                    <a:pt x="308659" y="209494"/>
                  </a:moveTo>
                  <a:cubicBezTo>
                    <a:pt x="314061" y="211620"/>
                    <a:pt x="318651" y="215806"/>
                    <a:pt x="321149" y="221549"/>
                  </a:cubicBezTo>
                  <a:cubicBezTo>
                    <a:pt x="326147" y="233035"/>
                    <a:pt x="320888" y="246398"/>
                    <a:pt x="309402" y="251396"/>
                  </a:cubicBezTo>
                  <a:cubicBezTo>
                    <a:pt x="297916" y="256394"/>
                    <a:pt x="284553" y="251134"/>
                    <a:pt x="279555" y="239648"/>
                  </a:cubicBezTo>
                  <a:cubicBezTo>
                    <a:pt x="274557" y="228162"/>
                    <a:pt x="279817" y="214800"/>
                    <a:pt x="291303" y="209802"/>
                  </a:cubicBezTo>
                  <a:cubicBezTo>
                    <a:pt x="297046" y="207303"/>
                    <a:pt x="303258" y="207368"/>
                    <a:pt x="308659" y="209494"/>
                  </a:cubicBezTo>
                  <a:close/>
                  <a:moveTo>
                    <a:pt x="313626" y="196875"/>
                  </a:moveTo>
                  <a:cubicBezTo>
                    <a:pt x="304995" y="193478"/>
                    <a:pt x="295069" y="193374"/>
                    <a:pt x="285892" y="197367"/>
                  </a:cubicBezTo>
                  <a:cubicBezTo>
                    <a:pt x="267538" y="205353"/>
                    <a:pt x="259134" y="226706"/>
                    <a:pt x="267120" y="245059"/>
                  </a:cubicBezTo>
                  <a:cubicBezTo>
                    <a:pt x="275106" y="263413"/>
                    <a:pt x="296459" y="271817"/>
                    <a:pt x="314812" y="263831"/>
                  </a:cubicBezTo>
                  <a:cubicBezTo>
                    <a:pt x="333166" y="255845"/>
                    <a:pt x="341571" y="234492"/>
                    <a:pt x="333584" y="216139"/>
                  </a:cubicBezTo>
                  <a:cubicBezTo>
                    <a:pt x="329591" y="206962"/>
                    <a:pt x="322257" y="200272"/>
                    <a:pt x="313626" y="196875"/>
                  </a:cubicBezTo>
                  <a:close/>
                  <a:moveTo>
                    <a:pt x="523183" y="194112"/>
                  </a:moveTo>
                  <a:cubicBezTo>
                    <a:pt x="509530" y="191969"/>
                    <a:pt x="495492" y="191931"/>
                    <a:pt x="481533" y="194277"/>
                  </a:cubicBezTo>
                  <a:cubicBezTo>
                    <a:pt x="487218" y="211735"/>
                    <a:pt x="478543" y="230818"/>
                    <a:pt x="461261" y="238337"/>
                  </a:cubicBezTo>
                  <a:cubicBezTo>
                    <a:pt x="444076" y="245815"/>
                    <a:pt x="424326" y="239272"/>
                    <a:pt x="415377" y="223388"/>
                  </a:cubicBezTo>
                  <a:cubicBezTo>
                    <a:pt x="404262" y="231938"/>
                    <a:pt x="394647" y="241970"/>
                    <a:pt x="386981" y="253278"/>
                  </a:cubicBezTo>
                  <a:cubicBezTo>
                    <a:pt x="403229" y="261475"/>
                    <a:pt x="410674" y="280861"/>
                    <a:pt x="404032" y="298358"/>
                  </a:cubicBezTo>
                  <a:cubicBezTo>
                    <a:pt x="397339" y="315988"/>
                    <a:pt x="378674" y="325562"/>
                    <a:pt x="360956" y="320699"/>
                  </a:cubicBezTo>
                  <a:cubicBezTo>
                    <a:pt x="359481" y="333170"/>
                    <a:pt x="359686" y="345921"/>
                    <a:pt x="361846" y="358602"/>
                  </a:cubicBezTo>
                  <a:cubicBezTo>
                    <a:pt x="379315" y="352895"/>
                    <a:pt x="398423" y="361570"/>
                    <a:pt x="405948" y="378865"/>
                  </a:cubicBezTo>
                  <a:cubicBezTo>
                    <a:pt x="413426" y="396050"/>
                    <a:pt x="406883" y="415800"/>
                    <a:pt x="390999" y="424749"/>
                  </a:cubicBezTo>
                  <a:cubicBezTo>
                    <a:pt x="398747" y="434821"/>
                    <a:pt x="407711" y="443661"/>
                    <a:pt x="417866" y="450779"/>
                  </a:cubicBezTo>
                  <a:cubicBezTo>
                    <a:pt x="426517" y="434829"/>
                    <a:pt x="446043" y="427955"/>
                    <a:pt x="463314" y="435045"/>
                  </a:cubicBezTo>
                  <a:cubicBezTo>
                    <a:pt x="480693" y="442180"/>
                    <a:pt x="489762" y="460978"/>
                    <a:pt x="484534" y="478501"/>
                  </a:cubicBezTo>
                  <a:cubicBezTo>
                    <a:pt x="498192" y="480593"/>
                    <a:pt x="512238" y="480607"/>
                    <a:pt x="526206" y="478247"/>
                  </a:cubicBezTo>
                  <a:cubicBezTo>
                    <a:pt x="520516" y="460787"/>
                    <a:pt x="529191" y="441698"/>
                    <a:pt x="546476" y="434177"/>
                  </a:cubicBezTo>
                  <a:cubicBezTo>
                    <a:pt x="563661" y="426700"/>
                    <a:pt x="583411" y="433242"/>
                    <a:pt x="592360" y="449127"/>
                  </a:cubicBezTo>
                  <a:cubicBezTo>
                    <a:pt x="603475" y="440576"/>
                    <a:pt x="613090" y="430544"/>
                    <a:pt x="620755" y="419236"/>
                  </a:cubicBezTo>
                  <a:cubicBezTo>
                    <a:pt x="604507" y="411039"/>
                    <a:pt x="597063" y="391653"/>
                    <a:pt x="603705" y="374157"/>
                  </a:cubicBezTo>
                  <a:cubicBezTo>
                    <a:pt x="610398" y="356527"/>
                    <a:pt x="629063" y="346954"/>
                    <a:pt x="646780" y="351816"/>
                  </a:cubicBezTo>
                  <a:cubicBezTo>
                    <a:pt x="648256" y="339345"/>
                    <a:pt x="648051" y="326594"/>
                    <a:pt x="645891" y="313913"/>
                  </a:cubicBezTo>
                  <a:cubicBezTo>
                    <a:pt x="628422" y="319620"/>
                    <a:pt x="609314" y="310945"/>
                    <a:pt x="601788" y="293649"/>
                  </a:cubicBezTo>
                  <a:cubicBezTo>
                    <a:pt x="594266" y="276362"/>
                    <a:pt x="600932" y="256479"/>
                    <a:pt x="617001" y="247582"/>
                  </a:cubicBezTo>
                  <a:cubicBezTo>
                    <a:pt x="609224" y="237524"/>
                    <a:pt x="600074" y="228851"/>
                    <a:pt x="589922" y="221659"/>
                  </a:cubicBezTo>
                  <a:cubicBezTo>
                    <a:pt x="581287" y="237662"/>
                    <a:pt x="561724" y="244572"/>
                    <a:pt x="544423" y="237470"/>
                  </a:cubicBezTo>
                  <a:cubicBezTo>
                    <a:pt x="527077" y="230348"/>
                    <a:pt x="518009" y="211607"/>
                    <a:pt x="523183" y="194112"/>
                  </a:cubicBezTo>
                  <a:close/>
                  <a:moveTo>
                    <a:pt x="299815" y="180515"/>
                  </a:moveTo>
                  <a:cubicBezTo>
                    <a:pt x="319328" y="180314"/>
                    <a:pt x="337993" y="191600"/>
                    <a:pt x="346268" y="210620"/>
                  </a:cubicBezTo>
                  <a:cubicBezTo>
                    <a:pt x="357302" y="235978"/>
                    <a:pt x="345690" y="265481"/>
                    <a:pt x="320332" y="276515"/>
                  </a:cubicBezTo>
                  <a:cubicBezTo>
                    <a:pt x="294973" y="287549"/>
                    <a:pt x="265470" y="275937"/>
                    <a:pt x="254436" y="250578"/>
                  </a:cubicBezTo>
                  <a:cubicBezTo>
                    <a:pt x="243402" y="225220"/>
                    <a:pt x="255014" y="195717"/>
                    <a:pt x="280373" y="184683"/>
                  </a:cubicBezTo>
                  <a:cubicBezTo>
                    <a:pt x="286713" y="181925"/>
                    <a:pt x="293311" y="180581"/>
                    <a:pt x="299815" y="180515"/>
                  </a:cubicBezTo>
                  <a:close/>
                  <a:moveTo>
                    <a:pt x="312285" y="142771"/>
                  </a:moveTo>
                  <a:cubicBezTo>
                    <a:pt x="303849" y="141447"/>
                    <a:pt x="295176" y="141424"/>
                    <a:pt x="286551" y="142873"/>
                  </a:cubicBezTo>
                  <a:cubicBezTo>
                    <a:pt x="290063" y="153660"/>
                    <a:pt x="284703" y="165450"/>
                    <a:pt x="274026" y="170096"/>
                  </a:cubicBezTo>
                  <a:cubicBezTo>
                    <a:pt x="263408" y="174716"/>
                    <a:pt x="251205" y="170674"/>
                    <a:pt x="245676" y="160859"/>
                  </a:cubicBezTo>
                  <a:cubicBezTo>
                    <a:pt x="238809" y="166142"/>
                    <a:pt x="232868" y="172340"/>
                    <a:pt x="228132" y="179327"/>
                  </a:cubicBezTo>
                  <a:cubicBezTo>
                    <a:pt x="238171" y="184392"/>
                    <a:pt x="242770" y="196370"/>
                    <a:pt x="238667" y="207180"/>
                  </a:cubicBezTo>
                  <a:cubicBezTo>
                    <a:pt x="234532" y="218073"/>
                    <a:pt x="222999" y="223988"/>
                    <a:pt x="212052" y="220983"/>
                  </a:cubicBezTo>
                  <a:cubicBezTo>
                    <a:pt x="211140" y="228689"/>
                    <a:pt x="211268" y="236567"/>
                    <a:pt x="212602" y="244402"/>
                  </a:cubicBezTo>
                  <a:cubicBezTo>
                    <a:pt x="223395" y="240876"/>
                    <a:pt x="235201" y="246236"/>
                    <a:pt x="239851" y="256922"/>
                  </a:cubicBezTo>
                  <a:cubicBezTo>
                    <a:pt x="244471" y="267540"/>
                    <a:pt x="240428" y="279742"/>
                    <a:pt x="230614" y="285271"/>
                  </a:cubicBezTo>
                  <a:cubicBezTo>
                    <a:pt x="235401" y="291494"/>
                    <a:pt x="240940" y="296956"/>
                    <a:pt x="247214" y="301354"/>
                  </a:cubicBezTo>
                  <a:cubicBezTo>
                    <a:pt x="252559" y="291499"/>
                    <a:pt x="264623" y="287252"/>
                    <a:pt x="275294" y="291633"/>
                  </a:cubicBezTo>
                  <a:cubicBezTo>
                    <a:pt x="286032" y="296041"/>
                    <a:pt x="291635" y="307656"/>
                    <a:pt x="288405" y="318482"/>
                  </a:cubicBezTo>
                  <a:cubicBezTo>
                    <a:pt x="296844" y="319775"/>
                    <a:pt x="305522" y="319783"/>
                    <a:pt x="314152" y="318325"/>
                  </a:cubicBezTo>
                  <a:cubicBezTo>
                    <a:pt x="310637" y="307537"/>
                    <a:pt x="315997" y="295744"/>
                    <a:pt x="326677" y="291097"/>
                  </a:cubicBezTo>
                  <a:cubicBezTo>
                    <a:pt x="337294" y="286476"/>
                    <a:pt x="349497" y="290519"/>
                    <a:pt x="355026" y="300333"/>
                  </a:cubicBezTo>
                  <a:cubicBezTo>
                    <a:pt x="361893" y="295050"/>
                    <a:pt x="367834" y="288852"/>
                    <a:pt x="372570" y="281865"/>
                  </a:cubicBezTo>
                  <a:cubicBezTo>
                    <a:pt x="362531" y="276801"/>
                    <a:pt x="357932" y="264823"/>
                    <a:pt x="362036" y="254013"/>
                  </a:cubicBezTo>
                  <a:cubicBezTo>
                    <a:pt x="366171" y="243120"/>
                    <a:pt x="377703" y="237205"/>
                    <a:pt x="388650" y="240209"/>
                  </a:cubicBezTo>
                  <a:cubicBezTo>
                    <a:pt x="389562" y="232504"/>
                    <a:pt x="389435" y="224626"/>
                    <a:pt x="388100" y="216791"/>
                  </a:cubicBezTo>
                  <a:cubicBezTo>
                    <a:pt x="377307" y="220317"/>
                    <a:pt x="365501" y="214957"/>
                    <a:pt x="360851" y="204271"/>
                  </a:cubicBezTo>
                  <a:cubicBezTo>
                    <a:pt x="356204" y="193590"/>
                    <a:pt x="360323" y="181305"/>
                    <a:pt x="370251" y="175808"/>
                  </a:cubicBezTo>
                  <a:cubicBezTo>
                    <a:pt x="365446" y="169593"/>
                    <a:pt x="359792" y="164235"/>
                    <a:pt x="353520" y="159791"/>
                  </a:cubicBezTo>
                  <a:cubicBezTo>
                    <a:pt x="348185" y="169679"/>
                    <a:pt x="336098" y="173948"/>
                    <a:pt x="325408" y="169560"/>
                  </a:cubicBezTo>
                  <a:cubicBezTo>
                    <a:pt x="314691" y="165160"/>
                    <a:pt x="309088" y="153580"/>
                    <a:pt x="312285" y="142771"/>
                  </a:cubicBezTo>
                  <a:close/>
                  <a:moveTo>
                    <a:pt x="65491" y="0"/>
                  </a:moveTo>
                  <a:lnTo>
                    <a:pt x="808699" y="0"/>
                  </a:lnTo>
                  <a:cubicBezTo>
                    <a:pt x="844869" y="0"/>
                    <a:pt x="874190" y="29321"/>
                    <a:pt x="874190" y="65491"/>
                  </a:cubicBezTo>
                  <a:lnTo>
                    <a:pt x="874190" y="531399"/>
                  </a:lnTo>
                  <a:cubicBezTo>
                    <a:pt x="874190" y="567569"/>
                    <a:pt x="844869" y="596890"/>
                    <a:pt x="808699" y="596890"/>
                  </a:cubicBezTo>
                  <a:lnTo>
                    <a:pt x="65491" y="596890"/>
                  </a:lnTo>
                  <a:cubicBezTo>
                    <a:pt x="29321" y="596890"/>
                    <a:pt x="0" y="567569"/>
                    <a:pt x="0" y="531399"/>
                  </a:cubicBezTo>
                  <a:lnTo>
                    <a:pt x="0" y="65491"/>
                  </a:lnTo>
                  <a:cubicBezTo>
                    <a:pt x="0" y="29321"/>
                    <a:pt x="29321" y="0"/>
                    <a:pt x="65491"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solidFill>
                  <a:schemeClr val="accent2"/>
                </a:solidFill>
                <a:latin typeface="Segoe UI Light" pitchFamily="34" charset="0"/>
              </a:endParaRPr>
            </a:p>
          </p:txBody>
        </p:sp>
      </p:grpSp>
    </p:spTree>
    <p:extLst>
      <p:ext uri="{BB962C8B-B14F-4D97-AF65-F5344CB8AC3E}">
        <p14:creationId xmlns:p14="http://schemas.microsoft.com/office/powerpoint/2010/main" val="28683041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SIS PaaS Service (In Preview)</a:t>
            </a:r>
          </a:p>
        </p:txBody>
      </p:sp>
      <p:sp>
        <p:nvSpPr>
          <p:cNvPr id="43" name="Rectangle 42">
            <a:extLst>
              <a:ext uri="{FF2B5EF4-FFF2-40B4-BE49-F238E27FC236}">
                <a16:creationId xmlns:a16="http://schemas.microsoft.com/office/drawing/2014/main" id="{64B5E8D9-8971-4769-B879-016019006AC4}"/>
              </a:ext>
            </a:extLst>
          </p:cNvPr>
          <p:cNvSpPr/>
          <p:nvPr/>
        </p:nvSpPr>
        <p:spPr bwMode="auto">
          <a:xfrm>
            <a:off x="6349885" y="1423176"/>
            <a:ext cx="5631443" cy="5236704"/>
          </a:xfrm>
          <a:prstGeom prst="rect">
            <a:avLst/>
          </a:prstGeom>
          <a:no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a:extLst>
              <a:ext uri="{FF2B5EF4-FFF2-40B4-BE49-F238E27FC236}">
                <a16:creationId xmlns:a16="http://schemas.microsoft.com/office/drawing/2014/main" id="{19FFF9CF-20DC-4D57-BCBC-FBA828C25BF0}"/>
              </a:ext>
            </a:extLst>
          </p:cNvPr>
          <p:cNvSpPr/>
          <p:nvPr/>
        </p:nvSpPr>
        <p:spPr>
          <a:xfrm>
            <a:off x="924435" y="1367444"/>
            <a:ext cx="5883812" cy="508024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ct val="0"/>
              </a:spcBef>
              <a:spcAft>
                <a:spcPts val="900"/>
              </a:spcAft>
            </a:pPr>
            <a:r>
              <a:rPr lang="en-GB" sz="2800" dirty="0">
                <a:solidFill>
                  <a:schemeClr val="accent1"/>
                </a:solidFill>
                <a:latin typeface="Segoe UI Semibold" panose="020B0702040204020203" pitchFamily="34" charset="0"/>
                <a:cs typeface="Segoe UI Semibold" panose="020B0702040204020203" pitchFamily="34" charset="0"/>
              </a:rPr>
              <a:t>Goal: </a:t>
            </a:r>
            <a:r>
              <a:rPr lang="en-GB" sz="2800" dirty="0">
                <a:solidFill>
                  <a:schemeClr val="accent1"/>
                </a:solidFill>
                <a:latin typeface="+mj-lt"/>
              </a:rPr>
              <a:t>Execute your SSIS packages, without changes</a:t>
            </a:r>
          </a:p>
          <a:p>
            <a:pPr defTabSz="444500">
              <a:spcBef>
                <a:spcPts val="600"/>
              </a:spcBef>
            </a:pPr>
            <a:r>
              <a:rPr lang="en-GB" sz="2800" dirty="0">
                <a:solidFill>
                  <a:schemeClr val="accent1"/>
                </a:solidFill>
                <a:latin typeface="+mj-lt"/>
              </a:rPr>
              <a:t>How?</a:t>
            </a:r>
          </a:p>
          <a:p>
            <a:pPr marL="427038" indent="-290513" defTabSz="444500">
              <a:spcBef>
                <a:spcPct val="0"/>
              </a:spcBef>
              <a:buFont typeface="Arial" panose="020B0604020202020204" pitchFamily="34" charset="0"/>
              <a:buChar char="•"/>
            </a:pPr>
            <a:r>
              <a:rPr lang="en-GB" sz="2600" dirty="0">
                <a:solidFill>
                  <a:schemeClr val="tx2"/>
                </a:solidFill>
                <a:latin typeface="+mj-lt"/>
              </a:rPr>
              <a:t>SSIS instance provisioned under </a:t>
            </a:r>
            <a:br>
              <a:rPr lang="en-GB" sz="2600" dirty="0">
                <a:solidFill>
                  <a:schemeClr val="tx2"/>
                </a:solidFill>
                <a:latin typeface="+mj-lt"/>
              </a:rPr>
            </a:br>
            <a:r>
              <a:rPr lang="en-GB" sz="2600" dirty="0">
                <a:solidFill>
                  <a:schemeClr val="tx2"/>
                </a:solidFill>
                <a:latin typeface="+mj-lt"/>
              </a:rPr>
              <a:t>Azure Data Factory</a:t>
            </a:r>
          </a:p>
          <a:p>
            <a:pPr marL="777875" indent="-342900" defTabSz="444500">
              <a:spcBef>
                <a:spcPct val="0"/>
              </a:spcBef>
              <a:spcAft>
                <a:spcPts val="900"/>
              </a:spcAft>
              <a:buFont typeface="Courier New" panose="02070309020205020404" pitchFamily="49" charset="0"/>
              <a:buChar char="–"/>
            </a:pPr>
            <a:r>
              <a:rPr lang="en-GB" sz="2400" dirty="0" err="1">
                <a:solidFill>
                  <a:schemeClr val="tx2"/>
                </a:solidFill>
                <a:latin typeface="+mj-lt"/>
              </a:rPr>
              <a:t>Catalog</a:t>
            </a:r>
            <a:r>
              <a:rPr lang="en-GB" sz="2400" dirty="0">
                <a:solidFill>
                  <a:schemeClr val="tx2"/>
                </a:solidFill>
                <a:latin typeface="+mj-lt"/>
              </a:rPr>
              <a:t> (</a:t>
            </a:r>
            <a:r>
              <a:rPr lang="en-GB" sz="2400" dirty="0" err="1">
                <a:solidFill>
                  <a:schemeClr val="tx2"/>
                </a:solidFill>
                <a:latin typeface="+mj-lt"/>
              </a:rPr>
              <a:t>SSISDB</a:t>
            </a:r>
            <a:r>
              <a:rPr lang="en-GB" sz="2400" dirty="0">
                <a:solidFill>
                  <a:schemeClr val="tx2"/>
                </a:solidFill>
                <a:latin typeface="+mj-lt"/>
              </a:rPr>
              <a:t>) can be stored </a:t>
            </a:r>
            <a:br>
              <a:rPr lang="en-GB" sz="2400" dirty="0">
                <a:solidFill>
                  <a:schemeClr val="tx2"/>
                </a:solidFill>
                <a:latin typeface="+mj-lt"/>
              </a:rPr>
            </a:br>
            <a:r>
              <a:rPr lang="en-GB" sz="2400" dirty="0">
                <a:solidFill>
                  <a:schemeClr val="tx2"/>
                </a:solidFill>
                <a:latin typeface="+mj-lt"/>
              </a:rPr>
              <a:t>on Managed Instance</a:t>
            </a:r>
          </a:p>
          <a:p>
            <a:pPr marL="427038" indent="-290513" defTabSz="444500">
              <a:spcBef>
                <a:spcPct val="0"/>
              </a:spcBef>
              <a:spcAft>
                <a:spcPts val="900"/>
              </a:spcAft>
              <a:buFont typeface="Arial" panose="020B0604020202020204" pitchFamily="34" charset="0"/>
              <a:buChar char="•"/>
            </a:pPr>
            <a:r>
              <a:rPr lang="en-GB" sz="2600" dirty="0">
                <a:solidFill>
                  <a:schemeClr val="tx2"/>
                </a:solidFill>
                <a:latin typeface="+mj-lt"/>
              </a:rPr>
              <a:t>Authoring/deployment </a:t>
            </a:r>
            <a:br>
              <a:rPr lang="en-GB" sz="2600" dirty="0">
                <a:solidFill>
                  <a:schemeClr val="tx2"/>
                </a:solidFill>
                <a:latin typeface="+mj-lt"/>
              </a:rPr>
            </a:br>
            <a:r>
              <a:rPr lang="en-GB" sz="2600" dirty="0">
                <a:solidFill>
                  <a:schemeClr val="tx2"/>
                </a:solidFill>
                <a:latin typeface="+mj-lt"/>
              </a:rPr>
              <a:t>by </a:t>
            </a:r>
            <a:r>
              <a:rPr lang="en-GB" sz="2600" dirty="0" err="1">
                <a:solidFill>
                  <a:schemeClr val="tx2"/>
                </a:solidFill>
                <a:latin typeface="+mj-lt"/>
              </a:rPr>
              <a:t>SSDT</a:t>
            </a:r>
            <a:endParaRPr lang="en-GB" sz="2600" dirty="0">
              <a:solidFill>
                <a:schemeClr val="tx2"/>
              </a:solidFill>
              <a:latin typeface="+mj-lt"/>
            </a:endParaRPr>
          </a:p>
          <a:p>
            <a:pPr marL="427038" indent="-290513" defTabSz="444500">
              <a:spcBef>
                <a:spcPct val="0"/>
              </a:spcBef>
              <a:spcAft>
                <a:spcPts val="900"/>
              </a:spcAft>
              <a:buFont typeface="Arial" panose="020B0604020202020204" pitchFamily="34" charset="0"/>
              <a:buChar char="•"/>
            </a:pPr>
            <a:r>
              <a:rPr lang="en-GB" sz="2600" dirty="0">
                <a:solidFill>
                  <a:schemeClr val="tx2"/>
                </a:solidFill>
                <a:latin typeface="+mj-lt"/>
              </a:rPr>
              <a:t>Execution/management </a:t>
            </a:r>
            <a:br>
              <a:rPr lang="en-GB" sz="2600" dirty="0">
                <a:solidFill>
                  <a:schemeClr val="tx2"/>
                </a:solidFill>
                <a:latin typeface="+mj-lt"/>
              </a:rPr>
            </a:br>
            <a:r>
              <a:rPr lang="en-GB" sz="2600" dirty="0">
                <a:solidFill>
                  <a:schemeClr val="tx2"/>
                </a:solidFill>
                <a:latin typeface="+mj-lt"/>
              </a:rPr>
              <a:t>by </a:t>
            </a:r>
            <a:r>
              <a:rPr lang="en-GB" sz="2600" dirty="0" err="1">
                <a:solidFill>
                  <a:schemeClr val="tx2"/>
                </a:solidFill>
                <a:latin typeface="+mj-lt"/>
              </a:rPr>
              <a:t>SSMS</a:t>
            </a:r>
            <a:r>
              <a:rPr lang="en-GB" sz="2600" dirty="0">
                <a:solidFill>
                  <a:schemeClr val="tx2"/>
                </a:solidFill>
                <a:latin typeface="+mj-lt"/>
              </a:rPr>
              <a:t> and SQL Agent</a:t>
            </a:r>
          </a:p>
          <a:p>
            <a:pPr lvl="0" defTabSz="444500">
              <a:spcBef>
                <a:spcPct val="0"/>
              </a:spcBef>
              <a:spcAft>
                <a:spcPts val="900"/>
              </a:spcAft>
            </a:pPr>
            <a:endParaRPr lang="en-GB" sz="2800" dirty="0">
              <a:solidFill>
                <a:schemeClr val="accent1"/>
              </a:solidFill>
              <a:latin typeface="+mj-lt"/>
            </a:endParaRPr>
          </a:p>
        </p:txBody>
      </p:sp>
      <p:sp>
        <p:nvSpPr>
          <p:cNvPr id="45" name="Graphic 8">
            <a:extLst>
              <a:ext uri="{FF2B5EF4-FFF2-40B4-BE49-F238E27FC236}">
                <a16:creationId xmlns:a16="http://schemas.microsoft.com/office/drawing/2014/main" id="{53A95968-5E3D-4E6A-A4E1-6D5B795BC8B4}"/>
              </a:ext>
            </a:extLst>
          </p:cNvPr>
          <p:cNvSpPr/>
          <p:nvPr/>
        </p:nvSpPr>
        <p:spPr>
          <a:xfrm rot="10800000">
            <a:off x="365138" y="1470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48" name="Graphic 8">
            <a:extLst>
              <a:ext uri="{FF2B5EF4-FFF2-40B4-BE49-F238E27FC236}">
                <a16:creationId xmlns:a16="http://schemas.microsoft.com/office/drawing/2014/main" id="{9A3B90B8-29E5-4031-9307-BEE20DB5B5F8}"/>
              </a:ext>
            </a:extLst>
          </p:cNvPr>
          <p:cNvSpPr/>
          <p:nvPr/>
        </p:nvSpPr>
        <p:spPr>
          <a:xfrm rot="10800000">
            <a:off x="365138" y="250712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46" name="TextBox 45"/>
          <p:cNvSpPr txBox="1"/>
          <p:nvPr/>
        </p:nvSpPr>
        <p:spPr>
          <a:xfrm>
            <a:off x="9626934" y="1588825"/>
            <a:ext cx="2146389" cy="387798"/>
          </a:xfrm>
          <a:prstGeom prst="rect">
            <a:avLst/>
          </a:prstGeom>
          <a:noFill/>
        </p:spPr>
        <p:txBody>
          <a:bodyPr wrap="square" lIns="0" tIns="0" rIns="0" bIns="0" rtlCol="0">
            <a:spAutoFit/>
          </a:bodyPr>
          <a:lstStyle/>
          <a:p>
            <a:pPr algn="ctr" defTabSz="932563">
              <a:lnSpc>
                <a:spcPct val="90000"/>
              </a:lnSpc>
              <a:spcAft>
                <a:spcPts val="600"/>
              </a:spcAft>
            </a:pPr>
            <a:r>
              <a:rPr lang="en-US" sz="1400" dirty="0">
                <a:solidFill>
                  <a:schemeClr val="tx2"/>
                </a:solidFill>
              </a:rPr>
              <a:t>Provisioned on-demand, tunable scale</a:t>
            </a:r>
          </a:p>
        </p:txBody>
      </p:sp>
      <p:sp>
        <p:nvSpPr>
          <p:cNvPr id="49" name="Freeform 44">
            <a:extLst>
              <a:ext uri="{FF2B5EF4-FFF2-40B4-BE49-F238E27FC236}">
                <a16:creationId xmlns:a16="http://schemas.microsoft.com/office/drawing/2014/main" id="{6B4C2559-98CD-4D54-98F0-448847478305}"/>
              </a:ext>
            </a:extLst>
          </p:cNvPr>
          <p:cNvSpPr/>
          <p:nvPr/>
        </p:nvSpPr>
        <p:spPr>
          <a:xfrm>
            <a:off x="9878640" y="2052901"/>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pic>
        <p:nvPicPr>
          <p:cNvPr id="52" name="Picture 51">
            <a:extLst>
              <a:ext uri="{FF2B5EF4-FFF2-40B4-BE49-F238E27FC236}">
                <a16:creationId xmlns:a16="http://schemas.microsoft.com/office/drawing/2014/main" id="{52D48940-ADB3-450D-8CA0-7E856C371B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52947" y="3858888"/>
            <a:ext cx="2036382" cy="1103587"/>
          </a:xfrm>
          <a:prstGeom prst="rect">
            <a:avLst/>
          </a:prstGeom>
        </p:spPr>
      </p:pic>
      <p:pic>
        <p:nvPicPr>
          <p:cNvPr id="53" name="Picture 52">
            <a:extLst>
              <a:ext uri="{FF2B5EF4-FFF2-40B4-BE49-F238E27FC236}">
                <a16:creationId xmlns:a16="http://schemas.microsoft.com/office/drawing/2014/main" id="{EB249CB0-D033-43F0-8483-EA5BD7DBD9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92968" y="3860734"/>
            <a:ext cx="1789601" cy="1103587"/>
          </a:xfrm>
          <a:prstGeom prst="rect">
            <a:avLst/>
          </a:prstGeom>
        </p:spPr>
      </p:pic>
      <p:sp>
        <p:nvSpPr>
          <p:cNvPr id="54" name="Rectangle 53">
            <a:extLst>
              <a:ext uri="{FF2B5EF4-FFF2-40B4-BE49-F238E27FC236}">
                <a16:creationId xmlns:a16="http://schemas.microsoft.com/office/drawing/2014/main" id="{FF338C2C-AF1B-4B51-A100-D0C701E81C98}"/>
              </a:ext>
            </a:extLst>
          </p:cNvPr>
          <p:cNvSpPr/>
          <p:nvPr/>
        </p:nvSpPr>
        <p:spPr>
          <a:xfrm>
            <a:off x="8570131" y="5643229"/>
            <a:ext cx="1170861" cy="851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r>
              <a:rPr lang="en-US" sz="1399" b="1" dirty="0">
                <a:solidFill>
                  <a:schemeClr val="bg1"/>
                </a:solidFill>
              </a:rPr>
              <a:t>SSIS Server</a:t>
            </a:r>
          </a:p>
        </p:txBody>
      </p:sp>
      <p:pic>
        <p:nvPicPr>
          <p:cNvPr id="55" name="Picture 54">
            <a:extLst>
              <a:ext uri="{FF2B5EF4-FFF2-40B4-BE49-F238E27FC236}">
                <a16:creationId xmlns:a16="http://schemas.microsoft.com/office/drawing/2014/main" id="{1C888BBA-04C5-4F0F-9EFE-9D23030C6A4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2947" y="2388367"/>
            <a:ext cx="2076234" cy="590198"/>
          </a:xfrm>
          <a:prstGeom prst="rect">
            <a:avLst/>
          </a:prstGeom>
        </p:spPr>
      </p:pic>
      <p:sp>
        <p:nvSpPr>
          <p:cNvPr id="59" name="TextBox 58">
            <a:extLst>
              <a:ext uri="{FF2B5EF4-FFF2-40B4-BE49-F238E27FC236}">
                <a16:creationId xmlns:a16="http://schemas.microsoft.com/office/drawing/2014/main" id="{69CDB6F0-AAF0-4EF2-8008-387F8E740359}"/>
              </a:ext>
            </a:extLst>
          </p:cNvPr>
          <p:cNvSpPr txBox="1"/>
          <p:nvPr/>
        </p:nvSpPr>
        <p:spPr>
          <a:xfrm>
            <a:off x="6652947" y="3213649"/>
            <a:ext cx="1147809" cy="184538"/>
          </a:xfrm>
          <a:prstGeom prst="rect">
            <a:avLst/>
          </a:prstGeom>
          <a:noFill/>
        </p:spPr>
        <p:txBody>
          <a:bodyPr wrap="square" lIns="0" tIns="0" rIns="0" bIns="0" rtlCol="0">
            <a:spAutoFit/>
          </a:bodyPr>
          <a:lstStyle/>
          <a:p>
            <a:pPr defTabSz="932563"/>
            <a:r>
              <a:rPr lang="en-US" sz="1199" b="1" dirty="0">
                <a:solidFill>
                  <a:schemeClr val="tx2"/>
                </a:solidFill>
              </a:rPr>
              <a:t>Cloud</a:t>
            </a:r>
          </a:p>
        </p:txBody>
      </p:sp>
      <p:sp>
        <p:nvSpPr>
          <p:cNvPr id="63" name="TextBox 62">
            <a:extLst>
              <a:ext uri="{FF2B5EF4-FFF2-40B4-BE49-F238E27FC236}">
                <a16:creationId xmlns:a16="http://schemas.microsoft.com/office/drawing/2014/main" id="{B1771B9A-B34C-41AC-93DC-2904DEF1B7F0}"/>
              </a:ext>
            </a:extLst>
          </p:cNvPr>
          <p:cNvSpPr txBox="1"/>
          <p:nvPr/>
        </p:nvSpPr>
        <p:spPr>
          <a:xfrm>
            <a:off x="6918795" y="1789818"/>
            <a:ext cx="1544538" cy="553613"/>
          </a:xfrm>
          <a:prstGeom prst="rect">
            <a:avLst/>
          </a:prstGeom>
          <a:noFill/>
        </p:spPr>
        <p:txBody>
          <a:bodyPr wrap="square" lIns="0" tIns="0" rIns="0" bIns="0" rtlCol="0">
            <a:spAutoFit/>
          </a:bodyPr>
          <a:lstStyle/>
          <a:p>
            <a:pPr algn="ctr" defTabSz="932563"/>
            <a:r>
              <a:rPr lang="en-US" sz="1199" b="1" dirty="0">
                <a:solidFill>
                  <a:schemeClr val="tx2"/>
                </a:solidFill>
              </a:rPr>
              <a:t>ADF (</a:t>
            </a:r>
            <a:r>
              <a:rPr lang="en-US" sz="1199" b="1" dirty="0">
                <a:solidFill>
                  <a:schemeClr val="accent1"/>
                </a:solidFill>
              </a:rPr>
              <a:t>ENTRY POINT, </a:t>
            </a:r>
            <a:r>
              <a:rPr lang="en-US" sz="1199" b="1" dirty="0">
                <a:solidFill>
                  <a:srgbClr val="FF0000"/>
                </a:solidFill>
              </a:rPr>
              <a:t>ORCHESTRATION, </a:t>
            </a:r>
            <a:r>
              <a:rPr lang="en-US" sz="1199" b="1" dirty="0">
                <a:solidFill>
                  <a:srgbClr val="00B050"/>
                </a:solidFill>
              </a:rPr>
              <a:t>DESIGN)</a:t>
            </a:r>
          </a:p>
        </p:txBody>
      </p:sp>
      <p:cxnSp>
        <p:nvCxnSpPr>
          <p:cNvPr id="64" name="Connector: Elbow 63">
            <a:extLst>
              <a:ext uri="{FF2B5EF4-FFF2-40B4-BE49-F238E27FC236}">
                <a16:creationId xmlns:a16="http://schemas.microsoft.com/office/drawing/2014/main" id="{1FBEAC12-C941-47A1-BCCB-4305E2F23821}"/>
              </a:ext>
            </a:extLst>
          </p:cNvPr>
          <p:cNvCxnSpPr>
            <a:stCxn id="52" idx="2"/>
            <a:endCxn id="54" idx="1"/>
          </p:cNvCxnSpPr>
          <p:nvPr/>
        </p:nvCxnSpPr>
        <p:spPr>
          <a:xfrm rot="16200000" flipH="1">
            <a:off x="7567507" y="5066105"/>
            <a:ext cx="1106255" cy="898993"/>
          </a:xfrm>
          <a:prstGeom prst="bentConnector2">
            <a:avLst/>
          </a:prstGeom>
          <a:ln w="6350">
            <a:solidFill>
              <a:schemeClr val="tx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AD1B26E5-B58F-4988-9624-3926EBD07F6A}"/>
              </a:ext>
            </a:extLst>
          </p:cNvPr>
          <p:cNvCxnSpPr>
            <a:cxnSpLocks/>
            <a:stCxn id="53" idx="2"/>
            <a:endCxn id="54" idx="3"/>
          </p:cNvCxnSpPr>
          <p:nvPr/>
        </p:nvCxnSpPr>
        <p:spPr>
          <a:xfrm rot="5400000">
            <a:off x="9712177" y="4993137"/>
            <a:ext cx="1104409" cy="1046777"/>
          </a:xfrm>
          <a:prstGeom prst="bentConnector2">
            <a:avLst/>
          </a:prstGeom>
          <a:ln w="6350">
            <a:solidFill>
              <a:schemeClr val="tx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D0EC1CD7-DFC5-41A4-897E-A6FF1E9163BA}"/>
              </a:ext>
            </a:extLst>
          </p:cNvPr>
          <p:cNvCxnSpPr>
            <a:cxnSpLocks/>
            <a:stCxn id="52" idx="0"/>
          </p:cNvCxnSpPr>
          <p:nvPr/>
        </p:nvCxnSpPr>
        <p:spPr>
          <a:xfrm rot="5400000" flipH="1" flipV="1">
            <a:off x="8662201" y="1920463"/>
            <a:ext cx="947362" cy="2929488"/>
          </a:xfrm>
          <a:prstGeom prst="bentConnector3">
            <a:avLst>
              <a:gd name="adj1" fmla="val 50000"/>
            </a:avLst>
          </a:prstGeom>
          <a:ln w="6350">
            <a:solidFill>
              <a:schemeClr val="tx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0613DF53-4372-49D0-A47C-795994E463A5}"/>
              </a:ext>
            </a:extLst>
          </p:cNvPr>
          <p:cNvCxnSpPr>
            <a:cxnSpLocks/>
            <a:stCxn id="53" idx="0"/>
          </p:cNvCxnSpPr>
          <p:nvPr/>
        </p:nvCxnSpPr>
        <p:spPr>
          <a:xfrm flipV="1">
            <a:off x="10787769" y="2918310"/>
            <a:ext cx="0" cy="942424"/>
          </a:xfrm>
          <a:prstGeom prst="straightConnector1">
            <a:avLst/>
          </a:prstGeom>
          <a:ln w="6350">
            <a:solidFill>
              <a:schemeClr val="tx2"/>
            </a:solidFill>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1F00E5DF-2083-48AE-A476-4851B27F2F82}"/>
              </a:ext>
            </a:extLst>
          </p:cNvPr>
          <p:cNvSpPr txBox="1"/>
          <p:nvPr/>
        </p:nvSpPr>
        <p:spPr>
          <a:xfrm>
            <a:off x="6792266" y="5052142"/>
            <a:ext cx="1757745" cy="184538"/>
          </a:xfrm>
          <a:prstGeom prst="rect">
            <a:avLst/>
          </a:prstGeom>
          <a:solidFill>
            <a:schemeClr val="bg1"/>
          </a:solidFill>
        </p:spPr>
        <p:txBody>
          <a:bodyPr wrap="square" lIns="0" tIns="0" rIns="0" bIns="0" rtlCol="0">
            <a:spAutoFit/>
          </a:bodyPr>
          <a:lstStyle/>
          <a:p>
            <a:pPr algn="ctr" defTabSz="932563"/>
            <a:r>
              <a:rPr lang="en-US" sz="1199" b="1" dirty="0">
                <a:solidFill>
                  <a:schemeClr val="tx2"/>
                </a:solidFill>
              </a:rPr>
              <a:t>SSDT (ENTRY POINT)</a:t>
            </a:r>
          </a:p>
        </p:txBody>
      </p:sp>
      <p:sp>
        <p:nvSpPr>
          <p:cNvPr id="77" name="TextBox 76">
            <a:extLst>
              <a:ext uri="{FF2B5EF4-FFF2-40B4-BE49-F238E27FC236}">
                <a16:creationId xmlns:a16="http://schemas.microsoft.com/office/drawing/2014/main" id="{26EDD0E2-1846-4662-8D49-A6E90958D8B9}"/>
              </a:ext>
            </a:extLst>
          </p:cNvPr>
          <p:cNvSpPr txBox="1"/>
          <p:nvPr/>
        </p:nvSpPr>
        <p:spPr>
          <a:xfrm>
            <a:off x="6652947" y="3600050"/>
            <a:ext cx="1147809" cy="184538"/>
          </a:xfrm>
          <a:prstGeom prst="rect">
            <a:avLst/>
          </a:prstGeom>
          <a:noFill/>
        </p:spPr>
        <p:txBody>
          <a:bodyPr wrap="square" lIns="0" tIns="0" rIns="0" bIns="0" rtlCol="0">
            <a:spAutoFit/>
          </a:bodyPr>
          <a:lstStyle/>
          <a:p>
            <a:pPr defTabSz="932563"/>
            <a:r>
              <a:rPr lang="en-US" sz="1199" b="1" dirty="0">
                <a:solidFill>
                  <a:schemeClr val="tx2"/>
                </a:solidFill>
              </a:rPr>
              <a:t>On-Premises</a:t>
            </a:r>
          </a:p>
        </p:txBody>
      </p:sp>
      <p:sp>
        <p:nvSpPr>
          <p:cNvPr id="58" name="TextBox 57">
            <a:extLst>
              <a:ext uri="{FF2B5EF4-FFF2-40B4-BE49-F238E27FC236}">
                <a16:creationId xmlns:a16="http://schemas.microsoft.com/office/drawing/2014/main" id="{58351000-1AEF-4029-ABF9-B336E9D5192D}"/>
              </a:ext>
            </a:extLst>
          </p:cNvPr>
          <p:cNvSpPr txBox="1"/>
          <p:nvPr/>
        </p:nvSpPr>
        <p:spPr>
          <a:xfrm>
            <a:off x="9930880" y="5052142"/>
            <a:ext cx="1713777" cy="184538"/>
          </a:xfrm>
          <a:prstGeom prst="rect">
            <a:avLst/>
          </a:prstGeom>
          <a:solidFill>
            <a:schemeClr val="bg1"/>
          </a:solidFill>
        </p:spPr>
        <p:txBody>
          <a:bodyPr wrap="square" lIns="0" tIns="0" rIns="0" bIns="0" rtlCol="0">
            <a:spAutoFit/>
          </a:bodyPr>
          <a:lstStyle>
            <a:defPPr>
              <a:defRPr lang="en-US"/>
            </a:defPPr>
            <a:lvl1pPr algn="ctr" defTabSz="932563">
              <a:defRPr sz="1199" b="1">
                <a:solidFill>
                  <a:schemeClr val="tx2"/>
                </a:solidFill>
              </a:defRPr>
            </a:lvl1pPr>
          </a:lstStyle>
          <a:p>
            <a:r>
              <a:rPr lang="en-US" dirty="0"/>
              <a:t>SSMS (ENTRY POINT)</a:t>
            </a:r>
          </a:p>
        </p:txBody>
      </p:sp>
      <p:sp>
        <p:nvSpPr>
          <p:cNvPr id="61" name="TextBox 60">
            <a:extLst>
              <a:ext uri="{FF2B5EF4-FFF2-40B4-BE49-F238E27FC236}">
                <a16:creationId xmlns:a16="http://schemas.microsoft.com/office/drawing/2014/main" id="{B901CCEE-266D-48CD-AA24-BB28B2EF563C}"/>
              </a:ext>
            </a:extLst>
          </p:cNvPr>
          <p:cNvSpPr txBox="1"/>
          <p:nvPr/>
        </p:nvSpPr>
        <p:spPr>
          <a:xfrm>
            <a:off x="7087939" y="5627383"/>
            <a:ext cx="1157946" cy="184538"/>
          </a:xfrm>
          <a:prstGeom prst="rect">
            <a:avLst/>
          </a:prstGeom>
          <a:solidFill>
            <a:schemeClr val="bg1"/>
          </a:solidFill>
        </p:spPr>
        <p:txBody>
          <a:bodyPr wrap="square" lIns="0" tIns="0" rIns="0" bIns="0" rtlCol="0">
            <a:spAutoFit/>
          </a:bodyPr>
          <a:lstStyle/>
          <a:p>
            <a:pPr defTabSz="932563"/>
            <a:r>
              <a:rPr lang="en-US" sz="1199" dirty="0">
                <a:solidFill>
                  <a:schemeClr val="tx2"/>
                </a:solidFill>
              </a:rPr>
              <a:t>Author/Deploy</a:t>
            </a:r>
            <a:endParaRPr lang="en-US" dirty="0">
              <a:solidFill>
                <a:schemeClr val="tx2"/>
              </a:solidFill>
            </a:endParaRPr>
          </a:p>
        </p:txBody>
      </p:sp>
      <p:sp>
        <p:nvSpPr>
          <p:cNvPr id="62" name="TextBox 61">
            <a:extLst>
              <a:ext uri="{FF2B5EF4-FFF2-40B4-BE49-F238E27FC236}">
                <a16:creationId xmlns:a16="http://schemas.microsoft.com/office/drawing/2014/main" id="{8D98558D-608D-4ACD-B23B-27007E888DAB}"/>
              </a:ext>
            </a:extLst>
          </p:cNvPr>
          <p:cNvSpPr txBox="1"/>
          <p:nvPr/>
        </p:nvSpPr>
        <p:spPr>
          <a:xfrm>
            <a:off x="10173771" y="5627383"/>
            <a:ext cx="1228080" cy="184538"/>
          </a:xfrm>
          <a:prstGeom prst="rect">
            <a:avLst/>
          </a:prstGeom>
          <a:solidFill>
            <a:schemeClr val="bg1"/>
          </a:solidFill>
        </p:spPr>
        <p:txBody>
          <a:bodyPr wrap="square" lIns="0" tIns="0" rIns="0" bIns="0" rtlCol="0">
            <a:spAutoFit/>
          </a:bodyPr>
          <a:lstStyle>
            <a:defPPr>
              <a:defRPr lang="en-US"/>
            </a:defPPr>
            <a:lvl1pPr defTabSz="932563">
              <a:defRPr sz="1199">
                <a:solidFill>
                  <a:schemeClr val="tx2"/>
                </a:solidFill>
              </a:defRPr>
            </a:lvl1pPr>
          </a:lstStyle>
          <a:p>
            <a:r>
              <a:rPr lang="en-US" dirty="0"/>
              <a:t>Execute/Manage</a:t>
            </a:r>
          </a:p>
        </p:txBody>
      </p:sp>
      <p:sp>
        <p:nvSpPr>
          <p:cNvPr id="88" name="Rectangle 87">
            <a:extLst>
              <a:ext uri="{FF2B5EF4-FFF2-40B4-BE49-F238E27FC236}">
                <a16:creationId xmlns:a16="http://schemas.microsoft.com/office/drawing/2014/main" id="{6DEE224E-3686-4994-8442-5339DB90BC35}"/>
              </a:ext>
            </a:extLst>
          </p:cNvPr>
          <p:cNvSpPr/>
          <p:nvPr/>
        </p:nvSpPr>
        <p:spPr>
          <a:xfrm>
            <a:off x="9928341" y="2515541"/>
            <a:ext cx="1344570" cy="353943"/>
          </a:xfrm>
          <a:prstGeom prst="rect">
            <a:avLst/>
          </a:prstGeom>
        </p:spPr>
        <p:txBody>
          <a:bodyPr wrap="square" lIns="0" tIns="0" rIns="0" bIns="0">
            <a:spAutoFit/>
          </a:bodyPr>
          <a:lstStyle/>
          <a:p>
            <a:pPr lvl="0" algn="ctr" defTabSz="932563"/>
            <a:r>
              <a:rPr lang="en-US" sz="1200" b="1" dirty="0">
                <a:solidFill>
                  <a:schemeClr val="bg1"/>
                </a:solidFill>
              </a:rPr>
              <a:t>SSIS PaaS </a:t>
            </a:r>
            <a:r>
              <a:rPr lang="en-US" sz="1100" dirty="0">
                <a:solidFill>
                  <a:schemeClr val="bg1"/>
                </a:solidFill>
              </a:rPr>
              <a:t>on </a:t>
            </a:r>
            <a:r>
              <a:rPr lang="en-US" sz="1100" dirty="0" err="1">
                <a:solidFill>
                  <a:schemeClr val="bg1"/>
                </a:solidFill>
              </a:rPr>
              <a:t>ADF</a:t>
            </a:r>
            <a:r>
              <a:rPr lang="en-US" sz="1100" dirty="0">
                <a:solidFill>
                  <a:schemeClr val="bg1"/>
                </a:solidFill>
              </a:rPr>
              <a:t> compute resource</a:t>
            </a:r>
          </a:p>
        </p:txBody>
      </p:sp>
      <p:cxnSp>
        <p:nvCxnSpPr>
          <p:cNvPr id="90" name="Straight Connector 89">
            <a:extLst>
              <a:ext uri="{FF2B5EF4-FFF2-40B4-BE49-F238E27FC236}">
                <a16:creationId xmlns:a16="http://schemas.microsoft.com/office/drawing/2014/main" id="{7BB2F654-C6BE-4992-8DE6-BFA5192D9786}"/>
              </a:ext>
            </a:extLst>
          </p:cNvPr>
          <p:cNvCxnSpPr>
            <a:cxnSpLocks/>
          </p:cNvCxnSpPr>
          <p:nvPr/>
        </p:nvCxnSpPr>
        <p:spPr>
          <a:xfrm>
            <a:off x="6557889" y="3497651"/>
            <a:ext cx="5192284"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5CE7F07D-B011-4C95-B517-04CB2297EC33}"/>
              </a:ext>
            </a:extLst>
          </p:cNvPr>
          <p:cNvSpPr txBox="1"/>
          <p:nvPr/>
        </p:nvSpPr>
        <p:spPr>
          <a:xfrm>
            <a:off x="9018089" y="2013798"/>
            <a:ext cx="618759" cy="184538"/>
          </a:xfrm>
          <a:prstGeom prst="rect">
            <a:avLst/>
          </a:prstGeom>
          <a:noFill/>
        </p:spPr>
        <p:txBody>
          <a:bodyPr wrap="none" lIns="0" tIns="0" rIns="0" bIns="0" rtlCol="0">
            <a:spAutoFit/>
          </a:bodyPr>
          <a:lstStyle/>
          <a:p>
            <a:pPr defTabSz="932563"/>
            <a:r>
              <a:rPr lang="en-US" sz="1199" dirty="0">
                <a:solidFill>
                  <a:schemeClr val="accent1"/>
                </a:solidFill>
              </a:rPr>
              <a:t>Provision</a:t>
            </a:r>
            <a:endParaRPr lang="en-US" dirty="0">
              <a:solidFill>
                <a:schemeClr val="accent1"/>
              </a:solidFill>
            </a:endParaRPr>
          </a:p>
        </p:txBody>
      </p:sp>
      <p:sp>
        <p:nvSpPr>
          <p:cNvPr id="93" name="TextBox 92">
            <a:extLst>
              <a:ext uri="{FF2B5EF4-FFF2-40B4-BE49-F238E27FC236}">
                <a16:creationId xmlns:a16="http://schemas.microsoft.com/office/drawing/2014/main" id="{7316AAF0-C190-4CD3-B2E1-63025521F3AE}"/>
              </a:ext>
            </a:extLst>
          </p:cNvPr>
          <p:cNvSpPr txBox="1"/>
          <p:nvPr/>
        </p:nvSpPr>
        <p:spPr>
          <a:xfrm>
            <a:off x="9042935" y="2772619"/>
            <a:ext cx="527388" cy="369075"/>
          </a:xfrm>
          <a:prstGeom prst="rect">
            <a:avLst/>
          </a:prstGeom>
          <a:noFill/>
          <a:ln>
            <a:noFill/>
          </a:ln>
        </p:spPr>
        <p:txBody>
          <a:bodyPr wrap="none" lIns="0" tIns="0" rIns="0" bIns="0" rtlCol="0">
            <a:spAutoFit/>
          </a:bodyPr>
          <a:lstStyle/>
          <a:p>
            <a:pPr defTabSz="932563"/>
            <a:r>
              <a:rPr lang="en-US" sz="1199" dirty="0">
                <a:solidFill>
                  <a:srgbClr val="00B050"/>
                </a:solidFill>
              </a:rPr>
              <a:t>Author/</a:t>
            </a:r>
          </a:p>
          <a:p>
            <a:pPr defTabSz="932563"/>
            <a:r>
              <a:rPr lang="en-US" sz="1199" dirty="0">
                <a:solidFill>
                  <a:srgbClr val="00B050"/>
                </a:solidFill>
              </a:rPr>
              <a:t>Deploy</a:t>
            </a:r>
          </a:p>
        </p:txBody>
      </p:sp>
      <p:sp>
        <p:nvSpPr>
          <p:cNvPr id="94" name="TextBox 93">
            <a:extLst>
              <a:ext uri="{FF2B5EF4-FFF2-40B4-BE49-F238E27FC236}">
                <a16:creationId xmlns:a16="http://schemas.microsoft.com/office/drawing/2014/main" id="{B9C05954-D7EF-4C03-AC8B-F4A2BBDBE0DD}"/>
              </a:ext>
            </a:extLst>
          </p:cNvPr>
          <p:cNvSpPr txBox="1"/>
          <p:nvPr/>
        </p:nvSpPr>
        <p:spPr>
          <a:xfrm>
            <a:off x="9038126" y="2333998"/>
            <a:ext cx="578685" cy="369075"/>
          </a:xfrm>
          <a:prstGeom prst="rect">
            <a:avLst/>
          </a:prstGeom>
          <a:noFill/>
        </p:spPr>
        <p:txBody>
          <a:bodyPr wrap="none" lIns="0" tIns="0" rIns="0" bIns="0" rtlCol="0">
            <a:spAutoFit/>
          </a:bodyPr>
          <a:lstStyle/>
          <a:p>
            <a:pPr defTabSz="932563"/>
            <a:r>
              <a:rPr lang="en-US" sz="1199" dirty="0">
                <a:solidFill>
                  <a:srgbClr val="FF0000"/>
                </a:solidFill>
              </a:rPr>
              <a:t>Execute/</a:t>
            </a:r>
            <a:br>
              <a:rPr lang="en-US" sz="1199" dirty="0">
                <a:solidFill>
                  <a:srgbClr val="FF0000"/>
                </a:solidFill>
              </a:rPr>
            </a:br>
            <a:r>
              <a:rPr lang="en-US" sz="1199" dirty="0">
                <a:solidFill>
                  <a:srgbClr val="FF0000"/>
                </a:solidFill>
              </a:rPr>
              <a:t>Manage</a:t>
            </a:r>
            <a:endParaRPr lang="en-US" dirty="0">
              <a:solidFill>
                <a:srgbClr val="FF0000"/>
              </a:solidFill>
            </a:endParaRPr>
          </a:p>
        </p:txBody>
      </p:sp>
      <p:cxnSp>
        <p:nvCxnSpPr>
          <p:cNvPr id="95" name="Straight Arrow Connector 94">
            <a:extLst>
              <a:ext uri="{FF2B5EF4-FFF2-40B4-BE49-F238E27FC236}">
                <a16:creationId xmlns:a16="http://schemas.microsoft.com/office/drawing/2014/main" id="{DB3C823C-DE2C-46CC-959A-F0EE3BCC7B79}"/>
              </a:ext>
            </a:extLst>
          </p:cNvPr>
          <p:cNvCxnSpPr/>
          <p:nvPr/>
        </p:nvCxnSpPr>
        <p:spPr>
          <a:xfrm flipV="1">
            <a:off x="9018088" y="2967905"/>
            <a:ext cx="713827" cy="0"/>
          </a:xfrm>
          <a:prstGeom prst="straightConnector1">
            <a:avLst/>
          </a:prstGeom>
          <a:ln w="15875">
            <a:solidFill>
              <a:srgbClr val="00B050"/>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049D8E59-6690-4F83-8A9F-1C5073590F9C}"/>
              </a:ext>
            </a:extLst>
          </p:cNvPr>
          <p:cNvCxnSpPr/>
          <p:nvPr/>
        </p:nvCxnSpPr>
        <p:spPr>
          <a:xfrm>
            <a:off x="9018088" y="2530568"/>
            <a:ext cx="685103" cy="0"/>
          </a:xfrm>
          <a:prstGeom prst="straightConnector1">
            <a:avLst/>
          </a:prstGeom>
          <a:ln w="15875">
            <a:solidFill>
              <a:srgbClr val="FF0000"/>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2658C568-87DB-43EF-81EB-C5F9F330F907}"/>
              </a:ext>
            </a:extLst>
          </p:cNvPr>
          <p:cNvCxnSpPr/>
          <p:nvPr/>
        </p:nvCxnSpPr>
        <p:spPr>
          <a:xfrm>
            <a:off x="9018088" y="2245658"/>
            <a:ext cx="685621" cy="0"/>
          </a:xfrm>
          <a:prstGeom prst="straightConnector1">
            <a:avLst/>
          </a:prstGeom>
          <a:ln w="15875">
            <a:solidFill>
              <a:srgbClr val="0070C0"/>
            </a:solidFill>
            <a:tailEnd type="arrow" w="med" len="sm"/>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A4A5C686-12ED-436B-90AD-88720B0A72CF}"/>
              </a:ext>
            </a:extLst>
          </p:cNvPr>
          <p:cNvSpPr txBox="1"/>
          <p:nvPr/>
        </p:nvSpPr>
        <p:spPr>
          <a:xfrm>
            <a:off x="10134835" y="3526626"/>
            <a:ext cx="1305867" cy="184538"/>
          </a:xfrm>
          <a:prstGeom prst="rect">
            <a:avLst/>
          </a:prstGeom>
          <a:solidFill>
            <a:schemeClr val="bg1"/>
          </a:solidFill>
        </p:spPr>
        <p:txBody>
          <a:bodyPr wrap="square" lIns="0" tIns="0" rIns="0" bIns="0" rtlCol="0">
            <a:spAutoFit/>
          </a:bodyPr>
          <a:lstStyle>
            <a:defPPr>
              <a:defRPr lang="en-US"/>
            </a:defPPr>
            <a:lvl1pPr defTabSz="932563">
              <a:defRPr sz="1199">
                <a:solidFill>
                  <a:schemeClr val="tx2"/>
                </a:solidFill>
              </a:defRPr>
            </a:lvl1pPr>
          </a:lstStyle>
          <a:p>
            <a:pPr algn="ctr"/>
            <a:r>
              <a:rPr lang="en-US" dirty="0"/>
              <a:t>Execute/Manage</a:t>
            </a:r>
          </a:p>
        </p:txBody>
      </p:sp>
      <p:sp>
        <p:nvSpPr>
          <p:cNvPr id="60" name="TextBox 59">
            <a:extLst>
              <a:ext uri="{FF2B5EF4-FFF2-40B4-BE49-F238E27FC236}">
                <a16:creationId xmlns:a16="http://schemas.microsoft.com/office/drawing/2014/main" id="{0EB4C135-0FBE-4E67-893B-56ED7DBD1177}"/>
              </a:ext>
            </a:extLst>
          </p:cNvPr>
          <p:cNvSpPr txBox="1"/>
          <p:nvPr/>
        </p:nvSpPr>
        <p:spPr>
          <a:xfrm>
            <a:off x="7892047" y="3283948"/>
            <a:ext cx="1157946" cy="184538"/>
          </a:xfrm>
          <a:prstGeom prst="rect">
            <a:avLst/>
          </a:prstGeom>
          <a:solidFill>
            <a:schemeClr val="bg1"/>
          </a:solidFill>
        </p:spPr>
        <p:txBody>
          <a:bodyPr wrap="square" lIns="0" tIns="0" rIns="0" bIns="0" rtlCol="0">
            <a:spAutoFit/>
          </a:bodyPr>
          <a:lstStyle>
            <a:defPPr>
              <a:defRPr lang="en-US"/>
            </a:defPPr>
            <a:lvl1pPr defTabSz="932563">
              <a:defRPr sz="1199">
                <a:solidFill>
                  <a:schemeClr val="tx2"/>
                </a:solidFill>
              </a:defRPr>
            </a:lvl1pPr>
          </a:lstStyle>
          <a:p>
            <a:pPr algn="ctr"/>
            <a:r>
              <a:rPr lang="en-US" dirty="0"/>
              <a:t>Author/Deploy</a:t>
            </a:r>
          </a:p>
        </p:txBody>
      </p:sp>
    </p:spTree>
    <p:extLst>
      <p:ext uri="{BB962C8B-B14F-4D97-AF65-F5344CB8AC3E}">
        <p14:creationId xmlns:p14="http://schemas.microsoft.com/office/powerpoint/2010/main" val="239217021"/>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7A76843-2827-463D-B1F4-97044EC6D55A}"/>
              </a:ext>
            </a:extLst>
          </p:cNvPr>
          <p:cNvSpPr>
            <a:spLocks noGrp="1"/>
          </p:cNvSpPr>
          <p:nvPr>
            <p:ph type="title"/>
          </p:nvPr>
        </p:nvSpPr>
        <p:spPr/>
        <p:txBody>
          <a:bodyPr/>
          <a:lstStyle/>
          <a:p>
            <a:r>
              <a:rPr lang="en-US" dirty="0"/>
              <a:t>Demo: Migrate Easily to Managed Instance</a:t>
            </a:r>
            <a:endParaRPr lang="en-IN" dirty="0"/>
          </a:p>
        </p:txBody>
      </p:sp>
      <p:pic>
        <p:nvPicPr>
          <p:cNvPr id="6" name="Picture 5">
            <a:extLst>
              <a:ext uri="{FF2B5EF4-FFF2-40B4-BE49-F238E27FC236}">
                <a16:creationId xmlns:a16="http://schemas.microsoft.com/office/drawing/2014/main" id="{8850575C-5192-4995-A3E2-6A16321E3660}"/>
              </a:ext>
            </a:extLst>
          </p:cNvPr>
          <p:cNvPicPr>
            <a:picLocks noChangeAspect="1"/>
          </p:cNvPicPr>
          <p:nvPr/>
        </p:nvPicPr>
        <p:blipFill rotWithShape="1">
          <a:blip r:embed="rId2"/>
          <a:srcRect t="1742" r="2055"/>
          <a:stretch/>
        </p:blipFill>
        <p:spPr>
          <a:xfrm>
            <a:off x="465138" y="1244371"/>
            <a:ext cx="11506200" cy="5586642"/>
          </a:xfrm>
          <a:prstGeom prst="rect">
            <a:avLst/>
          </a:prstGeom>
        </p:spPr>
      </p:pic>
    </p:spTree>
    <p:extLst>
      <p:ext uri="{BB962C8B-B14F-4D97-AF65-F5344CB8AC3E}">
        <p14:creationId xmlns:p14="http://schemas.microsoft.com/office/powerpoint/2010/main" val="54492207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6E87F-94D8-434E-9FFD-014BEECA54CF}"/>
              </a:ext>
            </a:extLst>
          </p:cNvPr>
          <p:cNvSpPr>
            <a:spLocks noGrp="1"/>
          </p:cNvSpPr>
          <p:nvPr>
            <p:ph type="title"/>
          </p:nvPr>
        </p:nvSpPr>
        <p:spPr/>
        <p:txBody>
          <a:bodyPr/>
          <a:lstStyle/>
          <a:p>
            <a:r>
              <a:rPr lang="en-US" dirty="0"/>
              <a:t>DATA CDN for your Edge </a:t>
            </a:r>
            <a:br>
              <a:rPr lang="en-US" dirty="0"/>
            </a:br>
            <a:r>
              <a:rPr lang="en-US" sz="3200" dirty="0"/>
              <a:t>Geo-Replication to edges of your deployments</a:t>
            </a:r>
            <a:endParaRPr lang="en-US" sz="2400" dirty="0"/>
          </a:p>
        </p:txBody>
      </p:sp>
      <p:sp>
        <p:nvSpPr>
          <p:cNvPr id="8" name="Rectangle 7">
            <a:extLst>
              <a:ext uri="{FF2B5EF4-FFF2-40B4-BE49-F238E27FC236}">
                <a16:creationId xmlns:a16="http://schemas.microsoft.com/office/drawing/2014/main" id="{BFDEB31A-A895-40A2-A72F-14F24E047887}"/>
              </a:ext>
            </a:extLst>
          </p:cNvPr>
          <p:cNvSpPr/>
          <p:nvPr/>
        </p:nvSpPr>
        <p:spPr bwMode="auto">
          <a:xfrm>
            <a:off x="5347504" y="1570102"/>
            <a:ext cx="6620803" cy="4970998"/>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defRPr/>
            </a:pPr>
            <a:endParaRPr lang="en-US" sz="1600" dirty="0">
              <a:solidFill>
                <a:schemeClr val="tx2"/>
              </a:solidFill>
              <a:ea typeface="Segoe UI" pitchFamily="34" charset="0"/>
              <a:cs typeface="Segoe UI" pitchFamily="34" charset="0"/>
            </a:endParaRPr>
          </a:p>
        </p:txBody>
      </p:sp>
      <p:grpSp>
        <p:nvGrpSpPr>
          <p:cNvPr id="120" name="Group 119">
            <a:extLst>
              <a:ext uri="{FF2B5EF4-FFF2-40B4-BE49-F238E27FC236}">
                <a16:creationId xmlns:a16="http://schemas.microsoft.com/office/drawing/2014/main" id="{A56DDD10-58C4-44F9-B457-BA0E4A22531A}"/>
              </a:ext>
            </a:extLst>
          </p:cNvPr>
          <p:cNvGrpSpPr/>
          <p:nvPr/>
        </p:nvGrpSpPr>
        <p:grpSpPr>
          <a:xfrm>
            <a:off x="5464302" y="2178168"/>
            <a:ext cx="6479807" cy="3385480"/>
            <a:chOff x="5453692" y="1969826"/>
            <a:chExt cx="6132566" cy="3204058"/>
          </a:xfrm>
        </p:grpSpPr>
        <p:pic>
          <p:nvPicPr>
            <p:cNvPr id="10" name="Picture 9">
              <a:extLst>
                <a:ext uri="{FF2B5EF4-FFF2-40B4-BE49-F238E27FC236}">
                  <a16:creationId xmlns:a16="http://schemas.microsoft.com/office/drawing/2014/main" id="{56416C29-7A70-46FA-8089-84838EB3D442}"/>
                </a:ext>
              </a:extLst>
            </p:cNvPr>
            <p:cNvPicPr>
              <a:picLocks noChangeAspect="1"/>
            </p:cNvPicPr>
            <p:nvPr/>
          </p:nvPicPr>
          <p:blipFill rotWithShape="1">
            <a:blip r:embed="rId2">
              <a:duotone>
                <a:srgbClr val="D2D2D2">
                  <a:shade val="45000"/>
                  <a:satMod val="135000"/>
                </a:srgbClr>
                <a:prstClr val="white"/>
              </a:duotone>
              <a:extLst>
                <a:ext uri="{28A0092B-C50C-407E-A947-70E740481C1C}">
                  <a14:useLocalDpi xmlns:a14="http://schemas.microsoft.com/office/drawing/2010/main" val="0"/>
                </a:ext>
              </a:extLst>
            </a:blip>
            <a:srcRect r="4304"/>
            <a:stretch/>
          </p:blipFill>
          <p:spPr>
            <a:xfrm>
              <a:off x="5453692" y="1969826"/>
              <a:ext cx="6132566" cy="3204058"/>
            </a:xfrm>
            <a:prstGeom prst="rect">
              <a:avLst/>
            </a:prstGeom>
          </p:spPr>
        </p:pic>
        <p:grpSp>
          <p:nvGrpSpPr>
            <p:cNvPr id="11" name="Group 10">
              <a:extLst>
                <a:ext uri="{FF2B5EF4-FFF2-40B4-BE49-F238E27FC236}">
                  <a16:creationId xmlns:a16="http://schemas.microsoft.com/office/drawing/2014/main" id="{A18D559D-2259-4A65-B69E-402F8D379A16}"/>
                </a:ext>
              </a:extLst>
            </p:cNvPr>
            <p:cNvGrpSpPr/>
            <p:nvPr/>
          </p:nvGrpSpPr>
          <p:grpSpPr>
            <a:xfrm>
              <a:off x="6158773" y="3188785"/>
              <a:ext cx="238359" cy="253840"/>
              <a:chOff x="5298510" y="3607496"/>
              <a:chExt cx="288099" cy="288099"/>
            </a:xfrm>
          </p:grpSpPr>
          <p:sp>
            <p:nvSpPr>
              <p:cNvPr id="118" name="Oval 117">
                <a:extLst>
                  <a:ext uri="{FF2B5EF4-FFF2-40B4-BE49-F238E27FC236}">
                    <a16:creationId xmlns:a16="http://schemas.microsoft.com/office/drawing/2014/main" id="{263080F0-0FC2-471F-AF56-1E3C74192816}"/>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9" name="Oval 118">
                <a:extLst>
                  <a:ext uri="{FF2B5EF4-FFF2-40B4-BE49-F238E27FC236}">
                    <a16:creationId xmlns:a16="http://schemas.microsoft.com/office/drawing/2014/main" id="{2A879603-BFD9-4B10-9271-AEAB621DD4E6}"/>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2" name="Group 11">
              <a:extLst>
                <a:ext uri="{FF2B5EF4-FFF2-40B4-BE49-F238E27FC236}">
                  <a16:creationId xmlns:a16="http://schemas.microsoft.com/office/drawing/2014/main" id="{9A52AA7D-52A7-429A-B6B9-5C67D6C870A5}"/>
                </a:ext>
              </a:extLst>
            </p:cNvPr>
            <p:cNvGrpSpPr/>
            <p:nvPr/>
          </p:nvGrpSpPr>
          <p:grpSpPr>
            <a:xfrm>
              <a:off x="6508525" y="3375947"/>
              <a:ext cx="238359" cy="253840"/>
              <a:chOff x="5298510" y="3607496"/>
              <a:chExt cx="288099" cy="288099"/>
            </a:xfrm>
          </p:grpSpPr>
          <p:sp>
            <p:nvSpPr>
              <p:cNvPr id="116" name="Oval 115">
                <a:extLst>
                  <a:ext uri="{FF2B5EF4-FFF2-40B4-BE49-F238E27FC236}">
                    <a16:creationId xmlns:a16="http://schemas.microsoft.com/office/drawing/2014/main" id="{2B354A3E-2F87-4043-9738-CC89D9C1A30F}"/>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7" name="Oval 116">
                <a:extLst>
                  <a:ext uri="{FF2B5EF4-FFF2-40B4-BE49-F238E27FC236}">
                    <a16:creationId xmlns:a16="http://schemas.microsoft.com/office/drawing/2014/main" id="{89800E8A-1356-4599-8862-C5ED4655F4F5}"/>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3" name="Group 12">
              <a:extLst>
                <a:ext uri="{FF2B5EF4-FFF2-40B4-BE49-F238E27FC236}">
                  <a16:creationId xmlns:a16="http://schemas.microsoft.com/office/drawing/2014/main" id="{5CEB4346-6E15-4DDD-88CA-9102AE193CC4}"/>
                </a:ext>
              </a:extLst>
            </p:cNvPr>
            <p:cNvGrpSpPr/>
            <p:nvPr/>
          </p:nvGrpSpPr>
          <p:grpSpPr>
            <a:xfrm>
              <a:off x="6827729" y="2934945"/>
              <a:ext cx="238359" cy="253840"/>
              <a:chOff x="5298510" y="3607496"/>
              <a:chExt cx="288099" cy="288099"/>
            </a:xfrm>
          </p:grpSpPr>
          <p:sp>
            <p:nvSpPr>
              <p:cNvPr id="114" name="Oval 113">
                <a:extLst>
                  <a:ext uri="{FF2B5EF4-FFF2-40B4-BE49-F238E27FC236}">
                    <a16:creationId xmlns:a16="http://schemas.microsoft.com/office/drawing/2014/main" id="{A9DDFA3D-C47D-427D-81EB-8E8D783418B7}"/>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5" name="Oval 114">
                <a:extLst>
                  <a:ext uri="{FF2B5EF4-FFF2-40B4-BE49-F238E27FC236}">
                    <a16:creationId xmlns:a16="http://schemas.microsoft.com/office/drawing/2014/main" id="{68515448-C658-4D50-8536-A482A8D14419}"/>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9BEDC48B-FEB0-4280-8858-39874DFCD078}"/>
                </a:ext>
              </a:extLst>
            </p:cNvPr>
            <p:cNvGrpSpPr/>
            <p:nvPr/>
          </p:nvGrpSpPr>
          <p:grpSpPr>
            <a:xfrm>
              <a:off x="6977857" y="3173777"/>
              <a:ext cx="238359" cy="253840"/>
              <a:chOff x="5298510" y="3607496"/>
              <a:chExt cx="288099" cy="288099"/>
            </a:xfrm>
          </p:grpSpPr>
          <p:sp>
            <p:nvSpPr>
              <p:cNvPr id="112" name="Oval 111">
                <a:extLst>
                  <a:ext uri="{FF2B5EF4-FFF2-40B4-BE49-F238E27FC236}">
                    <a16:creationId xmlns:a16="http://schemas.microsoft.com/office/drawing/2014/main" id="{D52A9FEA-B95C-4B4D-8A91-B9531EAB17EC}"/>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Oval 112">
                <a:extLst>
                  <a:ext uri="{FF2B5EF4-FFF2-40B4-BE49-F238E27FC236}">
                    <a16:creationId xmlns:a16="http://schemas.microsoft.com/office/drawing/2014/main" id="{956246D6-EFB8-4C84-8EA4-E525F57BFC34}"/>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747766EB-CF24-4D41-B170-EDD7F69EB888}"/>
                </a:ext>
              </a:extLst>
            </p:cNvPr>
            <p:cNvGrpSpPr/>
            <p:nvPr/>
          </p:nvGrpSpPr>
          <p:grpSpPr>
            <a:xfrm>
              <a:off x="8200322" y="2419253"/>
              <a:ext cx="967551" cy="1030391"/>
              <a:chOff x="5321459" y="3630988"/>
              <a:chExt cx="236552" cy="236552"/>
            </a:xfrm>
          </p:grpSpPr>
          <p:sp>
            <p:nvSpPr>
              <p:cNvPr id="110" name="Oval 109">
                <a:extLst>
                  <a:ext uri="{FF2B5EF4-FFF2-40B4-BE49-F238E27FC236}">
                    <a16:creationId xmlns:a16="http://schemas.microsoft.com/office/drawing/2014/main" id="{891EB124-28CF-4798-B416-18268DE5EA57}"/>
                  </a:ext>
                </a:extLst>
              </p:cNvPr>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1" name="Oval 110">
                <a:extLst>
                  <a:ext uri="{FF2B5EF4-FFF2-40B4-BE49-F238E27FC236}">
                    <a16:creationId xmlns:a16="http://schemas.microsoft.com/office/drawing/2014/main" id="{31F700B6-74E4-4898-9286-B9B22D9A9A5B}"/>
                  </a:ext>
                </a:extLst>
              </p:cNvPr>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6" name="Group 15">
              <a:extLst>
                <a:ext uri="{FF2B5EF4-FFF2-40B4-BE49-F238E27FC236}">
                  <a16:creationId xmlns:a16="http://schemas.microsoft.com/office/drawing/2014/main" id="{CFB0B8ED-C599-4D71-910A-0604AF7DF9D3}"/>
                </a:ext>
              </a:extLst>
            </p:cNvPr>
            <p:cNvGrpSpPr/>
            <p:nvPr/>
          </p:nvGrpSpPr>
          <p:grpSpPr>
            <a:xfrm>
              <a:off x="8535538" y="2852170"/>
              <a:ext cx="238359" cy="253840"/>
              <a:chOff x="5298510" y="3607496"/>
              <a:chExt cx="288099" cy="288099"/>
            </a:xfrm>
          </p:grpSpPr>
          <p:sp>
            <p:nvSpPr>
              <p:cNvPr id="108" name="Oval 107">
                <a:extLst>
                  <a:ext uri="{FF2B5EF4-FFF2-40B4-BE49-F238E27FC236}">
                    <a16:creationId xmlns:a16="http://schemas.microsoft.com/office/drawing/2014/main" id="{AD1E9571-BB80-4A0B-8CE2-92A83453B2C5}"/>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9" name="Oval 108">
                <a:extLst>
                  <a:ext uri="{FF2B5EF4-FFF2-40B4-BE49-F238E27FC236}">
                    <a16:creationId xmlns:a16="http://schemas.microsoft.com/office/drawing/2014/main" id="{1A22B60B-0CD7-4247-ABFB-0C10957C70EB}"/>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477F4305-E55D-42F5-9943-002D65935221}"/>
                </a:ext>
              </a:extLst>
            </p:cNvPr>
            <p:cNvGrpSpPr/>
            <p:nvPr/>
          </p:nvGrpSpPr>
          <p:grpSpPr>
            <a:xfrm>
              <a:off x="10672134" y="4619854"/>
              <a:ext cx="238359" cy="253840"/>
              <a:chOff x="5298510" y="3607496"/>
              <a:chExt cx="288099" cy="288099"/>
            </a:xfrm>
          </p:grpSpPr>
          <p:sp>
            <p:nvSpPr>
              <p:cNvPr id="106" name="Oval 105">
                <a:extLst>
                  <a:ext uri="{FF2B5EF4-FFF2-40B4-BE49-F238E27FC236}">
                    <a16:creationId xmlns:a16="http://schemas.microsoft.com/office/drawing/2014/main" id="{74DCD38D-FDA2-421B-BFB6-7A82E8A642DE}"/>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7" name="Oval 106">
                <a:extLst>
                  <a:ext uri="{FF2B5EF4-FFF2-40B4-BE49-F238E27FC236}">
                    <a16:creationId xmlns:a16="http://schemas.microsoft.com/office/drawing/2014/main" id="{49148BD1-A44C-4E2E-9F0C-70579810039A}"/>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69A999C1-C981-4D59-861F-CB849FD6E6E4}"/>
                </a:ext>
              </a:extLst>
            </p:cNvPr>
            <p:cNvGrpSpPr/>
            <p:nvPr/>
          </p:nvGrpSpPr>
          <p:grpSpPr>
            <a:xfrm>
              <a:off x="10568582" y="4279936"/>
              <a:ext cx="238359" cy="253840"/>
              <a:chOff x="5298510" y="3607496"/>
              <a:chExt cx="288099" cy="288099"/>
            </a:xfrm>
          </p:grpSpPr>
          <p:sp>
            <p:nvSpPr>
              <p:cNvPr id="104" name="Oval 103">
                <a:extLst>
                  <a:ext uri="{FF2B5EF4-FFF2-40B4-BE49-F238E27FC236}">
                    <a16:creationId xmlns:a16="http://schemas.microsoft.com/office/drawing/2014/main" id="{BBF3BEAB-FE8C-432F-B83D-9125E945F0E2}"/>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Oval 104">
                <a:extLst>
                  <a:ext uri="{FF2B5EF4-FFF2-40B4-BE49-F238E27FC236}">
                    <a16:creationId xmlns:a16="http://schemas.microsoft.com/office/drawing/2014/main" id="{CB08A3CF-56E5-400F-BF7B-7A40C39A9F0A}"/>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5450893F-1933-4CD3-8714-5E359E0581B9}"/>
                </a:ext>
              </a:extLst>
            </p:cNvPr>
            <p:cNvGrpSpPr/>
            <p:nvPr/>
          </p:nvGrpSpPr>
          <p:grpSpPr>
            <a:xfrm>
              <a:off x="10074632" y="4026096"/>
              <a:ext cx="238359" cy="253840"/>
              <a:chOff x="5298510" y="3607496"/>
              <a:chExt cx="288099" cy="288099"/>
            </a:xfrm>
          </p:grpSpPr>
          <p:sp>
            <p:nvSpPr>
              <p:cNvPr id="102" name="Oval 101">
                <a:extLst>
                  <a:ext uri="{FF2B5EF4-FFF2-40B4-BE49-F238E27FC236}">
                    <a16:creationId xmlns:a16="http://schemas.microsoft.com/office/drawing/2014/main" id="{63D0CF92-E5A5-4C9F-B181-D2AF5F708367}"/>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3" name="Oval 102">
                <a:extLst>
                  <a:ext uri="{FF2B5EF4-FFF2-40B4-BE49-F238E27FC236}">
                    <a16:creationId xmlns:a16="http://schemas.microsoft.com/office/drawing/2014/main" id="{7B41EE24-0926-4409-A4A3-021AD15CDE6D}"/>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2EEF7F37-3159-4024-A96F-BF60CAB7E093}"/>
                </a:ext>
              </a:extLst>
            </p:cNvPr>
            <p:cNvGrpSpPr/>
            <p:nvPr/>
          </p:nvGrpSpPr>
          <p:grpSpPr>
            <a:xfrm>
              <a:off x="10463533" y="3375482"/>
              <a:ext cx="238359" cy="253840"/>
              <a:chOff x="5298510" y="3607496"/>
              <a:chExt cx="288099" cy="288099"/>
            </a:xfrm>
          </p:grpSpPr>
          <p:sp>
            <p:nvSpPr>
              <p:cNvPr id="100" name="Oval 99">
                <a:extLst>
                  <a:ext uri="{FF2B5EF4-FFF2-40B4-BE49-F238E27FC236}">
                    <a16:creationId xmlns:a16="http://schemas.microsoft.com/office/drawing/2014/main" id="{1C79B097-1E3B-4DEC-AAB0-7CFFC11599DC}"/>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Oval 100">
                <a:extLst>
                  <a:ext uri="{FF2B5EF4-FFF2-40B4-BE49-F238E27FC236}">
                    <a16:creationId xmlns:a16="http://schemas.microsoft.com/office/drawing/2014/main" id="{64F5A329-E259-4087-8EB5-50E1E26AF93A}"/>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E28B0064-06A3-41FE-98B0-7BDFF985DFA5}"/>
                </a:ext>
              </a:extLst>
            </p:cNvPr>
            <p:cNvGrpSpPr/>
            <p:nvPr/>
          </p:nvGrpSpPr>
          <p:grpSpPr>
            <a:xfrm>
              <a:off x="10090030" y="2999396"/>
              <a:ext cx="238359" cy="253840"/>
              <a:chOff x="5298510" y="3607496"/>
              <a:chExt cx="288099" cy="288099"/>
            </a:xfrm>
          </p:grpSpPr>
          <p:sp>
            <p:nvSpPr>
              <p:cNvPr id="98" name="Oval 97">
                <a:extLst>
                  <a:ext uri="{FF2B5EF4-FFF2-40B4-BE49-F238E27FC236}">
                    <a16:creationId xmlns:a16="http://schemas.microsoft.com/office/drawing/2014/main" id="{43E322DD-549A-42C8-A226-6E25C1D40757}"/>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Oval 98">
                <a:extLst>
                  <a:ext uri="{FF2B5EF4-FFF2-40B4-BE49-F238E27FC236}">
                    <a16:creationId xmlns:a16="http://schemas.microsoft.com/office/drawing/2014/main" id="{DF23073B-C817-4765-96A9-0A4CC61501B6}"/>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5E60C3CB-B926-4E7C-80CB-FC2D85B3AA79}"/>
                </a:ext>
              </a:extLst>
            </p:cNvPr>
            <p:cNvGrpSpPr/>
            <p:nvPr/>
          </p:nvGrpSpPr>
          <p:grpSpPr>
            <a:xfrm>
              <a:off x="10910493" y="2850721"/>
              <a:ext cx="238359" cy="253840"/>
              <a:chOff x="5298510" y="3607496"/>
              <a:chExt cx="288099" cy="288099"/>
            </a:xfrm>
          </p:grpSpPr>
          <p:sp>
            <p:nvSpPr>
              <p:cNvPr id="96" name="Oval 95">
                <a:extLst>
                  <a:ext uri="{FF2B5EF4-FFF2-40B4-BE49-F238E27FC236}">
                    <a16:creationId xmlns:a16="http://schemas.microsoft.com/office/drawing/2014/main" id="{32CEE555-65A2-45D7-A278-97C7F26F5CF5}"/>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7" name="Oval 96">
                <a:extLst>
                  <a:ext uri="{FF2B5EF4-FFF2-40B4-BE49-F238E27FC236}">
                    <a16:creationId xmlns:a16="http://schemas.microsoft.com/office/drawing/2014/main" id="{E5B621B9-7B56-45BD-AD62-8753F92F4F39}"/>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38EDA43F-AFCC-4224-BD22-35F6C3C5ACE3}"/>
                </a:ext>
              </a:extLst>
            </p:cNvPr>
            <p:cNvGrpSpPr/>
            <p:nvPr/>
          </p:nvGrpSpPr>
          <p:grpSpPr>
            <a:xfrm>
              <a:off x="10521648" y="2874702"/>
              <a:ext cx="238359" cy="253840"/>
              <a:chOff x="5298510" y="3607496"/>
              <a:chExt cx="288099" cy="288099"/>
            </a:xfrm>
          </p:grpSpPr>
          <p:sp>
            <p:nvSpPr>
              <p:cNvPr id="94" name="Oval 93">
                <a:extLst>
                  <a:ext uri="{FF2B5EF4-FFF2-40B4-BE49-F238E27FC236}">
                    <a16:creationId xmlns:a16="http://schemas.microsoft.com/office/drawing/2014/main" id="{D336726D-92F3-4BD3-9895-04B4EF894E4F}"/>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Oval 94">
                <a:extLst>
                  <a:ext uri="{FF2B5EF4-FFF2-40B4-BE49-F238E27FC236}">
                    <a16:creationId xmlns:a16="http://schemas.microsoft.com/office/drawing/2014/main" id="{1B700BA8-8FEE-47B9-98D1-8A02748A914C}"/>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4" name="Group 23">
              <a:extLst>
                <a:ext uri="{FF2B5EF4-FFF2-40B4-BE49-F238E27FC236}">
                  <a16:creationId xmlns:a16="http://schemas.microsoft.com/office/drawing/2014/main" id="{33364635-49BB-44A1-B600-F4872783F354}"/>
                </a:ext>
              </a:extLst>
            </p:cNvPr>
            <p:cNvGrpSpPr/>
            <p:nvPr/>
          </p:nvGrpSpPr>
          <p:grpSpPr>
            <a:xfrm>
              <a:off x="10250246" y="2732145"/>
              <a:ext cx="238359" cy="253840"/>
              <a:chOff x="5298510" y="3607496"/>
              <a:chExt cx="288099" cy="288099"/>
            </a:xfrm>
          </p:grpSpPr>
          <p:sp>
            <p:nvSpPr>
              <p:cNvPr id="92" name="Oval 91">
                <a:extLst>
                  <a:ext uri="{FF2B5EF4-FFF2-40B4-BE49-F238E27FC236}">
                    <a16:creationId xmlns:a16="http://schemas.microsoft.com/office/drawing/2014/main" id="{C83FF8EB-4CBC-41FE-BEB7-8B9DB6F7B54A}"/>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3" name="Oval 92">
                <a:extLst>
                  <a:ext uri="{FF2B5EF4-FFF2-40B4-BE49-F238E27FC236}">
                    <a16:creationId xmlns:a16="http://schemas.microsoft.com/office/drawing/2014/main" id="{6D378698-3C0D-4F1D-905F-6F663F66AA88}"/>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5" name="Group 24">
              <a:extLst>
                <a:ext uri="{FF2B5EF4-FFF2-40B4-BE49-F238E27FC236}">
                  <a16:creationId xmlns:a16="http://schemas.microsoft.com/office/drawing/2014/main" id="{7BD3775E-900C-4D39-A79D-4938E60752C6}"/>
                </a:ext>
              </a:extLst>
            </p:cNvPr>
            <p:cNvGrpSpPr/>
            <p:nvPr/>
          </p:nvGrpSpPr>
          <p:grpSpPr>
            <a:xfrm>
              <a:off x="7341440" y="4184648"/>
              <a:ext cx="238359" cy="253840"/>
              <a:chOff x="5298510" y="3607496"/>
              <a:chExt cx="288099" cy="288099"/>
            </a:xfrm>
          </p:grpSpPr>
          <p:sp>
            <p:nvSpPr>
              <p:cNvPr id="90" name="Oval 89">
                <a:extLst>
                  <a:ext uri="{FF2B5EF4-FFF2-40B4-BE49-F238E27FC236}">
                    <a16:creationId xmlns:a16="http://schemas.microsoft.com/office/drawing/2014/main" id="{C83E7C0E-DF4D-4BF8-ABDB-D45C5DD58E9E}"/>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Oval 90">
                <a:extLst>
                  <a:ext uri="{FF2B5EF4-FFF2-40B4-BE49-F238E27FC236}">
                    <a16:creationId xmlns:a16="http://schemas.microsoft.com/office/drawing/2014/main" id="{4ECB3F37-CB50-4674-9EB0-F99ACAEF1C79}"/>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6" name="Group 332">
              <a:extLst>
                <a:ext uri="{FF2B5EF4-FFF2-40B4-BE49-F238E27FC236}">
                  <a16:creationId xmlns:a16="http://schemas.microsoft.com/office/drawing/2014/main" id="{51A9E1DA-8B6D-41F3-909B-C6C2203179A0}"/>
                </a:ext>
              </a:extLst>
            </p:cNvPr>
            <p:cNvGrpSpPr/>
            <p:nvPr/>
          </p:nvGrpSpPr>
          <p:grpSpPr>
            <a:xfrm>
              <a:off x="11094765" y="2635456"/>
              <a:ext cx="247186" cy="402426"/>
              <a:chOff x="11312677" y="4385379"/>
              <a:chExt cx="420734" cy="643192"/>
            </a:xfrm>
          </p:grpSpPr>
          <p:sp>
            <p:nvSpPr>
              <p:cNvPr id="79" name="Rectangle 48">
                <a:extLst>
                  <a:ext uri="{FF2B5EF4-FFF2-40B4-BE49-F238E27FC236}">
                    <a16:creationId xmlns:a16="http://schemas.microsoft.com/office/drawing/2014/main" id="{AB3055FE-7021-4417-953E-236A6AD61594}"/>
                  </a:ext>
                </a:extLst>
              </p:cNvPr>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80" name="Freeform 49">
                <a:extLst>
                  <a:ext uri="{FF2B5EF4-FFF2-40B4-BE49-F238E27FC236}">
                    <a16:creationId xmlns:a16="http://schemas.microsoft.com/office/drawing/2014/main" id="{03C371B1-C8E9-45FB-9668-EF6726BA98C0}"/>
                  </a:ext>
                </a:extLst>
              </p:cNvPr>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81" name="Freeform 50">
                <a:extLst>
                  <a:ext uri="{FF2B5EF4-FFF2-40B4-BE49-F238E27FC236}">
                    <a16:creationId xmlns:a16="http://schemas.microsoft.com/office/drawing/2014/main" id="{14CE938D-C7EB-45B1-B042-8609D28BFC2D}"/>
                  </a:ext>
                </a:extLst>
              </p:cNvPr>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82" name="Freeform 51">
                <a:extLst>
                  <a:ext uri="{FF2B5EF4-FFF2-40B4-BE49-F238E27FC236}">
                    <a16:creationId xmlns:a16="http://schemas.microsoft.com/office/drawing/2014/main" id="{21D1E30D-D334-456E-B35A-84D3CA1DBB52}"/>
                  </a:ext>
                </a:extLst>
              </p:cNvPr>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83" name="Freeform 52">
                <a:extLst>
                  <a:ext uri="{FF2B5EF4-FFF2-40B4-BE49-F238E27FC236}">
                    <a16:creationId xmlns:a16="http://schemas.microsoft.com/office/drawing/2014/main" id="{731996AC-B571-4C4D-9F39-7AB9285E24A8}"/>
                  </a:ext>
                </a:extLst>
              </p:cNvPr>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84" name="Freeform 53">
                <a:extLst>
                  <a:ext uri="{FF2B5EF4-FFF2-40B4-BE49-F238E27FC236}">
                    <a16:creationId xmlns:a16="http://schemas.microsoft.com/office/drawing/2014/main" id="{625D4448-446A-4928-948C-0B01AC214745}"/>
                  </a:ext>
                </a:extLst>
              </p:cNvPr>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85" name="Oval 54">
                <a:extLst>
                  <a:ext uri="{FF2B5EF4-FFF2-40B4-BE49-F238E27FC236}">
                    <a16:creationId xmlns:a16="http://schemas.microsoft.com/office/drawing/2014/main" id="{D1C27091-BC02-4DA4-B580-338C6675817E}"/>
                  </a:ext>
                </a:extLst>
              </p:cNvPr>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86" name="Oval 55">
                <a:extLst>
                  <a:ext uri="{FF2B5EF4-FFF2-40B4-BE49-F238E27FC236}">
                    <a16:creationId xmlns:a16="http://schemas.microsoft.com/office/drawing/2014/main" id="{1601F86B-7392-4CF3-A71E-5BA7943D48B6}"/>
                  </a:ext>
                </a:extLst>
              </p:cNvPr>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87" name="Oval 56">
                <a:extLst>
                  <a:ext uri="{FF2B5EF4-FFF2-40B4-BE49-F238E27FC236}">
                    <a16:creationId xmlns:a16="http://schemas.microsoft.com/office/drawing/2014/main" id="{B9881858-0F46-4159-A13D-E49C7F84A855}"/>
                  </a:ext>
                </a:extLst>
              </p:cNvPr>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88" name="Oval 57">
                <a:extLst>
                  <a:ext uri="{FF2B5EF4-FFF2-40B4-BE49-F238E27FC236}">
                    <a16:creationId xmlns:a16="http://schemas.microsoft.com/office/drawing/2014/main" id="{A5C510A5-B9C2-4207-98DF-070B8C620990}"/>
                  </a:ext>
                </a:extLst>
              </p:cNvPr>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89" name="Oval 58">
                <a:extLst>
                  <a:ext uri="{FF2B5EF4-FFF2-40B4-BE49-F238E27FC236}">
                    <a16:creationId xmlns:a16="http://schemas.microsoft.com/office/drawing/2014/main" id="{78AF0718-06AE-4DB4-85A6-43B573FD8BCE}"/>
                  </a:ext>
                </a:extLst>
              </p:cNvPr>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grpSp>
        <p:grpSp>
          <p:nvGrpSpPr>
            <p:cNvPr id="27" name="Group 332">
              <a:extLst>
                <a:ext uri="{FF2B5EF4-FFF2-40B4-BE49-F238E27FC236}">
                  <a16:creationId xmlns:a16="http://schemas.microsoft.com/office/drawing/2014/main" id="{A78EA131-6633-4032-AA7C-D622EF912DA8}"/>
                </a:ext>
              </a:extLst>
            </p:cNvPr>
            <p:cNvGrpSpPr/>
            <p:nvPr/>
          </p:nvGrpSpPr>
          <p:grpSpPr>
            <a:xfrm>
              <a:off x="10065169" y="3458014"/>
              <a:ext cx="247186" cy="402426"/>
              <a:chOff x="11312677" y="4385379"/>
              <a:chExt cx="420734" cy="643192"/>
            </a:xfrm>
          </p:grpSpPr>
          <p:sp>
            <p:nvSpPr>
              <p:cNvPr id="68" name="Rectangle 48">
                <a:extLst>
                  <a:ext uri="{FF2B5EF4-FFF2-40B4-BE49-F238E27FC236}">
                    <a16:creationId xmlns:a16="http://schemas.microsoft.com/office/drawing/2014/main" id="{C149EE16-29A4-4753-AB16-A3998439FAC3}"/>
                  </a:ext>
                </a:extLst>
              </p:cNvPr>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69" name="Freeform 49">
                <a:extLst>
                  <a:ext uri="{FF2B5EF4-FFF2-40B4-BE49-F238E27FC236}">
                    <a16:creationId xmlns:a16="http://schemas.microsoft.com/office/drawing/2014/main" id="{48842225-96EE-44F2-9161-14E892A64451}"/>
                  </a:ext>
                </a:extLst>
              </p:cNvPr>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70" name="Freeform 50">
                <a:extLst>
                  <a:ext uri="{FF2B5EF4-FFF2-40B4-BE49-F238E27FC236}">
                    <a16:creationId xmlns:a16="http://schemas.microsoft.com/office/drawing/2014/main" id="{22DE7804-4722-433A-80EB-6487183BFF63}"/>
                  </a:ext>
                </a:extLst>
              </p:cNvPr>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71" name="Freeform 51">
                <a:extLst>
                  <a:ext uri="{FF2B5EF4-FFF2-40B4-BE49-F238E27FC236}">
                    <a16:creationId xmlns:a16="http://schemas.microsoft.com/office/drawing/2014/main" id="{38063206-AE09-4EA5-AB5B-044555164C0B}"/>
                  </a:ext>
                </a:extLst>
              </p:cNvPr>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72" name="Freeform 52">
                <a:extLst>
                  <a:ext uri="{FF2B5EF4-FFF2-40B4-BE49-F238E27FC236}">
                    <a16:creationId xmlns:a16="http://schemas.microsoft.com/office/drawing/2014/main" id="{720C1CDE-73DC-4667-A2DA-735E4975B7D5}"/>
                  </a:ext>
                </a:extLst>
              </p:cNvPr>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73" name="Freeform 53">
                <a:extLst>
                  <a:ext uri="{FF2B5EF4-FFF2-40B4-BE49-F238E27FC236}">
                    <a16:creationId xmlns:a16="http://schemas.microsoft.com/office/drawing/2014/main" id="{879D6225-674A-4ECC-B475-2BD41081DDE5}"/>
                  </a:ext>
                </a:extLst>
              </p:cNvPr>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74" name="Oval 54">
                <a:extLst>
                  <a:ext uri="{FF2B5EF4-FFF2-40B4-BE49-F238E27FC236}">
                    <a16:creationId xmlns:a16="http://schemas.microsoft.com/office/drawing/2014/main" id="{94B965F9-2645-44E1-A705-78637B0AAA68}"/>
                  </a:ext>
                </a:extLst>
              </p:cNvPr>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75" name="Oval 55">
                <a:extLst>
                  <a:ext uri="{FF2B5EF4-FFF2-40B4-BE49-F238E27FC236}">
                    <a16:creationId xmlns:a16="http://schemas.microsoft.com/office/drawing/2014/main" id="{C9B4E3B5-67F5-4DF6-A3B9-DD683FF9D3E2}"/>
                  </a:ext>
                </a:extLst>
              </p:cNvPr>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76" name="Oval 56">
                <a:extLst>
                  <a:ext uri="{FF2B5EF4-FFF2-40B4-BE49-F238E27FC236}">
                    <a16:creationId xmlns:a16="http://schemas.microsoft.com/office/drawing/2014/main" id="{B86B67D7-8095-42FC-81C1-14BAE4FDB0C4}"/>
                  </a:ext>
                </a:extLst>
              </p:cNvPr>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77" name="Oval 57">
                <a:extLst>
                  <a:ext uri="{FF2B5EF4-FFF2-40B4-BE49-F238E27FC236}">
                    <a16:creationId xmlns:a16="http://schemas.microsoft.com/office/drawing/2014/main" id="{2F8ABB77-6101-440E-9C6D-643C04B9E5BF}"/>
                  </a:ext>
                </a:extLst>
              </p:cNvPr>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78" name="Oval 58">
                <a:extLst>
                  <a:ext uri="{FF2B5EF4-FFF2-40B4-BE49-F238E27FC236}">
                    <a16:creationId xmlns:a16="http://schemas.microsoft.com/office/drawing/2014/main" id="{D3CF95EE-B6D4-4BDE-B6A2-72C584FE5EC8}"/>
                  </a:ext>
                </a:extLst>
              </p:cNvPr>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grpSp>
        <p:grpSp>
          <p:nvGrpSpPr>
            <p:cNvPr id="28" name="Group 332">
              <a:extLst>
                <a:ext uri="{FF2B5EF4-FFF2-40B4-BE49-F238E27FC236}">
                  <a16:creationId xmlns:a16="http://schemas.microsoft.com/office/drawing/2014/main" id="{4F864112-4E94-4FCB-8E64-0AF83F789E6E}"/>
                </a:ext>
              </a:extLst>
            </p:cNvPr>
            <p:cNvGrpSpPr/>
            <p:nvPr/>
          </p:nvGrpSpPr>
          <p:grpSpPr>
            <a:xfrm>
              <a:off x="10579847" y="3128542"/>
              <a:ext cx="247186" cy="402426"/>
              <a:chOff x="11312677" y="4385379"/>
              <a:chExt cx="420734" cy="643192"/>
            </a:xfrm>
          </p:grpSpPr>
          <p:sp>
            <p:nvSpPr>
              <p:cNvPr id="57" name="Rectangle 48">
                <a:extLst>
                  <a:ext uri="{FF2B5EF4-FFF2-40B4-BE49-F238E27FC236}">
                    <a16:creationId xmlns:a16="http://schemas.microsoft.com/office/drawing/2014/main" id="{5BB70743-BC63-4D4D-95E9-04E07FBF6F65}"/>
                  </a:ext>
                </a:extLst>
              </p:cNvPr>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58" name="Freeform 49">
                <a:extLst>
                  <a:ext uri="{FF2B5EF4-FFF2-40B4-BE49-F238E27FC236}">
                    <a16:creationId xmlns:a16="http://schemas.microsoft.com/office/drawing/2014/main" id="{03EC2853-181D-4126-895D-9E17DBFCBC89}"/>
                  </a:ext>
                </a:extLst>
              </p:cNvPr>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59" name="Freeform 50">
                <a:extLst>
                  <a:ext uri="{FF2B5EF4-FFF2-40B4-BE49-F238E27FC236}">
                    <a16:creationId xmlns:a16="http://schemas.microsoft.com/office/drawing/2014/main" id="{2650DAC6-86DF-4DE1-AC65-DEAFB665FADD}"/>
                  </a:ext>
                </a:extLst>
              </p:cNvPr>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60" name="Freeform 51">
                <a:extLst>
                  <a:ext uri="{FF2B5EF4-FFF2-40B4-BE49-F238E27FC236}">
                    <a16:creationId xmlns:a16="http://schemas.microsoft.com/office/drawing/2014/main" id="{554AA739-45E8-4560-A49D-1AE7025E99F4}"/>
                  </a:ext>
                </a:extLst>
              </p:cNvPr>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61" name="Freeform 52">
                <a:extLst>
                  <a:ext uri="{FF2B5EF4-FFF2-40B4-BE49-F238E27FC236}">
                    <a16:creationId xmlns:a16="http://schemas.microsoft.com/office/drawing/2014/main" id="{3E9E1B22-D6E1-4598-83E5-5A111C787060}"/>
                  </a:ext>
                </a:extLst>
              </p:cNvPr>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62" name="Freeform 53">
                <a:extLst>
                  <a:ext uri="{FF2B5EF4-FFF2-40B4-BE49-F238E27FC236}">
                    <a16:creationId xmlns:a16="http://schemas.microsoft.com/office/drawing/2014/main" id="{B90E7AD4-6A24-4909-9AEF-06149B57C11F}"/>
                  </a:ext>
                </a:extLst>
              </p:cNvPr>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63" name="Oval 54">
                <a:extLst>
                  <a:ext uri="{FF2B5EF4-FFF2-40B4-BE49-F238E27FC236}">
                    <a16:creationId xmlns:a16="http://schemas.microsoft.com/office/drawing/2014/main" id="{EAE531F4-DDEC-4ADD-BDE3-BC3B331E9B2D}"/>
                  </a:ext>
                </a:extLst>
              </p:cNvPr>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64" name="Oval 55">
                <a:extLst>
                  <a:ext uri="{FF2B5EF4-FFF2-40B4-BE49-F238E27FC236}">
                    <a16:creationId xmlns:a16="http://schemas.microsoft.com/office/drawing/2014/main" id="{4770DA99-8B5E-4F63-9E12-52F655852497}"/>
                  </a:ext>
                </a:extLst>
              </p:cNvPr>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65" name="Oval 56">
                <a:extLst>
                  <a:ext uri="{FF2B5EF4-FFF2-40B4-BE49-F238E27FC236}">
                    <a16:creationId xmlns:a16="http://schemas.microsoft.com/office/drawing/2014/main" id="{936C698E-8A9A-4C53-8397-558CBE8E8BE5}"/>
                  </a:ext>
                </a:extLst>
              </p:cNvPr>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66" name="Oval 57">
                <a:extLst>
                  <a:ext uri="{FF2B5EF4-FFF2-40B4-BE49-F238E27FC236}">
                    <a16:creationId xmlns:a16="http://schemas.microsoft.com/office/drawing/2014/main" id="{852C176D-6A02-4101-BD9A-B1938C05B5C4}"/>
                  </a:ext>
                </a:extLst>
              </p:cNvPr>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67" name="Oval 58">
                <a:extLst>
                  <a:ext uri="{FF2B5EF4-FFF2-40B4-BE49-F238E27FC236}">
                    <a16:creationId xmlns:a16="http://schemas.microsoft.com/office/drawing/2014/main" id="{71861475-D6E4-4300-A744-8D6F1BB81150}"/>
                  </a:ext>
                </a:extLst>
              </p:cNvPr>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grpSp>
        <p:cxnSp>
          <p:nvCxnSpPr>
            <p:cNvPr id="29" name="Straight Connector 28">
              <a:extLst>
                <a:ext uri="{FF2B5EF4-FFF2-40B4-BE49-F238E27FC236}">
                  <a16:creationId xmlns:a16="http://schemas.microsoft.com/office/drawing/2014/main" id="{B30DB5B0-957B-4945-8428-FDC13C13F106}"/>
                </a:ext>
              </a:extLst>
            </p:cNvPr>
            <p:cNvCxnSpPr>
              <a:endCxn id="68" idx="1"/>
            </p:cNvCxnSpPr>
            <p:nvPr/>
          </p:nvCxnSpPr>
          <p:spPr>
            <a:xfrm>
              <a:off x="8669654" y="2985985"/>
              <a:ext cx="1395515" cy="673242"/>
            </a:xfrm>
            <a:prstGeom prst="line">
              <a:avLst/>
            </a:prstGeom>
            <a:noFill/>
            <a:ln w="28575" cap="flat" cmpd="sng" algn="ctr">
              <a:solidFill>
                <a:srgbClr val="DC3C00"/>
              </a:solidFill>
              <a:prstDash val="sysDash"/>
              <a:headEnd type="none"/>
              <a:tailEnd type="none"/>
            </a:ln>
            <a:effectLst/>
          </p:spPr>
        </p:cxnSp>
        <p:cxnSp>
          <p:nvCxnSpPr>
            <p:cNvPr id="30" name="Straight Connector 29">
              <a:extLst>
                <a:ext uri="{FF2B5EF4-FFF2-40B4-BE49-F238E27FC236}">
                  <a16:creationId xmlns:a16="http://schemas.microsoft.com/office/drawing/2014/main" id="{AD4322D6-E021-4BFC-9274-96A59D9941AF}"/>
                </a:ext>
              </a:extLst>
            </p:cNvPr>
            <p:cNvCxnSpPr>
              <a:endCxn id="50" idx="0"/>
            </p:cNvCxnSpPr>
            <p:nvPr/>
          </p:nvCxnSpPr>
          <p:spPr>
            <a:xfrm>
              <a:off x="8711285" y="3001622"/>
              <a:ext cx="2055099" cy="1704436"/>
            </a:xfrm>
            <a:prstGeom prst="line">
              <a:avLst/>
            </a:prstGeom>
            <a:noFill/>
            <a:ln w="28575" cap="flat" cmpd="sng" algn="ctr">
              <a:solidFill>
                <a:srgbClr val="DC3C00"/>
              </a:solidFill>
              <a:prstDash val="sysDash"/>
              <a:headEnd type="none"/>
              <a:tailEnd type="none"/>
            </a:ln>
            <a:effectLst/>
          </p:spPr>
        </p:cxnSp>
        <p:grpSp>
          <p:nvGrpSpPr>
            <p:cNvPr id="31" name="Group 332">
              <a:extLst>
                <a:ext uri="{FF2B5EF4-FFF2-40B4-BE49-F238E27FC236}">
                  <a16:creationId xmlns:a16="http://schemas.microsoft.com/office/drawing/2014/main" id="{82F28BE3-A3B3-435B-A858-E70BE4548DEA}"/>
                </a:ext>
              </a:extLst>
            </p:cNvPr>
            <p:cNvGrpSpPr/>
            <p:nvPr/>
          </p:nvGrpSpPr>
          <p:grpSpPr>
            <a:xfrm>
              <a:off x="10724288" y="4469292"/>
              <a:ext cx="247186" cy="402426"/>
              <a:chOff x="11312677" y="4385379"/>
              <a:chExt cx="420734" cy="643192"/>
            </a:xfrm>
          </p:grpSpPr>
          <p:sp>
            <p:nvSpPr>
              <p:cNvPr id="46" name="Rectangle 48">
                <a:extLst>
                  <a:ext uri="{FF2B5EF4-FFF2-40B4-BE49-F238E27FC236}">
                    <a16:creationId xmlns:a16="http://schemas.microsoft.com/office/drawing/2014/main" id="{176676B3-3342-4A45-8875-1B5F4CBE7800}"/>
                  </a:ext>
                </a:extLst>
              </p:cNvPr>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47" name="Freeform 49">
                <a:extLst>
                  <a:ext uri="{FF2B5EF4-FFF2-40B4-BE49-F238E27FC236}">
                    <a16:creationId xmlns:a16="http://schemas.microsoft.com/office/drawing/2014/main" id="{AECE2420-2B2E-4942-9B4D-35A28A8DB416}"/>
                  </a:ext>
                </a:extLst>
              </p:cNvPr>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48" name="Freeform 50">
                <a:extLst>
                  <a:ext uri="{FF2B5EF4-FFF2-40B4-BE49-F238E27FC236}">
                    <a16:creationId xmlns:a16="http://schemas.microsoft.com/office/drawing/2014/main" id="{6DA98832-5BF6-4D11-99EF-4B6BA3D1EF69}"/>
                  </a:ext>
                </a:extLst>
              </p:cNvPr>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49" name="Freeform 51">
                <a:extLst>
                  <a:ext uri="{FF2B5EF4-FFF2-40B4-BE49-F238E27FC236}">
                    <a16:creationId xmlns:a16="http://schemas.microsoft.com/office/drawing/2014/main" id="{626417F6-E2FA-4832-92BE-A1012B137B6D}"/>
                  </a:ext>
                </a:extLst>
              </p:cNvPr>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50" name="Freeform 52">
                <a:extLst>
                  <a:ext uri="{FF2B5EF4-FFF2-40B4-BE49-F238E27FC236}">
                    <a16:creationId xmlns:a16="http://schemas.microsoft.com/office/drawing/2014/main" id="{37B4DB4D-6A1E-488E-9CAD-C60A14C9C647}"/>
                  </a:ext>
                </a:extLst>
              </p:cNvPr>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51" name="Freeform 53">
                <a:extLst>
                  <a:ext uri="{FF2B5EF4-FFF2-40B4-BE49-F238E27FC236}">
                    <a16:creationId xmlns:a16="http://schemas.microsoft.com/office/drawing/2014/main" id="{CADE3668-C729-4930-9E63-910CAD555ED8}"/>
                  </a:ext>
                </a:extLst>
              </p:cNvPr>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52" name="Oval 54">
                <a:extLst>
                  <a:ext uri="{FF2B5EF4-FFF2-40B4-BE49-F238E27FC236}">
                    <a16:creationId xmlns:a16="http://schemas.microsoft.com/office/drawing/2014/main" id="{32F213A6-B53E-46C3-8D6D-55F1FDD5DD51}"/>
                  </a:ext>
                </a:extLst>
              </p:cNvPr>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53" name="Oval 55">
                <a:extLst>
                  <a:ext uri="{FF2B5EF4-FFF2-40B4-BE49-F238E27FC236}">
                    <a16:creationId xmlns:a16="http://schemas.microsoft.com/office/drawing/2014/main" id="{3104D26E-5D1C-4F1D-A1E4-8478DFF89596}"/>
                  </a:ext>
                </a:extLst>
              </p:cNvPr>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54" name="Oval 56">
                <a:extLst>
                  <a:ext uri="{FF2B5EF4-FFF2-40B4-BE49-F238E27FC236}">
                    <a16:creationId xmlns:a16="http://schemas.microsoft.com/office/drawing/2014/main" id="{C5E3FE81-56ED-4DC5-AE8E-5D75E56795D5}"/>
                  </a:ext>
                </a:extLst>
              </p:cNvPr>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55" name="Oval 57">
                <a:extLst>
                  <a:ext uri="{FF2B5EF4-FFF2-40B4-BE49-F238E27FC236}">
                    <a16:creationId xmlns:a16="http://schemas.microsoft.com/office/drawing/2014/main" id="{477ED0B9-D04F-4FA4-8EBB-71256897533D}"/>
                  </a:ext>
                </a:extLst>
              </p:cNvPr>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56" name="Oval 58">
                <a:extLst>
                  <a:ext uri="{FF2B5EF4-FFF2-40B4-BE49-F238E27FC236}">
                    <a16:creationId xmlns:a16="http://schemas.microsoft.com/office/drawing/2014/main" id="{64A7EF50-0CF5-4D44-AE85-24CCBD6ECB69}"/>
                  </a:ext>
                </a:extLst>
              </p:cNvPr>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grpSp>
        <p:cxnSp>
          <p:nvCxnSpPr>
            <p:cNvPr id="32" name="Straight Connector 31">
              <a:extLst>
                <a:ext uri="{FF2B5EF4-FFF2-40B4-BE49-F238E27FC236}">
                  <a16:creationId xmlns:a16="http://schemas.microsoft.com/office/drawing/2014/main" id="{A06B6F4F-FC45-4D82-BEC8-3967FCE49E90}"/>
                </a:ext>
              </a:extLst>
            </p:cNvPr>
            <p:cNvCxnSpPr>
              <a:stCxn id="39" idx="8"/>
              <a:endCxn id="57" idx="1"/>
            </p:cNvCxnSpPr>
            <p:nvPr/>
          </p:nvCxnSpPr>
          <p:spPr>
            <a:xfrm>
              <a:off x="8699823" y="3019842"/>
              <a:ext cx="1880024" cy="309914"/>
            </a:xfrm>
            <a:prstGeom prst="line">
              <a:avLst/>
            </a:prstGeom>
            <a:noFill/>
            <a:ln w="28575" cap="flat" cmpd="sng" algn="ctr">
              <a:solidFill>
                <a:srgbClr val="DC3C00"/>
              </a:solidFill>
              <a:prstDash val="sysDash"/>
              <a:headEnd type="none"/>
              <a:tailEnd type="none"/>
            </a:ln>
            <a:effectLst/>
          </p:spPr>
        </p:cxnSp>
        <p:cxnSp>
          <p:nvCxnSpPr>
            <p:cNvPr id="33" name="Straight Connector 32">
              <a:extLst>
                <a:ext uri="{FF2B5EF4-FFF2-40B4-BE49-F238E27FC236}">
                  <a16:creationId xmlns:a16="http://schemas.microsoft.com/office/drawing/2014/main" id="{5B9330E2-E0D9-4032-8308-7CC019490E0C}"/>
                </a:ext>
              </a:extLst>
            </p:cNvPr>
            <p:cNvCxnSpPr>
              <a:endCxn id="79" idx="1"/>
            </p:cNvCxnSpPr>
            <p:nvPr/>
          </p:nvCxnSpPr>
          <p:spPr>
            <a:xfrm flipV="1">
              <a:off x="8669654" y="2836669"/>
              <a:ext cx="2425112" cy="160768"/>
            </a:xfrm>
            <a:prstGeom prst="line">
              <a:avLst/>
            </a:prstGeom>
            <a:noFill/>
            <a:ln w="28575" cap="flat" cmpd="sng" algn="ctr">
              <a:solidFill>
                <a:srgbClr val="DC3C00"/>
              </a:solidFill>
              <a:prstDash val="sysDash"/>
              <a:headEnd type="none"/>
              <a:tailEnd type="none"/>
            </a:ln>
            <a:effectLst/>
          </p:spPr>
        </p:cxnSp>
        <p:grpSp>
          <p:nvGrpSpPr>
            <p:cNvPr id="34" name="Group 332">
              <a:extLst>
                <a:ext uri="{FF2B5EF4-FFF2-40B4-BE49-F238E27FC236}">
                  <a16:creationId xmlns:a16="http://schemas.microsoft.com/office/drawing/2014/main" id="{99DA0BDF-E1CE-4FE3-8A99-EF81108EE3E7}"/>
                </a:ext>
              </a:extLst>
            </p:cNvPr>
            <p:cNvGrpSpPr/>
            <p:nvPr/>
          </p:nvGrpSpPr>
          <p:grpSpPr>
            <a:xfrm>
              <a:off x="8502739" y="2661415"/>
              <a:ext cx="374201" cy="609209"/>
              <a:chOff x="11312677" y="4385379"/>
              <a:chExt cx="420734" cy="643192"/>
            </a:xfrm>
          </p:grpSpPr>
          <p:sp>
            <p:nvSpPr>
              <p:cNvPr id="35" name="Rectangle 48">
                <a:extLst>
                  <a:ext uri="{FF2B5EF4-FFF2-40B4-BE49-F238E27FC236}">
                    <a16:creationId xmlns:a16="http://schemas.microsoft.com/office/drawing/2014/main" id="{7E9AB850-E26B-4066-BE3A-9709187D7904}"/>
                  </a:ext>
                </a:extLst>
              </p:cNvPr>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36" name="Freeform 49">
                <a:extLst>
                  <a:ext uri="{FF2B5EF4-FFF2-40B4-BE49-F238E27FC236}">
                    <a16:creationId xmlns:a16="http://schemas.microsoft.com/office/drawing/2014/main" id="{A9675078-F92A-4F11-9931-6EB081D25DFD}"/>
                  </a:ext>
                </a:extLst>
              </p:cNvPr>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37" name="Freeform 50">
                <a:extLst>
                  <a:ext uri="{FF2B5EF4-FFF2-40B4-BE49-F238E27FC236}">
                    <a16:creationId xmlns:a16="http://schemas.microsoft.com/office/drawing/2014/main" id="{719CDA16-52D7-438C-811E-BC8BA56ABF8E}"/>
                  </a:ext>
                </a:extLst>
              </p:cNvPr>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38" name="Freeform 51">
                <a:extLst>
                  <a:ext uri="{FF2B5EF4-FFF2-40B4-BE49-F238E27FC236}">
                    <a16:creationId xmlns:a16="http://schemas.microsoft.com/office/drawing/2014/main" id="{F47807E9-7FB8-4897-A44B-A57AD124B8EA}"/>
                  </a:ext>
                </a:extLst>
              </p:cNvPr>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39" name="Freeform 52">
                <a:extLst>
                  <a:ext uri="{FF2B5EF4-FFF2-40B4-BE49-F238E27FC236}">
                    <a16:creationId xmlns:a16="http://schemas.microsoft.com/office/drawing/2014/main" id="{99B935A7-18FA-4E26-A136-1B4C0664D389}"/>
                  </a:ext>
                </a:extLst>
              </p:cNvPr>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40" name="Freeform 53">
                <a:extLst>
                  <a:ext uri="{FF2B5EF4-FFF2-40B4-BE49-F238E27FC236}">
                    <a16:creationId xmlns:a16="http://schemas.microsoft.com/office/drawing/2014/main" id="{8FE8969F-6201-4702-A4C1-18CECA666054}"/>
                  </a:ext>
                </a:extLst>
              </p:cNvPr>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41" name="Oval 54">
                <a:extLst>
                  <a:ext uri="{FF2B5EF4-FFF2-40B4-BE49-F238E27FC236}">
                    <a16:creationId xmlns:a16="http://schemas.microsoft.com/office/drawing/2014/main" id="{D2684517-A83D-433F-9D54-CDDB2A1EE0C7}"/>
                  </a:ext>
                </a:extLst>
              </p:cNvPr>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42" name="Oval 55">
                <a:extLst>
                  <a:ext uri="{FF2B5EF4-FFF2-40B4-BE49-F238E27FC236}">
                    <a16:creationId xmlns:a16="http://schemas.microsoft.com/office/drawing/2014/main" id="{AE1A1006-7BEA-4391-8B78-8EEFD140B590}"/>
                  </a:ext>
                </a:extLst>
              </p:cNvPr>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43" name="Oval 56">
                <a:extLst>
                  <a:ext uri="{FF2B5EF4-FFF2-40B4-BE49-F238E27FC236}">
                    <a16:creationId xmlns:a16="http://schemas.microsoft.com/office/drawing/2014/main" id="{31DE9C49-3EF8-4822-A979-DCACCB1890C1}"/>
                  </a:ext>
                </a:extLst>
              </p:cNvPr>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44" name="Oval 57">
                <a:extLst>
                  <a:ext uri="{FF2B5EF4-FFF2-40B4-BE49-F238E27FC236}">
                    <a16:creationId xmlns:a16="http://schemas.microsoft.com/office/drawing/2014/main" id="{4F4C7A61-52C0-4EBB-9119-5475A0DAA6B4}"/>
                  </a:ext>
                </a:extLst>
              </p:cNvPr>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sp>
            <p:nvSpPr>
              <p:cNvPr id="45" name="Oval 58">
                <a:extLst>
                  <a:ext uri="{FF2B5EF4-FFF2-40B4-BE49-F238E27FC236}">
                    <a16:creationId xmlns:a16="http://schemas.microsoft.com/office/drawing/2014/main" id="{BEECF172-99B9-43C3-BF06-EE2746BD52C6}"/>
                  </a:ext>
                </a:extLst>
              </p:cNvPr>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1836" kern="0" dirty="0">
                  <a:solidFill>
                    <a:srgbClr val="505050"/>
                  </a:solidFill>
                  <a:latin typeface="Segoe UI Semilight"/>
                </a:endParaRPr>
              </a:p>
            </p:txBody>
          </p:sp>
        </p:grpSp>
      </p:grpSp>
      <p:sp>
        <p:nvSpPr>
          <p:cNvPr id="121" name="TextBox 338">
            <a:extLst>
              <a:ext uri="{FF2B5EF4-FFF2-40B4-BE49-F238E27FC236}">
                <a16:creationId xmlns:a16="http://schemas.microsoft.com/office/drawing/2014/main" id="{562C3EF8-2600-4D94-B0FE-9537A674B4F8}"/>
              </a:ext>
            </a:extLst>
          </p:cNvPr>
          <p:cNvSpPr txBox="1"/>
          <p:nvPr/>
        </p:nvSpPr>
        <p:spPr>
          <a:xfrm>
            <a:off x="9496951" y="5943333"/>
            <a:ext cx="2309612" cy="553998"/>
          </a:xfrm>
          <a:prstGeom prst="rect">
            <a:avLst/>
          </a:prstGeom>
          <a:noFill/>
        </p:spPr>
        <p:txBody>
          <a:bodyPr wrap="square" lIns="0" tIns="0" rIns="0" bIns="0" rtlCol="0">
            <a:spAutoFit/>
          </a:bodyPr>
          <a:lstStyle/>
          <a:p>
            <a:pPr algn="r" defTabSz="932563">
              <a:defRPr/>
            </a:pPr>
            <a:r>
              <a:rPr lang="en-US" b="1" kern="0" dirty="0"/>
              <a:t>Up to</a:t>
            </a:r>
            <a:br>
              <a:rPr lang="en-US" b="1" kern="0" dirty="0"/>
            </a:br>
            <a:r>
              <a:rPr lang="en-US" b="1" kern="0" dirty="0"/>
              <a:t>4 secondaries</a:t>
            </a:r>
          </a:p>
        </p:txBody>
      </p:sp>
      <p:sp>
        <p:nvSpPr>
          <p:cNvPr id="125" name="Rectangle 124">
            <a:extLst>
              <a:ext uri="{FF2B5EF4-FFF2-40B4-BE49-F238E27FC236}">
                <a16:creationId xmlns:a16="http://schemas.microsoft.com/office/drawing/2014/main" id="{EB4A90B1-6B84-4B47-8720-DF49C2DC6607}"/>
              </a:ext>
            </a:extLst>
          </p:cNvPr>
          <p:cNvSpPr/>
          <p:nvPr/>
        </p:nvSpPr>
        <p:spPr bwMode="auto">
          <a:xfrm>
            <a:off x="462987" y="1570101"/>
            <a:ext cx="4745621" cy="156465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US" sz="2400" b="1" kern="0" dirty="0">
                <a:solidFill>
                  <a:schemeClr val="accent1"/>
                </a:solidFill>
                <a:cs typeface="Segoe UI Semibold" charset="0"/>
              </a:rPr>
              <a:t>Automatic failover policy </a:t>
            </a:r>
          </a:p>
          <a:p>
            <a:pPr marL="0" lvl="1">
              <a:spcBef>
                <a:spcPts val="0"/>
              </a:spcBef>
              <a:spcAft>
                <a:spcPts val="600"/>
              </a:spcAft>
            </a:pPr>
            <a:r>
              <a:rPr lang="en-US" kern="0" dirty="0">
                <a:solidFill>
                  <a:schemeClr val="tx2"/>
                </a:solidFill>
                <a:cs typeface="Segoe UI Semilight" panose="020B0402040204020203" pitchFamily="34" charset="0"/>
              </a:rPr>
              <a:t>Replicas are automatically points to the</a:t>
            </a:r>
            <a:br>
              <a:rPr lang="en-US" kern="0" dirty="0">
                <a:solidFill>
                  <a:schemeClr val="tx2"/>
                </a:solidFill>
                <a:cs typeface="Segoe UI Semilight" panose="020B0402040204020203" pitchFamily="34" charset="0"/>
              </a:rPr>
            </a:br>
            <a:r>
              <a:rPr lang="en-US" kern="0" dirty="0">
                <a:solidFill>
                  <a:schemeClr val="tx2"/>
                </a:solidFill>
                <a:cs typeface="Segoe UI Semilight" panose="020B0402040204020203" pitchFamily="34" charset="0"/>
              </a:rPr>
              <a:t>new primary afterward</a:t>
            </a:r>
          </a:p>
        </p:txBody>
      </p:sp>
      <p:sp>
        <p:nvSpPr>
          <p:cNvPr id="126" name="Rectangle 125">
            <a:extLst>
              <a:ext uri="{FF2B5EF4-FFF2-40B4-BE49-F238E27FC236}">
                <a16:creationId xmlns:a16="http://schemas.microsoft.com/office/drawing/2014/main" id="{DB82CF63-2F45-4916-8874-FE33A267CA09}"/>
              </a:ext>
            </a:extLst>
          </p:cNvPr>
          <p:cNvSpPr/>
          <p:nvPr/>
        </p:nvSpPr>
        <p:spPr bwMode="auto">
          <a:xfrm>
            <a:off x="462987" y="3273273"/>
            <a:ext cx="4745621" cy="156465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US" sz="2400" b="1" kern="0" dirty="0">
                <a:solidFill>
                  <a:schemeClr val="accent1"/>
                </a:solidFill>
                <a:cs typeface="Segoe UI Semibold" charset="0"/>
              </a:rPr>
              <a:t>Replicas to fit your topology </a:t>
            </a:r>
          </a:p>
          <a:p>
            <a:pPr marL="0" lvl="1">
              <a:spcBef>
                <a:spcPts val="0"/>
              </a:spcBef>
              <a:spcAft>
                <a:spcPts val="600"/>
              </a:spcAft>
            </a:pPr>
            <a:r>
              <a:rPr lang="en-US" kern="0" dirty="0">
                <a:solidFill>
                  <a:schemeClr val="tx2"/>
                </a:solidFill>
                <a:cs typeface="Segoe UI Semilight" panose="020B0402040204020203" pitchFamily="34" charset="0"/>
              </a:rPr>
              <a:t>Same region or different region</a:t>
            </a:r>
          </a:p>
          <a:p>
            <a:pPr marL="0" lvl="1">
              <a:spcBef>
                <a:spcPts val="0"/>
              </a:spcBef>
              <a:spcAft>
                <a:spcPts val="600"/>
              </a:spcAft>
            </a:pPr>
            <a:r>
              <a:rPr lang="en-US" kern="0" dirty="0">
                <a:solidFill>
                  <a:schemeClr val="tx2"/>
                </a:solidFill>
                <a:cs typeface="Segoe UI Semilight" panose="020B0402040204020203" pitchFamily="34" charset="0"/>
              </a:rPr>
              <a:t>Available in all 38 Azure regions! </a:t>
            </a:r>
          </a:p>
        </p:txBody>
      </p:sp>
      <p:sp>
        <p:nvSpPr>
          <p:cNvPr id="127" name="Rectangle 126">
            <a:extLst>
              <a:ext uri="{FF2B5EF4-FFF2-40B4-BE49-F238E27FC236}">
                <a16:creationId xmlns:a16="http://schemas.microsoft.com/office/drawing/2014/main" id="{31C8D938-8FBF-4D88-8ABF-9C7F20B169D8}"/>
              </a:ext>
            </a:extLst>
          </p:cNvPr>
          <p:cNvSpPr/>
          <p:nvPr/>
        </p:nvSpPr>
        <p:spPr bwMode="auto">
          <a:xfrm>
            <a:off x="462987" y="4976444"/>
            <a:ext cx="4745621" cy="156465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defTabSz="856695" fontAlgn="base">
              <a:spcBef>
                <a:spcPct val="0"/>
              </a:spcBef>
              <a:spcAft>
                <a:spcPct val="0"/>
              </a:spcAft>
              <a:defRPr/>
            </a:pPr>
            <a:r>
              <a:rPr lang="en-US" kern="0" dirty="0">
                <a:solidFill>
                  <a:schemeClr val="tx2"/>
                </a:solidFill>
                <a:cs typeface="Segoe UI Semibold" charset="0"/>
              </a:rPr>
              <a:t>REST API, PowerShell or Azure Portal </a:t>
            </a:r>
          </a:p>
        </p:txBody>
      </p:sp>
      <p:sp>
        <p:nvSpPr>
          <p:cNvPr id="129" name="Rectangle 128">
            <a:extLst>
              <a:ext uri="{FF2B5EF4-FFF2-40B4-BE49-F238E27FC236}">
                <a16:creationId xmlns:a16="http://schemas.microsoft.com/office/drawing/2014/main" id="{3BD34D73-91D9-414A-865B-82E92FC55A52}"/>
              </a:ext>
            </a:extLst>
          </p:cNvPr>
          <p:cNvSpPr/>
          <p:nvPr/>
        </p:nvSpPr>
        <p:spPr bwMode="auto">
          <a:xfrm>
            <a:off x="11006136" y="0"/>
            <a:ext cx="1430339" cy="553161"/>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400" b="1" kern="0" dirty="0">
                <a:solidFill>
                  <a:schemeClr val="bg1"/>
                </a:solidFill>
                <a:ea typeface="Segoe UI" pitchFamily="34" charset="0"/>
                <a:cs typeface="Segoe UI" pitchFamily="34" charset="0"/>
              </a:rPr>
              <a:t>GA</a:t>
            </a:r>
          </a:p>
        </p:txBody>
      </p:sp>
    </p:spTree>
    <p:extLst>
      <p:ext uri="{BB962C8B-B14F-4D97-AF65-F5344CB8AC3E}">
        <p14:creationId xmlns:p14="http://schemas.microsoft.com/office/powerpoint/2010/main" val="389476435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600BA0-6E13-4A61-BF7A-1594D40CA276}"/>
              </a:ext>
            </a:extLst>
          </p:cNvPr>
          <p:cNvSpPr>
            <a:spLocks noGrp="1"/>
          </p:cNvSpPr>
          <p:nvPr>
            <p:ph type="title"/>
          </p:nvPr>
        </p:nvSpPr>
        <p:spPr/>
        <p:txBody>
          <a:bodyPr/>
          <a:lstStyle/>
          <a:p>
            <a:r>
              <a:rPr lang="en-US"/>
              <a:t>CSP Direct Partners get</a:t>
            </a:r>
            <a:endParaRPr lang="en-IN" dirty="0"/>
          </a:p>
        </p:txBody>
      </p:sp>
      <p:grpSp>
        <p:nvGrpSpPr>
          <p:cNvPr id="13" name="Group 12">
            <a:extLst>
              <a:ext uri="{FF2B5EF4-FFF2-40B4-BE49-F238E27FC236}">
                <a16:creationId xmlns:a16="http://schemas.microsoft.com/office/drawing/2014/main" id="{C58F2CA2-B9C7-4AF4-B9FA-1102DBC92BC8}"/>
              </a:ext>
            </a:extLst>
          </p:cNvPr>
          <p:cNvGrpSpPr/>
          <p:nvPr/>
        </p:nvGrpSpPr>
        <p:grpSpPr>
          <a:xfrm>
            <a:off x="343218" y="1193019"/>
            <a:ext cx="1470342" cy="1470342"/>
            <a:chOff x="343218" y="1193019"/>
            <a:chExt cx="1470342" cy="1470342"/>
          </a:xfrm>
        </p:grpSpPr>
        <p:sp>
          <p:nvSpPr>
            <p:cNvPr id="3" name="Oval 2">
              <a:extLst>
                <a:ext uri="{FF2B5EF4-FFF2-40B4-BE49-F238E27FC236}">
                  <a16:creationId xmlns:a16="http://schemas.microsoft.com/office/drawing/2014/main" id="{07BE9428-5D41-4DB2-B233-0DBF647B0893}"/>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7" name="Arc 6">
              <a:extLst>
                <a:ext uri="{FF2B5EF4-FFF2-40B4-BE49-F238E27FC236}">
                  <a16:creationId xmlns:a16="http://schemas.microsoft.com/office/drawing/2014/main" id="{72FFBD59-A531-49B6-B9BD-D9241FF6001A}"/>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grpSp>
        <p:nvGrpSpPr>
          <p:cNvPr id="14" name="Group 13">
            <a:extLst>
              <a:ext uri="{FF2B5EF4-FFF2-40B4-BE49-F238E27FC236}">
                <a16:creationId xmlns:a16="http://schemas.microsoft.com/office/drawing/2014/main" id="{514A473B-8134-4A28-BEA0-9238380EFEFF}"/>
              </a:ext>
            </a:extLst>
          </p:cNvPr>
          <p:cNvGrpSpPr/>
          <p:nvPr/>
        </p:nvGrpSpPr>
        <p:grpSpPr>
          <a:xfrm>
            <a:off x="343218" y="2983799"/>
            <a:ext cx="1470342" cy="1470342"/>
            <a:chOff x="343218" y="2937006"/>
            <a:chExt cx="1470342" cy="1470342"/>
          </a:xfrm>
        </p:grpSpPr>
        <p:sp>
          <p:nvSpPr>
            <p:cNvPr id="5" name="Oval 4">
              <a:extLst>
                <a:ext uri="{FF2B5EF4-FFF2-40B4-BE49-F238E27FC236}">
                  <a16:creationId xmlns:a16="http://schemas.microsoft.com/office/drawing/2014/main" id="{D39349A7-CBB7-4BFF-A888-0DB50ADD215B}"/>
                </a:ext>
              </a:extLst>
            </p:cNvPr>
            <p:cNvSpPr/>
            <p:nvPr/>
          </p:nvSpPr>
          <p:spPr bwMode="auto">
            <a:xfrm>
              <a:off x="465138" y="3058929"/>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8" name="Arc 7">
              <a:extLst>
                <a:ext uri="{FF2B5EF4-FFF2-40B4-BE49-F238E27FC236}">
                  <a16:creationId xmlns:a16="http://schemas.microsoft.com/office/drawing/2014/main" id="{EEA227AB-ED81-4F79-A90E-209157F46B74}"/>
                </a:ext>
              </a:extLst>
            </p:cNvPr>
            <p:cNvSpPr/>
            <p:nvPr/>
          </p:nvSpPr>
          <p:spPr>
            <a:xfrm flipH="1">
              <a:off x="343218" y="2937006"/>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grpSp>
        <p:nvGrpSpPr>
          <p:cNvPr id="15" name="Group 14">
            <a:extLst>
              <a:ext uri="{FF2B5EF4-FFF2-40B4-BE49-F238E27FC236}">
                <a16:creationId xmlns:a16="http://schemas.microsoft.com/office/drawing/2014/main" id="{750C0238-091E-4668-8DA5-DE05FA91C23A}"/>
              </a:ext>
            </a:extLst>
          </p:cNvPr>
          <p:cNvGrpSpPr/>
          <p:nvPr/>
        </p:nvGrpSpPr>
        <p:grpSpPr>
          <a:xfrm>
            <a:off x="343218" y="4774581"/>
            <a:ext cx="1470342" cy="1470342"/>
            <a:chOff x="343218" y="4774581"/>
            <a:chExt cx="1470342" cy="1470342"/>
          </a:xfrm>
        </p:grpSpPr>
        <p:sp>
          <p:nvSpPr>
            <p:cNvPr id="6" name="Oval 5">
              <a:extLst>
                <a:ext uri="{FF2B5EF4-FFF2-40B4-BE49-F238E27FC236}">
                  <a16:creationId xmlns:a16="http://schemas.microsoft.com/office/drawing/2014/main" id="{1EE831AD-9AA2-4B06-822E-84DFF6F043AF}"/>
                </a:ext>
              </a:extLst>
            </p:cNvPr>
            <p:cNvSpPr/>
            <p:nvPr/>
          </p:nvSpPr>
          <p:spPr bwMode="auto">
            <a:xfrm>
              <a:off x="465138" y="4896504"/>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9" name="Arc 8">
              <a:extLst>
                <a:ext uri="{FF2B5EF4-FFF2-40B4-BE49-F238E27FC236}">
                  <a16:creationId xmlns:a16="http://schemas.microsoft.com/office/drawing/2014/main" id="{642188FE-4BBE-48DC-85F1-DC28B7C946DD}"/>
                </a:ext>
              </a:extLst>
            </p:cNvPr>
            <p:cNvSpPr/>
            <p:nvPr/>
          </p:nvSpPr>
          <p:spPr>
            <a:xfrm>
              <a:off x="343218" y="4774581"/>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10" name="Rectangle 9">
            <a:extLst>
              <a:ext uri="{FF2B5EF4-FFF2-40B4-BE49-F238E27FC236}">
                <a16:creationId xmlns:a16="http://schemas.microsoft.com/office/drawing/2014/main" id="{E2530E62-A2B7-4B78-A12D-33E07D80E3F3}"/>
              </a:ext>
            </a:extLst>
          </p:cNvPr>
          <p:cNvSpPr/>
          <p:nvPr/>
        </p:nvSpPr>
        <p:spPr>
          <a:xfrm>
            <a:off x="2118360" y="1204915"/>
            <a:ext cx="9852977" cy="1446550"/>
          </a:xfrm>
          <a:prstGeom prst="rect">
            <a:avLst/>
          </a:prstGeom>
        </p:spPr>
        <p:txBody>
          <a:bodyPr wrap="square">
            <a:spAutoFit/>
          </a:bodyPr>
          <a:lstStyle/>
          <a:p>
            <a:r>
              <a:rPr lang="en-US" sz="3200" dirty="0">
                <a:latin typeface="+mj-lt"/>
              </a:rPr>
              <a:t>For all services, expect RI</a:t>
            </a:r>
          </a:p>
          <a:p>
            <a:pPr marL="0" lvl="1"/>
            <a:r>
              <a:rPr lang="en-US" sz="2800" b="1" dirty="0"/>
              <a:t>15% </a:t>
            </a:r>
            <a:r>
              <a:rPr lang="en-US" sz="2400" dirty="0">
                <a:solidFill>
                  <a:schemeClr val="tx2"/>
                </a:solidFill>
                <a:latin typeface="+mj-lt"/>
              </a:rPr>
              <a:t>discount on top of </a:t>
            </a:r>
            <a:r>
              <a:rPr lang="en-US" sz="2400" dirty="0">
                <a:solidFill>
                  <a:schemeClr val="tx2"/>
                </a:solidFill>
                <a:latin typeface="+mj-lt"/>
                <a:hlinkClick r:id="rId2"/>
              </a:rPr>
              <a:t>www.azure.com</a:t>
            </a:r>
            <a:r>
              <a:rPr lang="en-US" sz="2400" dirty="0">
                <a:solidFill>
                  <a:schemeClr val="tx2"/>
                </a:solidFill>
                <a:latin typeface="+mj-lt"/>
              </a:rPr>
              <a:t> price</a:t>
            </a:r>
          </a:p>
          <a:p>
            <a:pPr marL="0" lvl="1"/>
            <a:r>
              <a:rPr lang="en-US" sz="2800" b="1" dirty="0"/>
              <a:t>8% </a:t>
            </a:r>
            <a:r>
              <a:rPr lang="en-US" sz="2400" dirty="0">
                <a:solidFill>
                  <a:schemeClr val="tx2"/>
                </a:solidFill>
                <a:latin typeface="+mj-lt"/>
              </a:rPr>
              <a:t>global consumption rebate</a:t>
            </a:r>
          </a:p>
        </p:txBody>
      </p:sp>
      <p:sp>
        <p:nvSpPr>
          <p:cNvPr id="11" name="Rectangle 10">
            <a:extLst>
              <a:ext uri="{FF2B5EF4-FFF2-40B4-BE49-F238E27FC236}">
                <a16:creationId xmlns:a16="http://schemas.microsoft.com/office/drawing/2014/main" id="{BDC45FE1-B6F4-4C8F-8FEE-5AC5945DF256}"/>
              </a:ext>
            </a:extLst>
          </p:cNvPr>
          <p:cNvSpPr/>
          <p:nvPr/>
        </p:nvSpPr>
        <p:spPr>
          <a:xfrm>
            <a:off x="2118360" y="3211140"/>
            <a:ext cx="9852977" cy="1015663"/>
          </a:xfrm>
          <a:prstGeom prst="rect">
            <a:avLst/>
          </a:prstGeom>
        </p:spPr>
        <p:txBody>
          <a:bodyPr wrap="square">
            <a:spAutoFit/>
          </a:bodyPr>
          <a:lstStyle/>
          <a:p>
            <a:r>
              <a:rPr lang="en-US" sz="3200" dirty="0">
                <a:latin typeface="+mj-lt"/>
              </a:rPr>
              <a:t>For RI</a:t>
            </a:r>
          </a:p>
          <a:p>
            <a:pPr marL="0" lvl="1"/>
            <a:r>
              <a:rPr lang="en-US" sz="2800" b="1" dirty="0"/>
              <a:t>5% </a:t>
            </a:r>
            <a:r>
              <a:rPr lang="en-US" sz="2400" dirty="0">
                <a:solidFill>
                  <a:schemeClr val="tx2"/>
                </a:solidFill>
                <a:latin typeface="+mj-lt"/>
              </a:rPr>
              <a:t>discount and </a:t>
            </a:r>
            <a:r>
              <a:rPr lang="en-US" sz="2800" b="1" dirty="0"/>
              <a:t>10%</a:t>
            </a:r>
            <a:r>
              <a:rPr lang="en-US" sz="2800" dirty="0"/>
              <a:t> </a:t>
            </a:r>
            <a:r>
              <a:rPr lang="en-US" sz="2400" dirty="0">
                <a:solidFill>
                  <a:schemeClr val="tx2"/>
                </a:solidFill>
                <a:latin typeface="+mj-lt"/>
              </a:rPr>
              <a:t>rebate on top of </a:t>
            </a:r>
            <a:r>
              <a:rPr lang="en-US" sz="2400" dirty="0">
                <a:solidFill>
                  <a:schemeClr val="tx2"/>
                </a:solidFill>
                <a:latin typeface="+mj-lt"/>
                <a:hlinkClick r:id="rId2"/>
              </a:rPr>
              <a:t>www.azure.com</a:t>
            </a:r>
            <a:r>
              <a:rPr lang="en-US" sz="2400" dirty="0">
                <a:solidFill>
                  <a:schemeClr val="tx2"/>
                </a:solidFill>
                <a:latin typeface="+mj-lt"/>
              </a:rPr>
              <a:t> RI price</a:t>
            </a:r>
            <a:endParaRPr lang="en-US" sz="2800" dirty="0">
              <a:solidFill>
                <a:schemeClr val="tx2"/>
              </a:solidFill>
              <a:latin typeface="+mj-lt"/>
            </a:endParaRPr>
          </a:p>
        </p:txBody>
      </p:sp>
      <p:sp>
        <p:nvSpPr>
          <p:cNvPr id="12" name="Rectangle 11">
            <a:extLst>
              <a:ext uri="{FF2B5EF4-FFF2-40B4-BE49-F238E27FC236}">
                <a16:creationId xmlns:a16="http://schemas.microsoft.com/office/drawing/2014/main" id="{543CDD9D-DB67-433F-8F2E-8C12DE8CF469}"/>
              </a:ext>
            </a:extLst>
          </p:cNvPr>
          <p:cNvSpPr/>
          <p:nvPr/>
        </p:nvSpPr>
        <p:spPr>
          <a:xfrm>
            <a:off x="2118360" y="4971143"/>
            <a:ext cx="9852977" cy="1077218"/>
          </a:xfrm>
          <a:prstGeom prst="rect">
            <a:avLst/>
          </a:prstGeom>
        </p:spPr>
        <p:txBody>
          <a:bodyPr wrap="square">
            <a:spAutoFit/>
          </a:bodyPr>
          <a:lstStyle/>
          <a:p>
            <a:r>
              <a:rPr lang="en-US" sz="3200" dirty="0">
                <a:latin typeface="+mj-lt"/>
              </a:rPr>
              <a:t>Also there may be additional rebates, provided by local subsidiary</a:t>
            </a:r>
          </a:p>
        </p:txBody>
      </p:sp>
      <p:sp>
        <p:nvSpPr>
          <p:cNvPr id="16" name="Freeform 533">
            <a:extLst>
              <a:ext uri="{FF2B5EF4-FFF2-40B4-BE49-F238E27FC236}">
                <a16:creationId xmlns:a16="http://schemas.microsoft.com/office/drawing/2014/main" id="{357B3602-5092-4A6D-A857-EAD3FD4EB24A}"/>
              </a:ext>
            </a:extLst>
          </p:cNvPr>
          <p:cNvSpPr/>
          <p:nvPr/>
        </p:nvSpPr>
        <p:spPr bwMode="auto">
          <a:xfrm>
            <a:off x="772720" y="1622522"/>
            <a:ext cx="611338" cy="611336"/>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8" name="Freeform 16">
            <a:extLst>
              <a:ext uri="{FF2B5EF4-FFF2-40B4-BE49-F238E27FC236}">
                <a16:creationId xmlns:a16="http://schemas.microsoft.com/office/drawing/2014/main" id="{4CA7CED8-0C77-44BF-9759-D5E23AB50D52}"/>
              </a:ext>
            </a:extLst>
          </p:cNvPr>
          <p:cNvSpPr/>
          <p:nvPr/>
        </p:nvSpPr>
        <p:spPr>
          <a:xfrm>
            <a:off x="693023" y="5187512"/>
            <a:ext cx="770732" cy="644480"/>
          </a:xfrm>
          <a:custGeom>
            <a:avLst/>
            <a:gdLst>
              <a:gd name="connsiteX0" fmla="*/ 876729 w 3338748"/>
              <a:gd name="connsiteY0" fmla="*/ 1390478 h 2791847"/>
              <a:gd name="connsiteX1" fmla="*/ 1000888 w 3338748"/>
              <a:gd name="connsiteY1" fmla="*/ 1390478 h 2791847"/>
              <a:gd name="connsiteX2" fmla="*/ 1000888 w 3338748"/>
              <a:gd name="connsiteY2" fmla="*/ 1490900 h 2791847"/>
              <a:gd name="connsiteX3" fmla="*/ 1152435 w 3338748"/>
              <a:gd name="connsiteY3" fmla="*/ 1514636 h 2791847"/>
              <a:gd name="connsiteX4" fmla="*/ 1152435 w 3338748"/>
              <a:gd name="connsiteY4" fmla="*/ 1702699 h 2791847"/>
              <a:gd name="connsiteX5" fmla="*/ 924201 w 3338748"/>
              <a:gd name="connsiteY5" fmla="*/ 1658879 h 2791847"/>
              <a:gd name="connsiteX6" fmla="*/ 916898 w 3338748"/>
              <a:gd name="connsiteY6" fmla="*/ 1735565 h 2791847"/>
              <a:gd name="connsiteX7" fmla="*/ 1185300 w 3338748"/>
              <a:gd name="connsiteY7" fmla="*/ 2018572 h 2791847"/>
              <a:gd name="connsiteX8" fmla="*/ 1002714 w 3338748"/>
              <a:gd name="connsiteY8" fmla="*/ 2215765 h 2791847"/>
              <a:gd name="connsiteX9" fmla="*/ 1002714 w 3338748"/>
              <a:gd name="connsiteY9" fmla="*/ 2332619 h 2791847"/>
              <a:gd name="connsiteX10" fmla="*/ 878555 w 3338748"/>
              <a:gd name="connsiteY10" fmla="*/ 2332619 h 2791847"/>
              <a:gd name="connsiteX11" fmla="*/ 878555 w 3338748"/>
              <a:gd name="connsiteY11" fmla="*/ 2230371 h 2791847"/>
              <a:gd name="connsiteX12" fmla="*/ 683187 w 3338748"/>
              <a:gd name="connsiteY12" fmla="*/ 2186551 h 2791847"/>
              <a:gd name="connsiteX13" fmla="*/ 683187 w 3338748"/>
              <a:gd name="connsiteY13" fmla="*/ 1991184 h 2791847"/>
              <a:gd name="connsiteX14" fmla="*/ 905943 w 3338748"/>
              <a:gd name="connsiteY14" fmla="*/ 2067870 h 2791847"/>
              <a:gd name="connsiteX15" fmla="*/ 935157 w 3338748"/>
              <a:gd name="connsiteY15" fmla="*/ 1982055 h 2791847"/>
              <a:gd name="connsiteX16" fmla="*/ 679535 w 3338748"/>
              <a:gd name="connsiteY16" fmla="*/ 1668008 h 2791847"/>
              <a:gd name="connsiteX17" fmla="*/ 878555 w 3338748"/>
              <a:gd name="connsiteY17" fmla="*/ 1498204 h 2791847"/>
              <a:gd name="connsiteX18" fmla="*/ 930298 w 3338748"/>
              <a:gd name="connsiteY18" fmla="*/ 1209872 h 2791847"/>
              <a:gd name="connsiteX19" fmla="*/ 278620 w 3338748"/>
              <a:gd name="connsiteY19" fmla="*/ 1861550 h 2791847"/>
              <a:gd name="connsiteX20" fmla="*/ 930298 w 3338748"/>
              <a:gd name="connsiteY20" fmla="*/ 2513228 h 2791847"/>
              <a:gd name="connsiteX21" fmla="*/ 1581976 w 3338748"/>
              <a:gd name="connsiteY21" fmla="*/ 1861550 h 2791847"/>
              <a:gd name="connsiteX22" fmla="*/ 930298 w 3338748"/>
              <a:gd name="connsiteY22" fmla="*/ 1209872 h 2791847"/>
              <a:gd name="connsiteX23" fmla="*/ 930298 w 3338748"/>
              <a:gd name="connsiteY23" fmla="*/ 931252 h 2791847"/>
              <a:gd name="connsiteX24" fmla="*/ 1072299 w 3338748"/>
              <a:gd name="connsiteY24" fmla="*/ 943210 h 2791847"/>
              <a:gd name="connsiteX25" fmla="*/ 1325271 w 3338748"/>
              <a:gd name="connsiteY25" fmla="*/ 1184827 h 2791847"/>
              <a:gd name="connsiteX26" fmla="*/ 1491822 w 3338748"/>
              <a:gd name="connsiteY26" fmla="*/ 1121080 h 2791847"/>
              <a:gd name="connsiteX27" fmla="*/ 1672734 w 3338748"/>
              <a:gd name="connsiteY27" fmla="*/ 1303906 h 2791847"/>
              <a:gd name="connsiteX28" fmla="*/ 1607021 w 3338748"/>
              <a:gd name="connsiteY28" fmla="*/ 1472839 h 2791847"/>
              <a:gd name="connsiteX29" fmla="*/ 1850368 w 3338748"/>
              <a:gd name="connsiteY29" fmla="*/ 1725897 h 2791847"/>
              <a:gd name="connsiteX30" fmla="*/ 1860596 w 3338748"/>
              <a:gd name="connsiteY30" fmla="*/ 1861550 h 2791847"/>
              <a:gd name="connsiteX31" fmla="*/ 1850724 w 3338748"/>
              <a:gd name="connsiteY31" fmla="*/ 1989879 h 2791847"/>
              <a:gd name="connsiteX32" fmla="*/ 1607021 w 3338748"/>
              <a:gd name="connsiteY32" fmla="*/ 2242956 h 2791847"/>
              <a:gd name="connsiteX33" fmla="*/ 1676090 w 3338748"/>
              <a:gd name="connsiteY33" fmla="*/ 2415956 h 2791847"/>
              <a:gd name="connsiteX34" fmla="*/ 1492316 w 3338748"/>
              <a:gd name="connsiteY34" fmla="*/ 2602428 h 2791847"/>
              <a:gd name="connsiteX35" fmla="*/ 1325271 w 3338748"/>
              <a:gd name="connsiteY35" fmla="*/ 2538272 h 2791847"/>
              <a:gd name="connsiteX36" fmla="*/ 1072260 w 3338748"/>
              <a:gd name="connsiteY36" fmla="*/ 2780661 h 2791847"/>
              <a:gd name="connsiteX37" fmla="*/ 930298 w 3338748"/>
              <a:gd name="connsiteY37" fmla="*/ 2791847 h 2791847"/>
              <a:gd name="connsiteX38" fmla="*/ 779885 w 3338748"/>
              <a:gd name="connsiteY38" fmla="*/ 2778605 h 2791847"/>
              <a:gd name="connsiteX39" fmla="*/ 526978 w 3338748"/>
              <a:gd name="connsiteY39" fmla="*/ 2538272 h 2791847"/>
              <a:gd name="connsiteX40" fmla="*/ 364396 w 3338748"/>
              <a:gd name="connsiteY40" fmla="*/ 2598745 h 2791847"/>
              <a:gd name="connsiteX41" fmla="*/ 179810 w 3338748"/>
              <a:gd name="connsiteY41" fmla="*/ 2408419 h 2791847"/>
              <a:gd name="connsiteX42" fmla="*/ 242660 w 3338748"/>
              <a:gd name="connsiteY42" fmla="*/ 2242956 h 2791847"/>
              <a:gd name="connsiteX43" fmla="*/ 9212 w 3338748"/>
              <a:gd name="connsiteY43" fmla="*/ 1990397 h 2791847"/>
              <a:gd name="connsiteX44" fmla="*/ 0 w 3338748"/>
              <a:gd name="connsiteY44" fmla="*/ 1861550 h 2791847"/>
              <a:gd name="connsiteX45" fmla="*/ 10309 w 3338748"/>
              <a:gd name="connsiteY45" fmla="*/ 1725342 h 2791847"/>
              <a:gd name="connsiteX46" fmla="*/ 242660 w 3338748"/>
              <a:gd name="connsiteY46" fmla="*/ 1472839 h 2791847"/>
              <a:gd name="connsiteX47" fmla="*/ 182661 w 3338748"/>
              <a:gd name="connsiteY47" fmla="*/ 1310832 h 2791847"/>
              <a:gd name="connsiteX48" fmla="*/ 364396 w 3338748"/>
              <a:gd name="connsiteY48" fmla="*/ 1124354 h 2791847"/>
              <a:gd name="connsiteX49" fmla="*/ 526978 w 3338748"/>
              <a:gd name="connsiteY49" fmla="*/ 1184827 h 2791847"/>
              <a:gd name="connsiteX50" fmla="*/ 779885 w 3338748"/>
              <a:gd name="connsiteY50" fmla="*/ 944495 h 2791847"/>
              <a:gd name="connsiteX51" fmla="*/ 930298 w 3338748"/>
              <a:gd name="connsiteY51" fmla="*/ 931252 h 2791847"/>
              <a:gd name="connsiteX52" fmla="*/ 2354881 w 3338748"/>
              <a:gd name="connsiteY52" fmla="*/ 459226 h 2791847"/>
              <a:gd name="connsiteX53" fmla="*/ 2479040 w 3338748"/>
              <a:gd name="connsiteY53" fmla="*/ 459226 h 2791847"/>
              <a:gd name="connsiteX54" fmla="*/ 2479040 w 3338748"/>
              <a:gd name="connsiteY54" fmla="*/ 559648 h 2791847"/>
              <a:gd name="connsiteX55" fmla="*/ 2630587 w 3338748"/>
              <a:gd name="connsiteY55" fmla="*/ 583384 h 2791847"/>
              <a:gd name="connsiteX56" fmla="*/ 2630587 w 3338748"/>
              <a:gd name="connsiteY56" fmla="*/ 771447 h 2791847"/>
              <a:gd name="connsiteX57" fmla="*/ 2402353 w 3338748"/>
              <a:gd name="connsiteY57" fmla="*/ 727626 h 2791847"/>
              <a:gd name="connsiteX58" fmla="*/ 2395050 w 3338748"/>
              <a:gd name="connsiteY58" fmla="*/ 804312 h 2791847"/>
              <a:gd name="connsiteX59" fmla="*/ 2663452 w 3338748"/>
              <a:gd name="connsiteY59" fmla="*/ 1087320 h 2791847"/>
              <a:gd name="connsiteX60" fmla="*/ 2480866 w 3338748"/>
              <a:gd name="connsiteY60" fmla="*/ 1284513 h 2791847"/>
              <a:gd name="connsiteX61" fmla="*/ 2480866 w 3338748"/>
              <a:gd name="connsiteY61" fmla="*/ 1401367 h 2791847"/>
              <a:gd name="connsiteX62" fmla="*/ 2356707 w 3338748"/>
              <a:gd name="connsiteY62" fmla="*/ 1401367 h 2791847"/>
              <a:gd name="connsiteX63" fmla="*/ 2356707 w 3338748"/>
              <a:gd name="connsiteY63" fmla="*/ 1299119 h 2791847"/>
              <a:gd name="connsiteX64" fmla="*/ 2161339 w 3338748"/>
              <a:gd name="connsiteY64" fmla="*/ 1255299 h 2791847"/>
              <a:gd name="connsiteX65" fmla="*/ 2161339 w 3338748"/>
              <a:gd name="connsiteY65" fmla="*/ 1059932 h 2791847"/>
              <a:gd name="connsiteX66" fmla="*/ 2384095 w 3338748"/>
              <a:gd name="connsiteY66" fmla="*/ 1136618 h 2791847"/>
              <a:gd name="connsiteX67" fmla="*/ 2413309 w 3338748"/>
              <a:gd name="connsiteY67" fmla="*/ 1050803 h 2791847"/>
              <a:gd name="connsiteX68" fmla="*/ 2157687 w 3338748"/>
              <a:gd name="connsiteY68" fmla="*/ 736756 h 2791847"/>
              <a:gd name="connsiteX69" fmla="*/ 2356707 w 3338748"/>
              <a:gd name="connsiteY69" fmla="*/ 566951 h 2791847"/>
              <a:gd name="connsiteX70" fmla="*/ 2408450 w 3338748"/>
              <a:gd name="connsiteY70" fmla="*/ 278619 h 2791847"/>
              <a:gd name="connsiteX71" fmla="*/ 1756772 w 3338748"/>
              <a:gd name="connsiteY71" fmla="*/ 930297 h 2791847"/>
              <a:gd name="connsiteX72" fmla="*/ 2408450 w 3338748"/>
              <a:gd name="connsiteY72" fmla="*/ 1581976 h 2791847"/>
              <a:gd name="connsiteX73" fmla="*/ 3060128 w 3338748"/>
              <a:gd name="connsiteY73" fmla="*/ 930297 h 2791847"/>
              <a:gd name="connsiteX74" fmla="*/ 2408450 w 3338748"/>
              <a:gd name="connsiteY74" fmla="*/ 278619 h 2791847"/>
              <a:gd name="connsiteX75" fmla="*/ 2408450 w 3338748"/>
              <a:gd name="connsiteY75" fmla="*/ 0 h 2791847"/>
              <a:gd name="connsiteX76" fmla="*/ 2550451 w 3338748"/>
              <a:gd name="connsiteY76" fmla="*/ 11958 h 2791847"/>
              <a:gd name="connsiteX77" fmla="*/ 2803423 w 3338748"/>
              <a:gd name="connsiteY77" fmla="*/ 253575 h 2791847"/>
              <a:gd name="connsiteX78" fmla="*/ 2969974 w 3338748"/>
              <a:gd name="connsiteY78" fmla="*/ 189827 h 2791847"/>
              <a:gd name="connsiteX79" fmla="*/ 3150886 w 3338748"/>
              <a:gd name="connsiteY79" fmla="*/ 372654 h 2791847"/>
              <a:gd name="connsiteX80" fmla="*/ 3085173 w 3338748"/>
              <a:gd name="connsiteY80" fmla="*/ 541586 h 2791847"/>
              <a:gd name="connsiteX81" fmla="*/ 3328520 w 3338748"/>
              <a:gd name="connsiteY81" fmla="*/ 794645 h 2791847"/>
              <a:gd name="connsiteX82" fmla="*/ 3338748 w 3338748"/>
              <a:gd name="connsiteY82" fmla="*/ 930297 h 2791847"/>
              <a:gd name="connsiteX83" fmla="*/ 3328876 w 3338748"/>
              <a:gd name="connsiteY83" fmla="*/ 1058627 h 2791847"/>
              <a:gd name="connsiteX84" fmla="*/ 3085173 w 3338748"/>
              <a:gd name="connsiteY84" fmla="*/ 1311704 h 2791847"/>
              <a:gd name="connsiteX85" fmla="*/ 3154242 w 3338748"/>
              <a:gd name="connsiteY85" fmla="*/ 1484704 h 2791847"/>
              <a:gd name="connsiteX86" fmla="*/ 2970468 w 3338748"/>
              <a:gd name="connsiteY86" fmla="*/ 1671176 h 2791847"/>
              <a:gd name="connsiteX87" fmla="*/ 2803423 w 3338748"/>
              <a:gd name="connsiteY87" fmla="*/ 1607020 h 2791847"/>
              <a:gd name="connsiteX88" fmla="*/ 2550412 w 3338748"/>
              <a:gd name="connsiteY88" fmla="*/ 1849409 h 2791847"/>
              <a:gd name="connsiteX89" fmla="*/ 2408450 w 3338748"/>
              <a:gd name="connsiteY89" fmla="*/ 1860595 h 2791847"/>
              <a:gd name="connsiteX90" fmla="*/ 2258037 w 3338748"/>
              <a:gd name="connsiteY90" fmla="*/ 1847353 h 2791847"/>
              <a:gd name="connsiteX91" fmla="*/ 2005130 w 3338748"/>
              <a:gd name="connsiteY91" fmla="*/ 1607020 h 2791847"/>
              <a:gd name="connsiteX92" fmla="*/ 1842548 w 3338748"/>
              <a:gd name="connsiteY92" fmla="*/ 1667493 h 2791847"/>
              <a:gd name="connsiteX93" fmla="*/ 1657962 w 3338748"/>
              <a:gd name="connsiteY93" fmla="*/ 1477167 h 2791847"/>
              <a:gd name="connsiteX94" fmla="*/ 1720812 w 3338748"/>
              <a:gd name="connsiteY94" fmla="*/ 1311704 h 2791847"/>
              <a:gd name="connsiteX95" fmla="*/ 1487364 w 3338748"/>
              <a:gd name="connsiteY95" fmla="*/ 1059145 h 2791847"/>
              <a:gd name="connsiteX96" fmla="*/ 1478152 w 3338748"/>
              <a:gd name="connsiteY96" fmla="*/ 930297 h 2791847"/>
              <a:gd name="connsiteX97" fmla="*/ 1488461 w 3338748"/>
              <a:gd name="connsiteY97" fmla="*/ 794090 h 2791847"/>
              <a:gd name="connsiteX98" fmla="*/ 1720812 w 3338748"/>
              <a:gd name="connsiteY98" fmla="*/ 541586 h 2791847"/>
              <a:gd name="connsiteX99" fmla="*/ 1660813 w 3338748"/>
              <a:gd name="connsiteY99" fmla="*/ 379579 h 2791847"/>
              <a:gd name="connsiteX100" fmla="*/ 1842548 w 3338748"/>
              <a:gd name="connsiteY100" fmla="*/ 193102 h 2791847"/>
              <a:gd name="connsiteX101" fmla="*/ 2005130 w 3338748"/>
              <a:gd name="connsiteY101" fmla="*/ 253575 h 2791847"/>
              <a:gd name="connsiteX102" fmla="*/ 2258037 w 3338748"/>
              <a:gd name="connsiteY102" fmla="*/ 13242 h 2791847"/>
              <a:gd name="connsiteX103" fmla="*/ 2408450 w 3338748"/>
              <a:gd name="connsiteY103" fmla="*/ 0 h 279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338748" h="2791847">
                <a:moveTo>
                  <a:pt x="876729" y="1390478"/>
                </a:moveTo>
                <a:lnTo>
                  <a:pt x="1000888" y="1390478"/>
                </a:lnTo>
                <a:lnTo>
                  <a:pt x="1000888" y="1490900"/>
                </a:lnTo>
                <a:cubicBezTo>
                  <a:pt x="1058707" y="1492422"/>
                  <a:pt x="1101919" y="1500334"/>
                  <a:pt x="1152435" y="1514636"/>
                </a:cubicBezTo>
                <a:lnTo>
                  <a:pt x="1152435" y="1702699"/>
                </a:lnTo>
                <a:cubicBezTo>
                  <a:pt x="1066315" y="1657053"/>
                  <a:pt x="959197" y="1636056"/>
                  <a:pt x="924201" y="1658879"/>
                </a:cubicBezTo>
                <a:cubicBezTo>
                  <a:pt x="889814" y="1672573"/>
                  <a:pt x="892857" y="1719132"/>
                  <a:pt x="916898" y="1735565"/>
                </a:cubicBezTo>
                <a:cubicBezTo>
                  <a:pt x="947025" y="1777864"/>
                  <a:pt x="1209036" y="1819250"/>
                  <a:pt x="1185300" y="2018572"/>
                </a:cubicBezTo>
                <a:cubicBezTo>
                  <a:pt x="1173736" y="2157337"/>
                  <a:pt x="1050795" y="2202071"/>
                  <a:pt x="1002714" y="2215765"/>
                </a:cubicBezTo>
                <a:lnTo>
                  <a:pt x="1002714" y="2332619"/>
                </a:lnTo>
                <a:lnTo>
                  <a:pt x="878555" y="2332619"/>
                </a:lnTo>
                <a:lnTo>
                  <a:pt x="878555" y="2230371"/>
                </a:lnTo>
                <a:cubicBezTo>
                  <a:pt x="805216" y="2228546"/>
                  <a:pt x="716357" y="2208461"/>
                  <a:pt x="683187" y="2186551"/>
                </a:cubicBezTo>
                <a:lnTo>
                  <a:pt x="683187" y="1991184"/>
                </a:lnTo>
                <a:cubicBezTo>
                  <a:pt x="751049" y="2049612"/>
                  <a:pt x="850863" y="2073348"/>
                  <a:pt x="905943" y="2067870"/>
                </a:cubicBezTo>
                <a:cubicBezTo>
                  <a:pt x="959502" y="2062089"/>
                  <a:pt x="961023" y="2004270"/>
                  <a:pt x="935157" y="1982055"/>
                </a:cubicBezTo>
                <a:cubicBezTo>
                  <a:pt x="899248" y="1931235"/>
                  <a:pt x="631454" y="1913281"/>
                  <a:pt x="679535" y="1668008"/>
                </a:cubicBezTo>
                <a:cubicBezTo>
                  <a:pt x="701141" y="1542937"/>
                  <a:pt x="826822" y="1502768"/>
                  <a:pt x="878555" y="1498204"/>
                </a:cubicBezTo>
                <a:close/>
                <a:moveTo>
                  <a:pt x="930298" y="1209872"/>
                </a:moveTo>
                <a:cubicBezTo>
                  <a:pt x="570386" y="1209872"/>
                  <a:pt x="278620" y="1501638"/>
                  <a:pt x="278620" y="1861550"/>
                </a:cubicBezTo>
                <a:cubicBezTo>
                  <a:pt x="278620" y="2221462"/>
                  <a:pt x="570386" y="2513228"/>
                  <a:pt x="930298" y="2513228"/>
                </a:cubicBezTo>
                <a:cubicBezTo>
                  <a:pt x="1290210" y="2513228"/>
                  <a:pt x="1581976" y="2221462"/>
                  <a:pt x="1581976" y="1861550"/>
                </a:cubicBezTo>
                <a:cubicBezTo>
                  <a:pt x="1581976" y="1501638"/>
                  <a:pt x="1290210" y="1209872"/>
                  <a:pt x="930298" y="1209872"/>
                </a:cubicBezTo>
                <a:close/>
                <a:moveTo>
                  <a:pt x="930298" y="931252"/>
                </a:moveTo>
                <a:cubicBezTo>
                  <a:pt x="978641" y="931252"/>
                  <a:pt x="1026123" y="934940"/>
                  <a:pt x="1072299" y="943210"/>
                </a:cubicBezTo>
                <a:cubicBezTo>
                  <a:pt x="1078225" y="1077712"/>
                  <a:pt x="1189239" y="1184827"/>
                  <a:pt x="1325271" y="1184827"/>
                </a:cubicBezTo>
                <a:cubicBezTo>
                  <a:pt x="1389346" y="1184827"/>
                  <a:pt x="1447870" y="1161062"/>
                  <a:pt x="1491822" y="1121080"/>
                </a:cubicBezTo>
                <a:cubicBezTo>
                  <a:pt x="1560665" y="1172964"/>
                  <a:pt x="1621985" y="1234245"/>
                  <a:pt x="1672734" y="1303906"/>
                </a:cubicBezTo>
                <a:cubicBezTo>
                  <a:pt x="1631620" y="1348206"/>
                  <a:pt x="1607021" y="1407650"/>
                  <a:pt x="1607021" y="1472839"/>
                </a:cubicBezTo>
                <a:cubicBezTo>
                  <a:pt x="1607021" y="1609454"/>
                  <a:pt x="1715058" y="1720837"/>
                  <a:pt x="1850368" y="1725897"/>
                </a:cubicBezTo>
                <a:cubicBezTo>
                  <a:pt x="1857243" y="1770137"/>
                  <a:pt x="1860596" y="1815452"/>
                  <a:pt x="1860596" y="1861550"/>
                </a:cubicBezTo>
                <a:cubicBezTo>
                  <a:pt x="1860596" y="1905141"/>
                  <a:pt x="1857598" y="1948032"/>
                  <a:pt x="1850724" y="1989879"/>
                </a:cubicBezTo>
                <a:cubicBezTo>
                  <a:pt x="1715248" y="1994762"/>
                  <a:pt x="1607021" y="2106220"/>
                  <a:pt x="1607021" y="2242956"/>
                </a:cubicBezTo>
                <a:cubicBezTo>
                  <a:pt x="1607021" y="2310045"/>
                  <a:pt x="1633075" y="2371048"/>
                  <a:pt x="1676090" y="2415956"/>
                </a:cubicBezTo>
                <a:cubicBezTo>
                  <a:pt x="1623970" y="2486508"/>
                  <a:pt x="1562059" y="2549342"/>
                  <a:pt x="1492316" y="2602428"/>
                </a:cubicBezTo>
                <a:cubicBezTo>
                  <a:pt x="1448293" y="2562210"/>
                  <a:pt x="1389577" y="2538272"/>
                  <a:pt x="1325271" y="2538272"/>
                </a:cubicBezTo>
                <a:cubicBezTo>
                  <a:pt x="1188978" y="2538272"/>
                  <a:pt x="1077799" y="2645798"/>
                  <a:pt x="1072260" y="2780661"/>
                </a:cubicBezTo>
                <a:cubicBezTo>
                  <a:pt x="1026020" y="2788168"/>
                  <a:pt x="978589" y="2791847"/>
                  <a:pt x="930298" y="2791847"/>
                </a:cubicBezTo>
                <a:cubicBezTo>
                  <a:pt x="879025" y="2791847"/>
                  <a:pt x="828721" y="2787699"/>
                  <a:pt x="779885" y="2778605"/>
                </a:cubicBezTo>
                <a:cubicBezTo>
                  <a:pt x="773316" y="2644706"/>
                  <a:pt x="662576" y="2538272"/>
                  <a:pt x="526978" y="2538272"/>
                </a:cubicBezTo>
                <a:cubicBezTo>
                  <a:pt x="464760" y="2538272"/>
                  <a:pt x="407776" y="2560680"/>
                  <a:pt x="364396" y="2598745"/>
                </a:cubicBezTo>
                <a:cubicBezTo>
                  <a:pt x="293756" y="2544835"/>
                  <a:pt x="231152" y="2480984"/>
                  <a:pt x="179810" y="2408419"/>
                </a:cubicBezTo>
                <a:cubicBezTo>
                  <a:pt x="219271" y="2364626"/>
                  <a:pt x="242660" y="2306522"/>
                  <a:pt x="242660" y="2242956"/>
                </a:cubicBezTo>
                <a:cubicBezTo>
                  <a:pt x="242660" y="2109691"/>
                  <a:pt x="139858" y="2000436"/>
                  <a:pt x="9212" y="1990397"/>
                </a:cubicBezTo>
                <a:cubicBezTo>
                  <a:pt x="3018" y="1948318"/>
                  <a:pt x="0" y="1905286"/>
                  <a:pt x="0" y="1861550"/>
                </a:cubicBezTo>
                <a:cubicBezTo>
                  <a:pt x="0" y="1815259"/>
                  <a:pt x="3381" y="1769758"/>
                  <a:pt x="10309" y="1725342"/>
                </a:cubicBezTo>
                <a:cubicBezTo>
                  <a:pt x="140432" y="1714747"/>
                  <a:pt x="242660" y="1605731"/>
                  <a:pt x="242660" y="1472839"/>
                </a:cubicBezTo>
                <a:cubicBezTo>
                  <a:pt x="242660" y="1410890"/>
                  <a:pt x="220446" y="1354129"/>
                  <a:pt x="182661" y="1310832"/>
                </a:cubicBezTo>
                <a:cubicBezTo>
                  <a:pt x="233408" y="1239821"/>
                  <a:pt x="295027" y="1177295"/>
                  <a:pt x="364396" y="1124354"/>
                </a:cubicBezTo>
                <a:cubicBezTo>
                  <a:pt x="407776" y="1162420"/>
                  <a:pt x="464760" y="1184827"/>
                  <a:pt x="526978" y="1184827"/>
                </a:cubicBezTo>
                <a:cubicBezTo>
                  <a:pt x="662576" y="1184827"/>
                  <a:pt x="773316" y="1078394"/>
                  <a:pt x="779885" y="944495"/>
                </a:cubicBezTo>
                <a:cubicBezTo>
                  <a:pt x="828721" y="935400"/>
                  <a:pt x="879025" y="931252"/>
                  <a:pt x="930298" y="931252"/>
                </a:cubicBezTo>
                <a:close/>
                <a:moveTo>
                  <a:pt x="2354881" y="459226"/>
                </a:moveTo>
                <a:lnTo>
                  <a:pt x="2479040" y="459226"/>
                </a:lnTo>
                <a:lnTo>
                  <a:pt x="2479040" y="559648"/>
                </a:lnTo>
                <a:cubicBezTo>
                  <a:pt x="2536859" y="561169"/>
                  <a:pt x="2580071" y="569081"/>
                  <a:pt x="2630587" y="583384"/>
                </a:cubicBezTo>
                <a:lnTo>
                  <a:pt x="2630587" y="771447"/>
                </a:lnTo>
                <a:cubicBezTo>
                  <a:pt x="2544467" y="725801"/>
                  <a:pt x="2437349" y="704803"/>
                  <a:pt x="2402353" y="727626"/>
                </a:cubicBezTo>
                <a:cubicBezTo>
                  <a:pt x="2367966" y="741320"/>
                  <a:pt x="2371009" y="787880"/>
                  <a:pt x="2395050" y="804312"/>
                </a:cubicBezTo>
                <a:cubicBezTo>
                  <a:pt x="2425177" y="846611"/>
                  <a:pt x="2687188" y="887997"/>
                  <a:pt x="2663452" y="1087320"/>
                </a:cubicBezTo>
                <a:cubicBezTo>
                  <a:pt x="2651888" y="1226085"/>
                  <a:pt x="2528947" y="1270819"/>
                  <a:pt x="2480866" y="1284513"/>
                </a:cubicBezTo>
                <a:lnTo>
                  <a:pt x="2480866" y="1401367"/>
                </a:lnTo>
                <a:lnTo>
                  <a:pt x="2356707" y="1401367"/>
                </a:lnTo>
                <a:lnTo>
                  <a:pt x="2356707" y="1299119"/>
                </a:lnTo>
                <a:cubicBezTo>
                  <a:pt x="2283368" y="1297294"/>
                  <a:pt x="2194509" y="1277209"/>
                  <a:pt x="2161339" y="1255299"/>
                </a:cubicBezTo>
                <a:lnTo>
                  <a:pt x="2161339" y="1059932"/>
                </a:lnTo>
                <a:cubicBezTo>
                  <a:pt x="2229201" y="1118360"/>
                  <a:pt x="2329015" y="1142096"/>
                  <a:pt x="2384095" y="1136618"/>
                </a:cubicBezTo>
                <a:cubicBezTo>
                  <a:pt x="2437654" y="1130837"/>
                  <a:pt x="2439175" y="1073018"/>
                  <a:pt x="2413309" y="1050803"/>
                </a:cubicBezTo>
                <a:cubicBezTo>
                  <a:pt x="2377400" y="999983"/>
                  <a:pt x="2109606" y="982029"/>
                  <a:pt x="2157687" y="736756"/>
                </a:cubicBezTo>
                <a:cubicBezTo>
                  <a:pt x="2179293" y="611685"/>
                  <a:pt x="2304974" y="571516"/>
                  <a:pt x="2356707" y="566951"/>
                </a:cubicBezTo>
                <a:close/>
                <a:moveTo>
                  <a:pt x="2408450" y="278619"/>
                </a:moveTo>
                <a:cubicBezTo>
                  <a:pt x="2048538" y="278619"/>
                  <a:pt x="1756772" y="570385"/>
                  <a:pt x="1756772" y="930297"/>
                </a:cubicBezTo>
                <a:cubicBezTo>
                  <a:pt x="1756772" y="1290210"/>
                  <a:pt x="2048538" y="1581976"/>
                  <a:pt x="2408450" y="1581976"/>
                </a:cubicBezTo>
                <a:cubicBezTo>
                  <a:pt x="2768362" y="1581976"/>
                  <a:pt x="3060128" y="1290210"/>
                  <a:pt x="3060128" y="930297"/>
                </a:cubicBezTo>
                <a:cubicBezTo>
                  <a:pt x="3060128" y="570385"/>
                  <a:pt x="2768362" y="278619"/>
                  <a:pt x="2408450" y="278619"/>
                </a:cubicBezTo>
                <a:close/>
                <a:moveTo>
                  <a:pt x="2408450" y="0"/>
                </a:moveTo>
                <a:cubicBezTo>
                  <a:pt x="2456793" y="0"/>
                  <a:pt x="2504275" y="3687"/>
                  <a:pt x="2550451" y="11958"/>
                </a:cubicBezTo>
                <a:cubicBezTo>
                  <a:pt x="2556377" y="146460"/>
                  <a:pt x="2667391" y="253575"/>
                  <a:pt x="2803423" y="253575"/>
                </a:cubicBezTo>
                <a:cubicBezTo>
                  <a:pt x="2867498" y="253575"/>
                  <a:pt x="2926022" y="229809"/>
                  <a:pt x="2969974" y="189827"/>
                </a:cubicBezTo>
                <a:cubicBezTo>
                  <a:pt x="3038817" y="241712"/>
                  <a:pt x="3100137" y="302992"/>
                  <a:pt x="3150886" y="372654"/>
                </a:cubicBezTo>
                <a:cubicBezTo>
                  <a:pt x="3109772" y="416954"/>
                  <a:pt x="3085173" y="476397"/>
                  <a:pt x="3085173" y="541586"/>
                </a:cubicBezTo>
                <a:cubicBezTo>
                  <a:pt x="3085173" y="678202"/>
                  <a:pt x="3193210" y="789585"/>
                  <a:pt x="3328520" y="794645"/>
                </a:cubicBezTo>
                <a:cubicBezTo>
                  <a:pt x="3335395" y="838885"/>
                  <a:pt x="3338748" y="884199"/>
                  <a:pt x="3338748" y="930297"/>
                </a:cubicBezTo>
                <a:cubicBezTo>
                  <a:pt x="3338748" y="973889"/>
                  <a:pt x="3335750" y="1016780"/>
                  <a:pt x="3328876" y="1058627"/>
                </a:cubicBezTo>
                <a:cubicBezTo>
                  <a:pt x="3193400" y="1063510"/>
                  <a:pt x="3085173" y="1174968"/>
                  <a:pt x="3085173" y="1311704"/>
                </a:cubicBezTo>
                <a:cubicBezTo>
                  <a:pt x="3085173" y="1378793"/>
                  <a:pt x="3111227" y="1439796"/>
                  <a:pt x="3154242" y="1484704"/>
                </a:cubicBezTo>
                <a:cubicBezTo>
                  <a:pt x="3102122" y="1555256"/>
                  <a:pt x="3040211" y="1618090"/>
                  <a:pt x="2970468" y="1671176"/>
                </a:cubicBezTo>
                <a:cubicBezTo>
                  <a:pt x="2926445" y="1630958"/>
                  <a:pt x="2867729" y="1607020"/>
                  <a:pt x="2803423" y="1607020"/>
                </a:cubicBezTo>
                <a:cubicBezTo>
                  <a:pt x="2667130" y="1607020"/>
                  <a:pt x="2555951" y="1714546"/>
                  <a:pt x="2550412" y="1849409"/>
                </a:cubicBezTo>
                <a:cubicBezTo>
                  <a:pt x="2504172" y="1856916"/>
                  <a:pt x="2456741" y="1860595"/>
                  <a:pt x="2408450" y="1860595"/>
                </a:cubicBezTo>
                <a:cubicBezTo>
                  <a:pt x="2357177" y="1860595"/>
                  <a:pt x="2306873" y="1856447"/>
                  <a:pt x="2258037" y="1847353"/>
                </a:cubicBezTo>
                <a:cubicBezTo>
                  <a:pt x="2251468" y="1713454"/>
                  <a:pt x="2140728" y="1607020"/>
                  <a:pt x="2005130" y="1607020"/>
                </a:cubicBezTo>
                <a:cubicBezTo>
                  <a:pt x="1942912" y="1607020"/>
                  <a:pt x="1885928" y="1629428"/>
                  <a:pt x="1842548" y="1667493"/>
                </a:cubicBezTo>
                <a:cubicBezTo>
                  <a:pt x="1771908" y="1613583"/>
                  <a:pt x="1709304" y="1549732"/>
                  <a:pt x="1657962" y="1477167"/>
                </a:cubicBezTo>
                <a:cubicBezTo>
                  <a:pt x="1697423" y="1433374"/>
                  <a:pt x="1720812" y="1375270"/>
                  <a:pt x="1720812" y="1311704"/>
                </a:cubicBezTo>
                <a:cubicBezTo>
                  <a:pt x="1720812" y="1178439"/>
                  <a:pt x="1618010" y="1069184"/>
                  <a:pt x="1487364" y="1059145"/>
                </a:cubicBezTo>
                <a:cubicBezTo>
                  <a:pt x="1481170" y="1017066"/>
                  <a:pt x="1478152" y="974034"/>
                  <a:pt x="1478152" y="930297"/>
                </a:cubicBezTo>
                <a:cubicBezTo>
                  <a:pt x="1478152" y="884007"/>
                  <a:pt x="1481533" y="838506"/>
                  <a:pt x="1488461" y="794090"/>
                </a:cubicBezTo>
                <a:cubicBezTo>
                  <a:pt x="1618584" y="783495"/>
                  <a:pt x="1720812" y="674479"/>
                  <a:pt x="1720812" y="541586"/>
                </a:cubicBezTo>
                <a:cubicBezTo>
                  <a:pt x="1720812" y="479637"/>
                  <a:pt x="1698598" y="422877"/>
                  <a:pt x="1660813" y="379579"/>
                </a:cubicBezTo>
                <a:cubicBezTo>
                  <a:pt x="1711560" y="308568"/>
                  <a:pt x="1773179" y="246042"/>
                  <a:pt x="1842548" y="193102"/>
                </a:cubicBezTo>
                <a:cubicBezTo>
                  <a:pt x="1885928" y="231167"/>
                  <a:pt x="1942912" y="253575"/>
                  <a:pt x="2005130" y="253575"/>
                </a:cubicBezTo>
                <a:cubicBezTo>
                  <a:pt x="2140728" y="253575"/>
                  <a:pt x="2251468" y="147142"/>
                  <a:pt x="2258037" y="13242"/>
                </a:cubicBezTo>
                <a:cubicBezTo>
                  <a:pt x="2306873" y="4148"/>
                  <a:pt x="2357177" y="0"/>
                  <a:pt x="2408450" y="0"/>
                </a:cubicBezTo>
                <a:close/>
              </a:path>
            </a:pathLst>
          </a:custGeom>
          <a:solidFill>
            <a:schemeClr val="bg1"/>
          </a:solidFill>
          <a:ln w="9525">
            <a:noFill/>
            <a:round/>
            <a:headEnd/>
            <a:tailEnd/>
          </a:ln>
          <a:effectLst/>
        </p:spPr>
        <p:txBody>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err="1">
              <a:ln>
                <a:solidFill>
                  <a:schemeClr val="tx1">
                    <a:alpha val="0"/>
                  </a:schemeClr>
                </a:solidFill>
              </a:ln>
              <a:solidFill>
                <a:schemeClr val="tx1"/>
              </a:solidFill>
            </a:endParaRPr>
          </a:p>
        </p:txBody>
      </p:sp>
      <p:sp>
        <p:nvSpPr>
          <p:cNvPr id="39" name="Oval 2">
            <a:extLst>
              <a:ext uri="{FF2B5EF4-FFF2-40B4-BE49-F238E27FC236}">
                <a16:creationId xmlns:a16="http://schemas.microsoft.com/office/drawing/2014/main" id="{35DA55BB-FAAC-4233-A13E-5B17531B24FF}"/>
              </a:ext>
            </a:extLst>
          </p:cNvPr>
          <p:cNvSpPr/>
          <p:nvPr/>
        </p:nvSpPr>
        <p:spPr bwMode="auto">
          <a:xfrm>
            <a:off x="653848" y="3495040"/>
            <a:ext cx="815364" cy="447862"/>
          </a:xfrm>
          <a:custGeom>
            <a:avLst/>
            <a:gdLst/>
            <a:ahLst/>
            <a:cxnLst/>
            <a:rect l="l" t="t" r="r" b="b"/>
            <a:pathLst>
              <a:path w="2916170" h="1601789">
                <a:moveTo>
                  <a:pt x="935901" y="596279"/>
                </a:moveTo>
                <a:lnTo>
                  <a:pt x="921424" y="616624"/>
                </a:lnTo>
                <a:cubicBezTo>
                  <a:pt x="448624" y="686731"/>
                  <a:pt x="118348" y="847913"/>
                  <a:pt x="118348" y="1035441"/>
                </a:cubicBezTo>
                <a:cubicBezTo>
                  <a:pt x="118348" y="1288161"/>
                  <a:pt x="718169" y="1493031"/>
                  <a:pt x="1458085" y="1493031"/>
                </a:cubicBezTo>
                <a:cubicBezTo>
                  <a:pt x="2198001" y="1493031"/>
                  <a:pt x="2797822" y="1288161"/>
                  <a:pt x="2797822" y="1035441"/>
                </a:cubicBezTo>
                <a:cubicBezTo>
                  <a:pt x="2797822" y="847913"/>
                  <a:pt x="2467547" y="686732"/>
                  <a:pt x="1994748" y="616624"/>
                </a:cubicBezTo>
                <a:lnTo>
                  <a:pt x="1980272" y="596279"/>
                </a:lnTo>
                <a:cubicBezTo>
                  <a:pt x="2527717" y="669822"/>
                  <a:pt x="2916170" y="859255"/>
                  <a:pt x="2916170" y="1081089"/>
                </a:cubicBezTo>
                <a:cubicBezTo>
                  <a:pt x="2916170" y="1368664"/>
                  <a:pt x="2263363" y="1601789"/>
                  <a:pt x="1458085" y="1601789"/>
                </a:cubicBezTo>
                <a:cubicBezTo>
                  <a:pt x="652807" y="1601789"/>
                  <a:pt x="0" y="1368664"/>
                  <a:pt x="0" y="1081089"/>
                </a:cubicBezTo>
                <a:cubicBezTo>
                  <a:pt x="0" y="859255"/>
                  <a:pt x="388454" y="669821"/>
                  <a:pt x="935901" y="596279"/>
                </a:cubicBezTo>
                <a:close/>
                <a:moveTo>
                  <a:pt x="1418426" y="376890"/>
                </a:moveTo>
                <a:lnTo>
                  <a:pt x="1419778" y="456646"/>
                </a:lnTo>
                <a:cubicBezTo>
                  <a:pt x="1381477" y="460026"/>
                  <a:pt x="1288428" y="489765"/>
                  <a:pt x="1272431" y="582364"/>
                </a:cubicBezTo>
                <a:cubicBezTo>
                  <a:pt x="1236834" y="763955"/>
                  <a:pt x="1435098" y="777248"/>
                  <a:pt x="1461684" y="814873"/>
                </a:cubicBezTo>
                <a:cubicBezTo>
                  <a:pt x="1480834" y="831320"/>
                  <a:pt x="1479708" y="874127"/>
                  <a:pt x="1440055" y="878407"/>
                </a:cubicBezTo>
                <a:cubicBezTo>
                  <a:pt x="1399276" y="882463"/>
                  <a:pt x="1325377" y="864889"/>
                  <a:pt x="1275135" y="821632"/>
                </a:cubicBezTo>
                <a:lnTo>
                  <a:pt x="1275135" y="966274"/>
                </a:lnTo>
                <a:cubicBezTo>
                  <a:pt x="1299693" y="982496"/>
                  <a:pt x="1365480" y="997366"/>
                  <a:pt x="1419778" y="998717"/>
                </a:cubicBezTo>
                <a:lnTo>
                  <a:pt x="1419778" y="1074418"/>
                </a:lnTo>
                <a:lnTo>
                  <a:pt x="1511700" y="1074418"/>
                </a:lnTo>
                <a:lnTo>
                  <a:pt x="1511700" y="987903"/>
                </a:lnTo>
                <a:cubicBezTo>
                  <a:pt x="1547298" y="977765"/>
                  <a:pt x="1638319" y="944646"/>
                  <a:pt x="1646880" y="841909"/>
                </a:cubicBezTo>
                <a:cubicBezTo>
                  <a:pt x="1664454" y="694337"/>
                  <a:pt x="1470470" y="663697"/>
                  <a:pt x="1448166" y="632380"/>
                </a:cubicBezTo>
                <a:cubicBezTo>
                  <a:pt x="1430367" y="620214"/>
                  <a:pt x="1428114" y="585743"/>
                  <a:pt x="1453573" y="575605"/>
                </a:cubicBezTo>
                <a:cubicBezTo>
                  <a:pt x="1479482" y="558707"/>
                  <a:pt x="1558788" y="574253"/>
                  <a:pt x="1622548" y="608048"/>
                </a:cubicBezTo>
                <a:lnTo>
                  <a:pt x="1622548" y="468812"/>
                </a:lnTo>
                <a:cubicBezTo>
                  <a:pt x="1585148" y="458223"/>
                  <a:pt x="1553155" y="452366"/>
                  <a:pt x="1510348" y="451239"/>
                </a:cubicBezTo>
                <a:lnTo>
                  <a:pt x="1510348" y="376890"/>
                </a:lnTo>
                <a:close/>
                <a:moveTo>
                  <a:pt x="1458086" y="0"/>
                </a:moveTo>
                <a:lnTo>
                  <a:pt x="1934336" y="233365"/>
                </a:lnTo>
                <a:lnTo>
                  <a:pt x="1653268" y="233365"/>
                </a:lnTo>
                <a:lnTo>
                  <a:pt x="2321184" y="1172055"/>
                </a:lnTo>
                <a:cubicBezTo>
                  <a:pt x="2076202" y="1236939"/>
                  <a:pt x="1778757" y="1274761"/>
                  <a:pt x="1458086" y="1274761"/>
                </a:cubicBezTo>
                <a:cubicBezTo>
                  <a:pt x="1137416" y="1274761"/>
                  <a:pt x="839970" y="1236939"/>
                  <a:pt x="594988" y="1172055"/>
                </a:cubicBezTo>
                <a:lnTo>
                  <a:pt x="1262904" y="233365"/>
                </a:lnTo>
                <a:lnTo>
                  <a:pt x="981836" y="23336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59BDFEF2-C8AD-4815-91E9-1B560D76B574}"/>
              </a:ext>
            </a:extLst>
          </p:cNvPr>
          <p:cNvCxnSpPr/>
          <p:nvPr/>
        </p:nvCxnSpPr>
        <p:spPr>
          <a:xfrm>
            <a:off x="2240280" y="2823580"/>
            <a:ext cx="958596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F369B55-9C95-4828-9758-7EC2FEC9CAED}"/>
              </a:ext>
            </a:extLst>
          </p:cNvPr>
          <p:cNvCxnSpPr/>
          <p:nvPr/>
        </p:nvCxnSpPr>
        <p:spPr>
          <a:xfrm>
            <a:off x="2240280" y="4614361"/>
            <a:ext cx="958596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5249850"/>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020EC-C7F5-4246-882E-3EB29CAD112E}"/>
              </a:ext>
            </a:extLst>
          </p:cNvPr>
          <p:cNvSpPr>
            <a:spLocks noGrp="1"/>
          </p:cNvSpPr>
          <p:nvPr>
            <p:ph type="title"/>
          </p:nvPr>
        </p:nvSpPr>
        <p:spPr/>
        <p:txBody>
          <a:bodyPr/>
          <a:lstStyle/>
          <a:p>
            <a:r>
              <a:rPr lang="en-US" dirty="0"/>
              <a:t>SQL Azure Data Sync (v2)</a:t>
            </a:r>
            <a:br>
              <a:rPr lang="en-US" dirty="0"/>
            </a:br>
            <a:r>
              <a:rPr lang="en-US" sz="3200" dirty="0"/>
              <a:t>Keep data up-to-date across all SQL databases Distributed Applications</a:t>
            </a:r>
          </a:p>
        </p:txBody>
      </p:sp>
      <p:sp>
        <p:nvSpPr>
          <p:cNvPr id="4" name="Rectangle 3">
            <a:extLst>
              <a:ext uri="{FF2B5EF4-FFF2-40B4-BE49-F238E27FC236}">
                <a16:creationId xmlns:a16="http://schemas.microsoft.com/office/drawing/2014/main" id="{3B953DBC-DBEF-4EFF-8B45-29D000993F35}"/>
              </a:ext>
            </a:extLst>
          </p:cNvPr>
          <p:cNvSpPr/>
          <p:nvPr/>
        </p:nvSpPr>
        <p:spPr bwMode="auto">
          <a:xfrm>
            <a:off x="11006136" y="0"/>
            <a:ext cx="1430339" cy="553161"/>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400" b="1" kern="0" dirty="0">
                <a:solidFill>
                  <a:schemeClr val="bg1"/>
                </a:solidFill>
                <a:ea typeface="Segoe UI" pitchFamily="34" charset="0"/>
                <a:cs typeface="Segoe UI" pitchFamily="34" charset="0"/>
              </a:rPr>
              <a:t>Public Preview</a:t>
            </a:r>
          </a:p>
        </p:txBody>
      </p:sp>
      <p:sp>
        <p:nvSpPr>
          <p:cNvPr id="5" name="Rectangle 4">
            <a:extLst>
              <a:ext uri="{FF2B5EF4-FFF2-40B4-BE49-F238E27FC236}">
                <a16:creationId xmlns:a16="http://schemas.microsoft.com/office/drawing/2014/main" id="{7DAA7FE6-2E73-4890-BC50-1AA95294873C}"/>
              </a:ext>
            </a:extLst>
          </p:cNvPr>
          <p:cNvSpPr/>
          <p:nvPr/>
        </p:nvSpPr>
        <p:spPr bwMode="auto">
          <a:xfrm>
            <a:off x="5347504" y="1570102"/>
            <a:ext cx="6620803" cy="4970998"/>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defRPr/>
            </a:pPr>
            <a:endParaRPr lang="en-US" sz="1600" dirty="0">
              <a:solidFill>
                <a:schemeClr val="tx2"/>
              </a:solidFill>
              <a:ea typeface="Segoe UI" pitchFamily="34" charset="0"/>
              <a:cs typeface="Segoe UI" pitchFamily="34" charset="0"/>
            </a:endParaRPr>
          </a:p>
        </p:txBody>
      </p:sp>
      <p:pic>
        <p:nvPicPr>
          <p:cNvPr id="121" name="Picture 120">
            <a:extLst>
              <a:ext uri="{FF2B5EF4-FFF2-40B4-BE49-F238E27FC236}">
                <a16:creationId xmlns:a16="http://schemas.microsoft.com/office/drawing/2014/main" id="{4CA1F246-2337-4C59-BF13-C597BEABCF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4753" y="1668878"/>
            <a:ext cx="5846305" cy="4773446"/>
          </a:xfrm>
          <a:prstGeom prst="rect">
            <a:avLst/>
          </a:prstGeom>
        </p:spPr>
      </p:pic>
      <p:sp>
        <p:nvSpPr>
          <p:cNvPr id="118" name="Rectangle 117">
            <a:extLst>
              <a:ext uri="{FF2B5EF4-FFF2-40B4-BE49-F238E27FC236}">
                <a16:creationId xmlns:a16="http://schemas.microsoft.com/office/drawing/2014/main" id="{D61404CD-652D-46C9-BC04-05E2FDD9C1F1}"/>
              </a:ext>
            </a:extLst>
          </p:cNvPr>
          <p:cNvSpPr/>
          <p:nvPr/>
        </p:nvSpPr>
        <p:spPr bwMode="auto">
          <a:xfrm>
            <a:off x="462987" y="1570102"/>
            <a:ext cx="4745621" cy="72089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US" b="1" kern="0" dirty="0">
                <a:solidFill>
                  <a:schemeClr val="accent1"/>
                </a:solidFill>
                <a:cs typeface="Segoe UI Semibold" charset="0"/>
              </a:rPr>
              <a:t>All SQL databases </a:t>
            </a:r>
            <a:r>
              <a:rPr lang="en-US" sz="1400" kern="0" dirty="0">
                <a:solidFill>
                  <a:schemeClr val="tx2"/>
                </a:solidFill>
                <a:cs typeface="Segoe UI Semilight" panose="020B0402040204020203" pitchFamily="34" charset="0"/>
              </a:rPr>
              <a:t>supported (SQL Server, SQL IaaS &amp; Azure SQL Database)</a:t>
            </a:r>
          </a:p>
        </p:txBody>
      </p:sp>
      <p:sp>
        <p:nvSpPr>
          <p:cNvPr id="119" name="Rectangle 118">
            <a:extLst>
              <a:ext uri="{FF2B5EF4-FFF2-40B4-BE49-F238E27FC236}">
                <a16:creationId xmlns:a16="http://schemas.microsoft.com/office/drawing/2014/main" id="{90B2B060-40F8-4AF1-80D6-97C12F56F031}"/>
              </a:ext>
            </a:extLst>
          </p:cNvPr>
          <p:cNvSpPr/>
          <p:nvPr/>
        </p:nvSpPr>
        <p:spPr bwMode="auto">
          <a:xfrm>
            <a:off x="462987" y="2420123"/>
            <a:ext cx="4745621" cy="72089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US" b="1" kern="0">
                <a:solidFill>
                  <a:schemeClr val="accent1"/>
                </a:solidFill>
                <a:cs typeface="Segoe UI Semibold" charset="0"/>
              </a:rPr>
              <a:t>Zero code </a:t>
            </a:r>
            <a:r>
              <a:rPr lang="en-US" sz="1400" kern="0">
                <a:solidFill>
                  <a:schemeClr val="tx2"/>
                </a:solidFill>
                <a:cs typeface="Segoe UI Semilight" panose="020B0402040204020203" pitchFamily="34" charset="0"/>
              </a:rPr>
              <a:t>required to enable data synchronization among SQL databases</a:t>
            </a:r>
            <a:endParaRPr lang="en-US" sz="1400" kern="0" dirty="0">
              <a:solidFill>
                <a:schemeClr val="tx2"/>
              </a:solidFill>
              <a:cs typeface="Segoe UI Semilight" panose="020B0402040204020203" pitchFamily="34" charset="0"/>
            </a:endParaRPr>
          </a:p>
        </p:txBody>
      </p:sp>
      <p:sp>
        <p:nvSpPr>
          <p:cNvPr id="120" name="Rectangle 119">
            <a:extLst>
              <a:ext uri="{FF2B5EF4-FFF2-40B4-BE49-F238E27FC236}">
                <a16:creationId xmlns:a16="http://schemas.microsoft.com/office/drawing/2014/main" id="{72750E8D-F694-4BCC-964B-E7D290E70409}"/>
              </a:ext>
            </a:extLst>
          </p:cNvPr>
          <p:cNvSpPr/>
          <p:nvPr/>
        </p:nvSpPr>
        <p:spPr bwMode="auto">
          <a:xfrm>
            <a:off x="462987" y="3270143"/>
            <a:ext cx="4745621" cy="72089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defTabSz="856695" fontAlgn="base">
              <a:spcBef>
                <a:spcPct val="0"/>
              </a:spcBef>
              <a:spcAft>
                <a:spcPct val="0"/>
              </a:spcAft>
              <a:defRPr/>
            </a:pPr>
            <a:r>
              <a:rPr lang="en-US" b="1" kern="0" dirty="0">
                <a:solidFill>
                  <a:schemeClr val="accent1"/>
                </a:solidFill>
                <a:cs typeface="Segoe UI Semibold" charset="0"/>
              </a:rPr>
              <a:t>Hub-and-Spoke</a:t>
            </a:r>
            <a:r>
              <a:rPr lang="en-US" sz="1400" kern="0" dirty="0">
                <a:solidFill>
                  <a:schemeClr val="tx2"/>
                </a:solidFill>
                <a:cs typeface="Segoe UI Semibold" charset="0"/>
              </a:rPr>
              <a:t> Synchronization technology</a:t>
            </a:r>
          </a:p>
        </p:txBody>
      </p:sp>
      <p:sp>
        <p:nvSpPr>
          <p:cNvPr id="122" name="Rectangle 121">
            <a:extLst>
              <a:ext uri="{FF2B5EF4-FFF2-40B4-BE49-F238E27FC236}">
                <a16:creationId xmlns:a16="http://schemas.microsoft.com/office/drawing/2014/main" id="{FB583C8A-DDE2-4C37-B1EF-A94731255B60}"/>
              </a:ext>
            </a:extLst>
          </p:cNvPr>
          <p:cNvSpPr/>
          <p:nvPr/>
        </p:nvSpPr>
        <p:spPr bwMode="auto">
          <a:xfrm>
            <a:off x="462987" y="4120164"/>
            <a:ext cx="4745621" cy="72089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US" sz="1400" kern="0">
                <a:solidFill>
                  <a:schemeClr val="tx2"/>
                </a:solidFill>
                <a:cs typeface="Segoe UI Semibold" charset="0"/>
              </a:rPr>
              <a:t>Both</a:t>
            </a:r>
            <a:r>
              <a:rPr lang="en-US" b="1" kern="0">
                <a:solidFill>
                  <a:schemeClr val="tx2"/>
                </a:solidFill>
                <a:cs typeface="Segoe UI Semibold" charset="0"/>
              </a:rPr>
              <a:t> </a:t>
            </a:r>
            <a:r>
              <a:rPr lang="en-US" b="1" kern="0">
                <a:solidFill>
                  <a:schemeClr val="accent1"/>
                </a:solidFill>
                <a:cs typeface="Segoe UI Semibold" charset="0"/>
              </a:rPr>
              <a:t>One-way</a:t>
            </a:r>
            <a:r>
              <a:rPr lang="en-US" b="1" kern="0">
                <a:solidFill>
                  <a:schemeClr val="tx2"/>
                </a:solidFill>
                <a:cs typeface="Segoe UI Semibold" charset="0"/>
              </a:rPr>
              <a:t> </a:t>
            </a:r>
            <a:r>
              <a:rPr lang="en-US" sz="1400" kern="0">
                <a:solidFill>
                  <a:schemeClr val="tx2"/>
                </a:solidFill>
                <a:cs typeface="Segoe UI Semibold" charset="0"/>
              </a:rPr>
              <a:t>or</a:t>
            </a:r>
            <a:r>
              <a:rPr lang="en-US" b="1" kern="0">
                <a:solidFill>
                  <a:schemeClr val="tx2"/>
                </a:solidFill>
                <a:cs typeface="Segoe UI Semibold" charset="0"/>
              </a:rPr>
              <a:t> </a:t>
            </a:r>
            <a:r>
              <a:rPr lang="en-US" b="1" kern="0">
                <a:solidFill>
                  <a:schemeClr val="accent1"/>
                </a:solidFill>
                <a:cs typeface="Segoe UI Semibold" charset="0"/>
              </a:rPr>
              <a:t>Bi-directional</a:t>
            </a:r>
            <a:r>
              <a:rPr lang="en-US" b="1" kern="0">
                <a:solidFill>
                  <a:schemeClr val="tx2"/>
                </a:solidFill>
                <a:cs typeface="Segoe UI Semibold" charset="0"/>
              </a:rPr>
              <a:t> </a:t>
            </a:r>
            <a:r>
              <a:rPr lang="en-US" sz="1400" kern="0">
                <a:solidFill>
                  <a:schemeClr val="tx2"/>
                </a:solidFill>
                <a:cs typeface="Segoe UI Semibold" charset="0"/>
              </a:rPr>
              <a:t>synchronization</a:t>
            </a:r>
            <a:endParaRPr lang="en-US" sz="1400" kern="0" dirty="0">
              <a:solidFill>
                <a:schemeClr val="tx2"/>
              </a:solidFill>
              <a:cs typeface="Segoe UI Semibold" charset="0"/>
            </a:endParaRPr>
          </a:p>
        </p:txBody>
      </p:sp>
      <p:sp>
        <p:nvSpPr>
          <p:cNvPr id="123" name="Rectangle 122">
            <a:extLst>
              <a:ext uri="{FF2B5EF4-FFF2-40B4-BE49-F238E27FC236}">
                <a16:creationId xmlns:a16="http://schemas.microsoft.com/office/drawing/2014/main" id="{CDAF003C-7D39-4D9E-81A2-E3B44B2A052D}"/>
              </a:ext>
            </a:extLst>
          </p:cNvPr>
          <p:cNvSpPr/>
          <p:nvPr/>
        </p:nvSpPr>
        <p:spPr bwMode="auto">
          <a:xfrm>
            <a:off x="462987" y="4970186"/>
            <a:ext cx="4745621" cy="72089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US" b="1" kern="0">
                <a:solidFill>
                  <a:schemeClr val="accent1"/>
                </a:solidFill>
                <a:cs typeface="Segoe UI Semibold" charset="0"/>
              </a:rPr>
              <a:t>Table-level</a:t>
            </a:r>
            <a:r>
              <a:rPr lang="en-US" b="1" kern="0">
                <a:solidFill>
                  <a:schemeClr val="tx2"/>
                </a:solidFill>
                <a:cs typeface="Segoe UI Semibold" charset="0"/>
              </a:rPr>
              <a:t> </a:t>
            </a:r>
            <a:r>
              <a:rPr lang="en-US" sz="1400" kern="0">
                <a:solidFill>
                  <a:schemeClr val="tx2"/>
                </a:solidFill>
                <a:cs typeface="Segoe UI Semibold" charset="0"/>
              </a:rPr>
              <a:t>synchronization with </a:t>
            </a:r>
            <a:r>
              <a:rPr lang="en-US" b="1" kern="0">
                <a:solidFill>
                  <a:schemeClr val="accent1"/>
                </a:solidFill>
                <a:cs typeface="Segoe UI Semibold" charset="0"/>
              </a:rPr>
              <a:t>Column Filter</a:t>
            </a:r>
            <a:endParaRPr lang="en-US" b="1" kern="0" dirty="0">
              <a:solidFill>
                <a:schemeClr val="accent1"/>
              </a:solidFill>
              <a:cs typeface="Segoe UI Semibold" charset="0"/>
            </a:endParaRPr>
          </a:p>
        </p:txBody>
      </p:sp>
      <p:sp>
        <p:nvSpPr>
          <p:cNvPr id="124" name="Rectangle 123">
            <a:extLst>
              <a:ext uri="{FF2B5EF4-FFF2-40B4-BE49-F238E27FC236}">
                <a16:creationId xmlns:a16="http://schemas.microsoft.com/office/drawing/2014/main" id="{0C7AE452-F517-418A-BAF1-03CC6E75F3D1}"/>
              </a:ext>
            </a:extLst>
          </p:cNvPr>
          <p:cNvSpPr/>
          <p:nvPr/>
        </p:nvSpPr>
        <p:spPr bwMode="auto">
          <a:xfrm>
            <a:off x="462987" y="5820206"/>
            <a:ext cx="4745621" cy="72089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defTabSz="856695" fontAlgn="base">
              <a:spcBef>
                <a:spcPct val="0"/>
              </a:spcBef>
              <a:spcAft>
                <a:spcPct val="0"/>
              </a:spcAft>
              <a:defRPr/>
            </a:pPr>
            <a:r>
              <a:rPr lang="en-US" b="1" kern="0" dirty="0">
                <a:solidFill>
                  <a:schemeClr val="accent1"/>
                </a:solidFill>
                <a:cs typeface="Segoe UI Semibold" charset="0"/>
              </a:rPr>
              <a:t>Minute</a:t>
            </a:r>
            <a:r>
              <a:rPr lang="en-US" sz="1400" kern="0" dirty="0">
                <a:solidFill>
                  <a:schemeClr val="tx2"/>
                </a:solidFill>
                <a:cs typeface="Segoe UI Semibold" charset="0"/>
              </a:rPr>
              <a:t>-level latency</a:t>
            </a:r>
          </a:p>
        </p:txBody>
      </p:sp>
    </p:spTree>
    <p:extLst>
      <p:ext uri="{BB962C8B-B14F-4D97-AF65-F5344CB8AC3E}">
        <p14:creationId xmlns:p14="http://schemas.microsoft.com/office/powerpoint/2010/main" val="410405961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020EC-C7F5-4246-882E-3EB29CAD112E}"/>
              </a:ext>
            </a:extLst>
          </p:cNvPr>
          <p:cNvSpPr>
            <a:spLocks noGrp="1"/>
          </p:cNvSpPr>
          <p:nvPr>
            <p:ph type="title"/>
          </p:nvPr>
        </p:nvSpPr>
        <p:spPr/>
        <p:txBody>
          <a:bodyPr/>
          <a:lstStyle/>
          <a:p>
            <a:r>
              <a:rPr lang="en-US" dirty="0"/>
              <a:t>Seamless Cloud Integration </a:t>
            </a:r>
            <a:br>
              <a:rPr lang="en-US" dirty="0"/>
            </a:br>
            <a:r>
              <a:rPr lang="en-US" sz="3200" dirty="0"/>
              <a:t>Easy lift-and-shift, integrate and distribute</a:t>
            </a:r>
          </a:p>
        </p:txBody>
      </p:sp>
      <p:sp>
        <p:nvSpPr>
          <p:cNvPr id="5" name="Rectangle 4">
            <a:extLst>
              <a:ext uri="{FF2B5EF4-FFF2-40B4-BE49-F238E27FC236}">
                <a16:creationId xmlns:a16="http://schemas.microsoft.com/office/drawing/2014/main" id="{7DAA7FE6-2E73-4890-BC50-1AA95294873C}"/>
              </a:ext>
            </a:extLst>
          </p:cNvPr>
          <p:cNvSpPr/>
          <p:nvPr/>
        </p:nvSpPr>
        <p:spPr bwMode="auto">
          <a:xfrm>
            <a:off x="5347504" y="1570102"/>
            <a:ext cx="6620803" cy="4970998"/>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defRPr/>
            </a:pPr>
            <a:endParaRPr lang="en-US" sz="1600" dirty="0">
              <a:solidFill>
                <a:schemeClr val="tx2"/>
              </a:soli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35DDA563-D1AC-4EF8-A73D-3769C4A8927E}"/>
              </a:ext>
            </a:extLst>
          </p:cNvPr>
          <p:cNvSpPr/>
          <p:nvPr/>
        </p:nvSpPr>
        <p:spPr bwMode="auto">
          <a:xfrm>
            <a:off x="462987" y="1570102"/>
            <a:ext cx="4745621" cy="869590"/>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US" b="1" kern="0">
                <a:solidFill>
                  <a:schemeClr val="accent1"/>
                </a:solidFill>
                <a:cs typeface="Segoe UI Semibold" charset="0"/>
              </a:rPr>
              <a:t>Azure SQL Database Managed Instance</a:t>
            </a:r>
            <a:br>
              <a:rPr lang="en-US" b="1" kern="0">
                <a:solidFill>
                  <a:schemeClr val="accent1"/>
                </a:solidFill>
                <a:cs typeface="Segoe UI Semibold" charset="0"/>
              </a:rPr>
            </a:br>
            <a:r>
              <a:rPr lang="en-US" sz="1400" kern="0">
                <a:solidFill>
                  <a:schemeClr val="tx2"/>
                </a:solidFill>
                <a:cs typeface="Segoe UI Semilight" panose="020B0402040204020203" pitchFamily="34" charset="0"/>
              </a:rPr>
              <a:t>facilitates lift and shift migration from on-premises SQL Server to cloud</a:t>
            </a:r>
            <a:endParaRPr lang="en-US" sz="1400" kern="0" dirty="0">
              <a:solidFill>
                <a:schemeClr val="tx2"/>
              </a:solidFill>
              <a:cs typeface="Segoe UI Semilight" panose="020B0402040204020203" pitchFamily="34" charset="0"/>
            </a:endParaRPr>
          </a:p>
        </p:txBody>
      </p:sp>
      <p:sp>
        <p:nvSpPr>
          <p:cNvPr id="17" name="Rectangle 16">
            <a:extLst>
              <a:ext uri="{FF2B5EF4-FFF2-40B4-BE49-F238E27FC236}">
                <a16:creationId xmlns:a16="http://schemas.microsoft.com/office/drawing/2014/main" id="{4406E7DA-4060-4FE3-8AAC-7D4B0821C695}"/>
              </a:ext>
            </a:extLst>
          </p:cNvPr>
          <p:cNvSpPr/>
          <p:nvPr/>
        </p:nvSpPr>
        <p:spPr bwMode="auto">
          <a:xfrm>
            <a:off x="462987" y="2595454"/>
            <a:ext cx="4745621" cy="869590"/>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US" b="1" kern="0">
                <a:solidFill>
                  <a:schemeClr val="accent1"/>
                </a:solidFill>
                <a:cs typeface="Segoe UI Semibold" charset="0"/>
              </a:rPr>
              <a:t>Azure Hybrid Benefit for SQL Server </a:t>
            </a:r>
            <a:br>
              <a:rPr lang="en-US" b="1" kern="0">
                <a:solidFill>
                  <a:schemeClr val="accent1"/>
                </a:solidFill>
                <a:cs typeface="Segoe UI Semibold" charset="0"/>
              </a:rPr>
            </a:br>
            <a:r>
              <a:rPr lang="en-US" sz="1400" kern="0">
                <a:solidFill>
                  <a:schemeClr val="tx2"/>
                </a:solidFill>
                <a:cs typeface="Segoe UI Semilight" panose="020B0402040204020203" pitchFamily="34" charset="0"/>
              </a:rPr>
              <a:t>maximizes current on-premises license investments to facilitate migration</a:t>
            </a:r>
            <a:endParaRPr lang="en-US" sz="1400" kern="0" dirty="0">
              <a:solidFill>
                <a:schemeClr val="tx2"/>
              </a:solidFill>
              <a:cs typeface="Segoe UI Semilight" panose="020B0402040204020203" pitchFamily="34" charset="0"/>
            </a:endParaRPr>
          </a:p>
        </p:txBody>
      </p:sp>
      <p:sp>
        <p:nvSpPr>
          <p:cNvPr id="18" name="Rectangle 17">
            <a:extLst>
              <a:ext uri="{FF2B5EF4-FFF2-40B4-BE49-F238E27FC236}">
                <a16:creationId xmlns:a16="http://schemas.microsoft.com/office/drawing/2014/main" id="{AF6DA3A7-0361-4946-92DF-72F14C816F2E}"/>
              </a:ext>
            </a:extLst>
          </p:cNvPr>
          <p:cNvSpPr/>
          <p:nvPr/>
        </p:nvSpPr>
        <p:spPr bwMode="auto">
          <a:xfrm>
            <a:off x="462987" y="3620805"/>
            <a:ext cx="4745621" cy="869590"/>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defTabSz="856695" fontAlgn="base">
              <a:spcBef>
                <a:spcPct val="0"/>
              </a:spcBef>
              <a:spcAft>
                <a:spcPct val="0"/>
              </a:spcAft>
              <a:defRPr/>
            </a:pPr>
            <a:r>
              <a:rPr lang="en-US" b="1" kern="0">
                <a:solidFill>
                  <a:schemeClr val="accent1"/>
                </a:solidFill>
                <a:cs typeface="Segoe UI Semibold" charset="0"/>
              </a:rPr>
              <a:t>Database Migration Service (DMS) </a:t>
            </a:r>
            <a:br>
              <a:rPr lang="en-US" b="1" kern="0">
                <a:solidFill>
                  <a:schemeClr val="accent1"/>
                </a:solidFill>
                <a:cs typeface="Segoe UI Semibold" charset="0"/>
              </a:rPr>
            </a:br>
            <a:r>
              <a:rPr lang="en-US" sz="1400" kern="0">
                <a:solidFill>
                  <a:schemeClr val="tx2"/>
                </a:solidFill>
                <a:cs typeface="Segoe UI Semilight" panose="020B0402040204020203" pitchFamily="34" charset="0"/>
              </a:rPr>
              <a:t>provides seamless and reliable migration at scale with minimal downtime </a:t>
            </a:r>
            <a:endParaRPr lang="en-US" sz="1400" kern="0" dirty="0">
              <a:solidFill>
                <a:schemeClr val="tx2"/>
              </a:solidFill>
              <a:cs typeface="Segoe UI Semilight" panose="020B0402040204020203" pitchFamily="34" charset="0"/>
            </a:endParaRPr>
          </a:p>
        </p:txBody>
      </p:sp>
      <p:sp>
        <p:nvSpPr>
          <p:cNvPr id="19" name="Rectangle 18">
            <a:extLst>
              <a:ext uri="{FF2B5EF4-FFF2-40B4-BE49-F238E27FC236}">
                <a16:creationId xmlns:a16="http://schemas.microsoft.com/office/drawing/2014/main" id="{1AF1412D-0B61-461B-9F7E-830CCF6F90CD}"/>
              </a:ext>
            </a:extLst>
          </p:cNvPr>
          <p:cNvSpPr/>
          <p:nvPr/>
        </p:nvSpPr>
        <p:spPr bwMode="auto">
          <a:xfrm>
            <a:off x="462987" y="4646157"/>
            <a:ext cx="4745621" cy="869590"/>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US" b="1" kern="0">
                <a:solidFill>
                  <a:schemeClr val="accent1"/>
                </a:solidFill>
                <a:cs typeface="Segoe UI Semibold" charset="0"/>
              </a:rPr>
              <a:t>Active Geo-replicas </a:t>
            </a:r>
            <a:r>
              <a:rPr lang="en-US" sz="1400" kern="0">
                <a:solidFill>
                  <a:schemeClr val="tx2"/>
                </a:solidFill>
                <a:cs typeface="Segoe UI Semibold" charset="0"/>
              </a:rPr>
              <a:t>“data CDN” for your edge deployments</a:t>
            </a:r>
            <a:endParaRPr lang="en-US" sz="1400" kern="0" dirty="0">
              <a:solidFill>
                <a:schemeClr val="tx2"/>
              </a:solidFill>
              <a:cs typeface="Segoe UI Semibold" charset="0"/>
            </a:endParaRPr>
          </a:p>
        </p:txBody>
      </p:sp>
      <p:sp>
        <p:nvSpPr>
          <p:cNvPr id="20" name="Rectangle 19">
            <a:extLst>
              <a:ext uri="{FF2B5EF4-FFF2-40B4-BE49-F238E27FC236}">
                <a16:creationId xmlns:a16="http://schemas.microsoft.com/office/drawing/2014/main" id="{DEA51EF1-9FCE-4249-BBDC-B5CC6535534A}"/>
              </a:ext>
            </a:extLst>
          </p:cNvPr>
          <p:cNvSpPr/>
          <p:nvPr/>
        </p:nvSpPr>
        <p:spPr bwMode="auto">
          <a:xfrm>
            <a:off x="462987" y="5671510"/>
            <a:ext cx="4745621" cy="869590"/>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US" b="1" kern="0" dirty="0">
                <a:solidFill>
                  <a:schemeClr val="accent1"/>
                </a:solidFill>
                <a:cs typeface="Segoe UI Semibold" charset="0"/>
              </a:rPr>
              <a:t>SQL Azure Data Sync v2 </a:t>
            </a:r>
            <a:r>
              <a:rPr lang="en-US" sz="1400" kern="0" dirty="0">
                <a:solidFill>
                  <a:schemeClr val="tx2"/>
                </a:solidFill>
                <a:cs typeface="Segoe UI Semilight" panose="020B0402040204020203" pitchFamily="34" charset="0"/>
              </a:rPr>
              <a:t>synchronize data across distributed and occasionally connected applications </a:t>
            </a:r>
          </a:p>
        </p:txBody>
      </p:sp>
      <p:sp>
        <p:nvSpPr>
          <p:cNvPr id="23" name="building_7">
            <a:extLst>
              <a:ext uri="{FF2B5EF4-FFF2-40B4-BE49-F238E27FC236}">
                <a16:creationId xmlns:a16="http://schemas.microsoft.com/office/drawing/2014/main" id="{FC3F98B8-D17D-4800-993D-2A6F15F9FF3F}"/>
              </a:ext>
            </a:extLst>
          </p:cNvPr>
          <p:cNvSpPr>
            <a:spLocks noChangeAspect="1" noEditPoints="1"/>
          </p:cNvSpPr>
          <p:nvPr/>
        </p:nvSpPr>
        <p:spPr bwMode="auto">
          <a:xfrm>
            <a:off x="5733782" y="5757781"/>
            <a:ext cx="572451" cy="597233"/>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algn="ctr" defTabSz="932418">
              <a:defRPr/>
            </a:pPr>
            <a:endParaRPr lang="en-US" sz="1020" kern="0" dirty="0">
              <a:gradFill>
                <a:gsLst>
                  <a:gs pos="0">
                    <a:srgbClr val="505050"/>
                  </a:gs>
                  <a:gs pos="100000">
                    <a:srgbClr val="505050"/>
                  </a:gs>
                </a:gsLst>
              </a:gradFill>
              <a:latin typeface="Segoe UI"/>
            </a:endParaRPr>
          </a:p>
        </p:txBody>
      </p:sp>
      <p:sp>
        <p:nvSpPr>
          <p:cNvPr id="24" name="Freeform: Shape 27">
            <a:extLst>
              <a:ext uri="{FF2B5EF4-FFF2-40B4-BE49-F238E27FC236}">
                <a16:creationId xmlns:a16="http://schemas.microsoft.com/office/drawing/2014/main" id="{EB18049D-8D5D-4DF9-97FC-136627E30B49}"/>
              </a:ext>
            </a:extLst>
          </p:cNvPr>
          <p:cNvSpPr/>
          <p:nvPr/>
        </p:nvSpPr>
        <p:spPr bwMode="auto">
          <a:xfrm flipV="1">
            <a:off x="10573673" y="1944010"/>
            <a:ext cx="899190" cy="49568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algn="ctr" defTabSz="932418">
              <a:defRPr/>
            </a:pPr>
            <a:endParaRPr lang="en-US" sz="1020" kern="0" dirty="0">
              <a:solidFill>
                <a:srgbClr val="505050"/>
              </a:solidFill>
              <a:latin typeface="Segoe UI"/>
            </a:endParaRPr>
          </a:p>
        </p:txBody>
      </p:sp>
      <p:sp>
        <p:nvSpPr>
          <p:cNvPr id="27" name="Freeform: Shape 26">
            <a:extLst>
              <a:ext uri="{FF2B5EF4-FFF2-40B4-BE49-F238E27FC236}">
                <a16:creationId xmlns:a16="http://schemas.microsoft.com/office/drawing/2014/main" id="{B254E376-483B-4BB0-A2D9-3073F99749E3}"/>
              </a:ext>
            </a:extLst>
          </p:cNvPr>
          <p:cNvSpPr/>
          <p:nvPr/>
        </p:nvSpPr>
        <p:spPr>
          <a:xfrm rot="583330" flipH="1">
            <a:off x="6463196" y="1926066"/>
            <a:ext cx="3740093" cy="4125253"/>
          </a:xfrm>
          <a:custGeom>
            <a:avLst/>
            <a:gdLst>
              <a:gd name="connsiteX0" fmla="*/ 796722 w 4145083"/>
              <a:gd name="connsiteY0" fmla="*/ 57235 h 4125253"/>
              <a:gd name="connsiteX1" fmla="*/ 404990 w 4145083"/>
              <a:gd name="connsiteY1" fmla="*/ 0 h 4125253"/>
              <a:gd name="connsiteX2" fmla="*/ 0 w 4145083"/>
              <a:gd name="connsiteY2" fmla="*/ 4125253 h 4125253"/>
              <a:gd name="connsiteX3" fmla="*/ 4145083 w 4145083"/>
              <a:gd name="connsiteY3" fmla="*/ 4125253 h 4125253"/>
              <a:gd name="connsiteX4" fmla="*/ 796722 w 4145083"/>
              <a:gd name="connsiteY4" fmla="*/ 57235 h 4125253"/>
              <a:gd name="connsiteX0" fmla="*/ 0 w 4145083"/>
              <a:gd name="connsiteY0" fmla="*/ 4125253 h 4216693"/>
              <a:gd name="connsiteX1" fmla="*/ 4145083 w 4145083"/>
              <a:gd name="connsiteY1" fmla="*/ 4125253 h 4216693"/>
              <a:gd name="connsiteX2" fmla="*/ 796722 w 4145083"/>
              <a:gd name="connsiteY2" fmla="*/ 57235 h 4216693"/>
              <a:gd name="connsiteX3" fmla="*/ 404990 w 4145083"/>
              <a:gd name="connsiteY3" fmla="*/ 0 h 4216693"/>
              <a:gd name="connsiteX4" fmla="*/ 91440 w 4145083"/>
              <a:gd name="connsiteY4" fmla="*/ 4216693 h 4216693"/>
              <a:gd name="connsiteX0" fmla="*/ 0 w 4145083"/>
              <a:gd name="connsiteY0" fmla="*/ 4125253 h 4125253"/>
              <a:gd name="connsiteX1" fmla="*/ 4145083 w 4145083"/>
              <a:gd name="connsiteY1" fmla="*/ 4125253 h 4125253"/>
              <a:gd name="connsiteX2" fmla="*/ 796722 w 4145083"/>
              <a:gd name="connsiteY2" fmla="*/ 57235 h 4125253"/>
              <a:gd name="connsiteX3" fmla="*/ 404990 w 4145083"/>
              <a:gd name="connsiteY3" fmla="*/ 0 h 4125253"/>
              <a:gd name="connsiteX0" fmla="*/ 3740093 w 3740093"/>
              <a:gd name="connsiteY0" fmla="*/ 4125253 h 4125253"/>
              <a:gd name="connsiteX1" fmla="*/ 391732 w 3740093"/>
              <a:gd name="connsiteY1" fmla="*/ 57235 h 4125253"/>
              <a:gd name="connsiteX2" fmla="*/ 0 w 3740093"/>
              <a:gd name="connsiteY2" fmla="*/ 0 h 4125253"/>
            </a:gdLst>
            <a:ahLst/>
            <a:cxnLst>
              <a:cxn ang="0">
                <a:pos x="connsiteX0" y="connsiteY0"/>
              </a:cxn>
              <a:cxn ang="0">
                <a:pos x="connsiteX1" y="connsiteY1"/>
              </a:cxn>
              <a:cxn ang="0">
                <a:pos x="connsiteX2" y="connsiteY2"/>
              </a:cxn>
            </a:cxnLst>
            <a:rect l="l" t="t" r="r" b="b"/>
            <a:pathLst>
              <a:path w="3740093" h="4125253">
                <a:moveTo>
                  <a:pt x="3740093" y="4125253"/>
                </a:moveTo>
                <a:cubicBezTo>
                  <a:pt x="3740093" y="2126115"/>
                  <a:pt x="2318127" y="432766"/>
                  <a:pt x="391732" y="57235"/>
                </a:cubicBezTo>
                <a:cubicBezTo>
                  <a:pt x="263306" y="32200"/>
                  <a:pt x="132638" y="13022"/>
                  <a:pt x="0" y="0"/>
                </a:cubicBezTo>
              </a:path>
            </a:pathLst>
          </a:custGeom>
          <a:noFill/>
          <a:ln w="9525" cap="flat" cmpd="sng" algn="ctr">
            <a:solidFill>
              <a:schemeClr val="bg2"/>
            </a:solidFill>
            <a:prstDash val="solid"/>
            <a:headEnd type="none"/>
            <a:tailEnd type="triangle" w="lg" len="med"/>
          </a:ln>
          <a:effectLst/>
        </p:spPr>
        <p:txBody>
          <a:bodyPr wrap="square" rtlCol="0" anchor="ctr">
            <a:noAutofit/>
          </a:bodyPr>
          <a:lstStyle/>
          <a:p>
            <a:pPr algn="ctr" defTabSz="932418">
              <a:defRPr/>
            </a:pPr>
            <a:endParaRPr lang="en-US" sz="1836" kern="0" dirty="0">
              <a:solidFill>
                <a:srgbClr val="000000"/>
              </a:solidFill>
              <a:latin typeface="Segoe UI"/>
            </a:endParaRPr>
          </a:p>
        </p:txBody>
      </p:sp>
      <p:sp>
        <p:nvSpPr>
          <p:cNvPr id="29" name="Oval 28">
            <a:extLst>
              <a:ext uri="{FF2B5EF4-FFF2-40B4-BE49-F238E27FC236}">
                <a16:creationId xmlns:a16="http://schemas.microsoft.com/office/drawing/2014/main" id="{379D568A-811A-44B5-9DB8-D7EAC28F6D55}"/>
              </a:ext>
            </a:extLst>
          </p:cNvPr>
          <p:cNvSpPr/>
          <p:nvPr/>
        </p:nvSpPr>
        <p:spPr bwMode="auto">
          <a:xfrm flipH="1">
            <a:off x="6546386" y="4369890"/>
            <a:ext cx="78918" cy="78918"/>
          </a:xfrm>
          <a:prstGeom prst="ellipse">
            <a:avLst/>
          </a:prstGeom>
          <a:solidFill>
            <a:srgbClr val="0078D7"/>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30" name="Oval 29">
            <a:extLst>
              <a:ext uri="{FF2B5EF4-FFF2-40B4-BE49-F238E27FC236}">
                <a16:creationId xmlns:a16="http://schemas.microsoft.com/office/drawing/2014/main" id="{68D4FC32-1420-4D52-95D0-F5A8A68DF70B}"/>
              </a:ext>
            </a:extLst>
          </p:cNvPr>
          <p:cNvSpPr/>
          <p:nvPr/>
        </p:nvSpPr>
        <p:spPr bwMode="auto">
          <a:xfrm flipH="1">
            <a:off x="7702779" y="3050045"/>
            <a:ext cx="78918" cy="78918"/>
          </a:xfrm>
          <a:prstGeom prst="ellipse">
            <a:avLst/>
          </a:prstGeom>
          <a:solidFill>
            <a:srgbClr val="0078D7"/>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31" name="Oval 30">
            <a:extLst>
              <a:ext uri="{FF2B5EF4-FFF2-40B4-BE49-F238E27FC236}">
                <a16:creationId xmlns:a16="http://schemas.microsoft.com/office/drawing/2014/main" id="{BF989A1B-17FF-4C36-A6C8-2413DA0405E5}"/>
              </a:ext>
            </a:extLst>
          </p:cNvPr>
          <p:cNvSpPr/>
          <p:nvPr/>
        </p:nvSpPr>
        <p:spPr bwMode="auto">
          <a:xfrm flipH="1">
            <a:off x="9546990" y="2283892"/>
            <a:ext cx="78918" cy="78918"/>
          </a:xfrm>
          <a:prstGeom prst="ellipse">
            <a:avLst/>
          </a:prstGeom>
          <a:solidFill>
            <a:srgbClr val="0078D7"/>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33" name="Rectangle 32">
            <a:extLst>
              <a:ext uri="{FF2B5EF4-FFF2-40B4-BE49-F238E27FC236}">
                <a16:creationId xmlns:a16="http://schemas.microsoft.com/office/drawing/2014/main" id="{C992A071-0CD6-4C1A-BA48-527EF69EA42B}"/>
              </a:ext>
            </a:extLst>
          </p:cNvPr>
          <p:cNvSpPr/>
          <p:nvPr/>
        </p:nvSpPr>
        <p:spPr>
          <a:xfrm>
            <a:off x="9546990" y="2506678"/>
            <a:ext cx="2345351" cy="697627"/>
          </a:xfrm>
          <a:prstGeom prst="rect">
            <a:avLst/>
          </a:prstGeom>
        </p:spPr>
        <p:txBody>
          <a:bodyPr wrap="square" lIns="0" tIns="0" rIns="0" bIns="0">
            <a:spAutoFit/>
          </a:bodyPr>
          <a:lstStyle/>
          <a:p>
            <a:pPr defTabSz="932418">
              <a:spcBef>
                <a:spcPts val="400"/>
              </a:spcBef>
              <a:defRPr/>
            </a:pPr>
            <a:r>
              <a:rPr lang="en-US" sz="1400" dirty="0">
                <a:solidFill>
                  <a:srgbClr val="0078D7"/>
                </a:solidFill>
                <a:latin typeface="Segoe UI Semibold" panose="020B0702040204020203" pitchFamily="34" charset="0"/>
                <a:ea typeface="Segoe UI Semibold" charset="0"/>
                <a:cs typeface="Segoe UI Semibold" panose="020B0702040204020203" pitchFamily="34" charset="0"/>
              </a:rPr>
              <a:t>Azure SQL Database Managed Instance</a:t>
            </a:r>
          </a:p>
          <a:p>
            <a:pPr defTabSz="932418">
              <a:spcBef>
                <a:spcPts val="400"/>
              </a:spcBef>
              <a:defRPr/>
            </a:pPr>
            <a:r>
              <a:rPr lang="en-US" sz="1400" dirty="0">
                <a:solidFill>
                  <a:srgbClr val="0078D7"/>
                </a:solidFill>
                <a:latin typeface="Segoe UI Semibold" panose="020B0702040204020203" pitchFamily="34" charset="0"/>
                <a:cs typeface="Segoe UI Semibold" panose="020B0702040204020203" pitchFamily="34" charset="0"/>
              </a:rPr>
              <a:t>Managed SSIS in Azure</a:t>
            </a:r>
          </a:p>
        </p:txBody>
      </p:sp>
      <p:sp>
        <p:nvSpPr>
          <p:cNvPr id="34" name="Rectangle 33">
            <a:extLst>
              <a:ext uri="{FF2B5EF4-FFF2-40B4-BE49-F238E27FC236}">
                <a16:creationId xmlns:a16="http://schemas.microsoft.com/office/drawing/2014/main" id="{E8B6B350-7B19-4255-8159-54BD5F0CDA22}"/>
              </a:ext>
            </a:extLst>
          </p:cNvPr>
          <p:cNvSpPr/>
          <p:nvPr/>
        </p:nvSpPr>
        <p:spPr>
          <a:xfrm>
            <a:off x="7702779" y="3241801"/>
            <a:ext cx="2017325" cy="930255"/>
          </a:xfrm>
          <a:prstGeom prst="rect">
            <a:avLst/>
          </a:prstGeom>
        </p:spPr>
        <p:txBody>
          <a:bodyPr wrap="square" lIns="0" tIns="0" rIns="0" bIns="0">
            <a:spAutoFit/>
          </a:bodyPr>
          <a:lstStyle/>
          <a:p>
            <a:pPr defTabSz="932418">
              <a:spcBef>
                <a:spcPts val="400"/>
              </a:spcBef>
              <a:defRPr/>
            </a:pPr>
            <a:r>
              <a:rPr lang="en-US" sz="1400" dirty="0">
                <a:solidFill>
                  <a:srgbClr val="0078D7"/>
                </a:solidFill>
                <a:latin typeface="Segoe UI Semibold" panose="020B0702040204020203" pitchFamily="34" charset="0"/>
                <a:ea typeface="Segoe UI Semibold" charset="0"/>
                <a:cs typeface="Segoe UI Semibold" panose="020B0702040204020203" pitchFamily="34" charset="0"/>
              </a:rPr>
              <a:t>Azure Hybrid Benefit (AHB) for SQL Server</a:t>
            </a:r>
          </a:p>
          <a:p>
            <a:pPr defTabSz="932418">
              <a:spcBef>
                <a:spcPts val="400"/>
              </a:spcBef>
              <a:defRPr/>
            </a:pPr>
            <a:r>
              <a:rPr lang="en-US" sz="1400" dirty="0">
                <a:solidFill>
                  <a:srgbClr val="0078D7"/>
                </a:solidFill>
                <a:latin typeface="Segoe UI Semibold" panose="020B0702040204020203" pitchFamily="34" charset="0"/>
                <a:ea typeface="Segoe UI Semibold" charset="0"/>
                <a:cs typeface="Segoe UI Semibold" panose="020B0702040204020203" pitchFamily="34" charset="0"/>
              </a:rPr>
              <a:t>Database Migration Service (DMS) </a:t>
            </a:r>
          </a:p>
        </p:txBody>
      </p:sp>
      <p:sp>
        <p:nvSpPr>
          <p:cNvPr id="35" name="Content Placeholder 2">
            <a:extLst>
              <a:ext uri="{FF2B5EF4-FFF2-40B4-BE49-F238E27FC236}">
                <a16:creationId xmlns:a16="http://schemas.microsoft.com/office/drawing/2014/main" id="{9D0401BD-0263-4C2F-AD28-F5FD53700B87}"/>
              </a:ext>
            </a:extLst>
          </p:cNvPr>
          <p:cNvSpPr txBox="1">
            <a:spLocks/>
          </p:cNvSpPr>
          <p:nvPr/>
        </p:nvSpPr>
        <p:spPr>
          <a:xfrm>
            <a:off x="6713075" y="4300440"/>
            <a:ext cx="2519600" cy="392415"/>
          </a:xfrm>
          <a:prstGeom prst="rect">
            <a:avLst/>
          </a:prstGeom>
        </p:spPr>
        <p:txBody>
          <a:bodyPr vert="horz" wrap="square" lIns="0" tIns="0" rIns="0" bIns="0" rtlCol="0">
            <a:spAutoFit/>
          </a:bodyPr>
          <a:lst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418">
              <a:lnSpc>
                <a:spcPct val="100000"/>
              </a:lnSpc>
              <a:spcBef>
                <a:spcPts val="400"/>
              </a:spcBef>
              <a:buNone/>
              <a:defRPr/>
            </a:pPr>
            <a:r>
              <a:rPr lang="en-US" sz="1400" dirty="0">
                <a:solidFill>
                  <a:srgbClr val="0078D7"/>
                </a:solidFill>
                <a:latin typeface="Segoe UI Semibold" panose="020B0702040204020203" pitchFamily="34" charset="0"/>
                <a:ea typeface="Segoe UI Semibold" charset="0"/>
                <a:cs typeface="Segoe UI Semibold" panose="020B0702040204020203" pitchFamily="34" charset="0"/>
              </a:rPr>
              <a:t>SQL Server</a:t>
            </a:r>
            <a:br>
              <a:rPr lang="en-US" sz="1400" dirty="0">
                <a:solidFill>
                  <a:srgbClr val="0078D7"/>
                </a:solidFill>
                <a:latin typeface="Segoe UI Semibold" panose="020B0702040204020203" pitchFamily="34" charset="0"/>
                <a:ea typeface="Segoe UI Semibold" charset="0"/>
                <a:cs typeface="Segoe UI Semibold" panose="020B0702040204020203" pitchFamily="34" charset="0"/>
              </a:rPr>
            </a:br>
            <a:endParaRPr lang="en-US" sz="1100" dirty="0">
              <a:solidFill>
                <a:srgbClr val="0078D7"/>
              </a:solidFill>
              <a:latin typeface="Segoe UI Semibold" panose="020B0702040204020203" pitchFamily="34" charset="0"/>
              <a:ea typeface="Segoe UI Semilight" charset="0"/>
              <a:cs typeface="Segoe UI Semibold" panose="020B0702040204020203" pitchFamily="34" charset="0"/>
            </a:endParaRPr>
          </a:p>
        </p:txBody>
      </p:sp>
      <p:grpSp>
        <p:nvGrpSpPr>
          <p:cNvPr id="11" name="Group 10">
            <a:extLst>
              <a:ext uri="{FF2B5EF4-FFF2-40B4-BE49-F238E27FC236}">
                <a16:creationId xmlns:a16="http://schemas.microsoft.com/office/drawing/2014/main" id="{02166466-4482-41EE-A5EA-85797EE7DB8F}"/>
              </a:ext>
            </a:extLst>
          </p:cNvPr>
          <p:cNvGrpSpPr/>
          <p:nvPr/>
        </p:nvGrpSpPr>
        <p:grpSpPr>
          <a:xfrm>
            <a:off x="465223" y="6679642"/>
            <a:ext cx="1840572" cy="150791"/>
            <a:chOff x="499513" y="6680222"/>
            <a:chExt cx="1840572" cy="150791"/>
          </a:xfrm>
        </p:grpSpPr>
        <p:sp>
          <p:nvSpPr>
            <p:cNvPr id="40" name="Triangle 3">
              <a:extLst>
                <a:ext uri="{FF2B5EF4-FFF2-40B4-BE49-F238E27FC236}">
                  <a16:creationId xmlns:a16="http://schemas.microsoft.com/office/drawing/2014/main" id="{FB1612FB-DB90-4DED-AECC-DB61B33196F1}"/>
                </a:ext>
              </a:extLst>
            </p:cNvPr>
            <p:cNvSpPr/>
            <p:nvPr/>
          </p:nvSpPr>
          <p:spPr>
            <a:xfrm rot="5400000">
              <a:off x="463203" y="6716532"/>
              <a:ext cx="135872" cy="63251"/>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sz="1836" dirty="0">
                <a:solidFill>
                  <a:srgbClr val="FFFFFF"/>
                </a:solidFill>
                <a:latin typeface="Segoe UI"/>
              </a:endParaRPr>
            </a:p>
          </p:txBody>
        </p:sp>
        <p:sp>
          <p:nvSpPr>
            <p:cNvPr id="41" name="Text Placeholder 3">
              <a:extLst>
                <a:ext uri="{FF2B5EF4-FFF2-40B4-BE49-F238E27FC236}">
                  <a16:creationId xmlns:a16="http://schemas.microsoft.com/office/drawing/2014/main" id="{B8116F5A-DFE4-473F-9DB6-E2A7682A8CDA}"/>
                </a:ext>
              </a:extLst>
            </p:cNvPr>
            <p:cNvSpPr txBox="1">
              <a:spLocks/>
            </p:cNvSpPr>
            <p:nvPr/>
          </p:nvSpPr>
          <p:spPr>
            <a:xfrm>
              <a:off x="597620" y="6689756"/>
              <a:ext cx="1742465" cy="141257"/>
            </a:xfrm>
            <a:prstGeom prst="rect">
              <a:avLst/>
            </a:prstGeom>
            <a:noFill/>
          </p:spPr>
          <p:txBody>
            <a:bodyPr wrap="none" lIns="0" tIns="0" rIns="0" bIns="0">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32418">
                <a:spcBef>
                  <a:spcPts val="1020"/>
                </a:spcBef>
                <a:buClr>
                  <a:srgbClr val="D2D2D2"/>
                </a:buClr>
                <a:buNone/>
              </a:pPr>
              <a:r>
                <a:rPr lang="en-US" sz="1000" dirty="0">
                  <a:solidFill>
                    <a:schemeClr val="tx2"/>
                  </a:solidFill>
                  <a:latin typeface="Segoe UI" charset="0"/>
                  <a:ea typeface="Segoe UI" charset="0"/>
                  <a:cs typeface="Segoe UI" charset="0"/>
                </a:rPr>
                <a:t>Most consistent data platform</a:t>
              </a:r>
            </a:p>
          </p:txBody>
        </p:sp>
      </p:grpSp>
    </p:spTree>
    <p:extLst>
      <p:ext uri="{BB962C8B-B14F-4D97-AF65-F5344CB8AC3E}">
        <p14:creationId xmlns:p14="http://schemas.microsoft.com/office/powerpoint/2010/main" val="4170989579"/>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95CA8-A0C4-4EDB-BD67-9A7CBE2D4CF5}"/>
              </a:ext>
            </a:extLst>
          </p:cNvPr>
          <p:cNvSpPr>
            <a:spLocks noGrp="1"/>
          </p:cNvSpPr>
          <p:nvPr>
            <p:ph type="title"/>
          </p:nvPr>
        </p:nvSpPr>
        <p:spPr/>
        <p:txBody>
          <a:bodyPr/>
          <a:lstStyle/>
          <a:p>
            <a:r>
              <a:rPr lang="en-US" dirty="0"/>
              <a:t>Azure is the most economical destination for SQL Workloads</a:t>
            </a:r>
            <a:r>
              <a:rPr lang="en-US" baseline="30000" dirty="0"/>
              <a:t>*</a:t>
            </a:r>
          </a:p>
        </p:txBody>
      </p:sp>
      <p:sp>
        <p:nvSpPr>
          <p:cNvPr id="3" name="Text Placeholder 2">
            <a:extLst>
              <a:ext uri="{FF2B5EF4-FFF2-40B4-BE49-F238E27FC236}">
                <a16:creationId xmlns:a16="http://schemas.microsoft.com/office/drawing/2014/main" id="{0DA8E6C6-AA7B-4EE6-8C01-5CE17EB7BAA8}"/>
              </a:ext>
            </a:extLst>
          </p:cNvPr>
          <p:cNvSpPr>
            <a:spLocks noGrp="1"/>
          </p:cNvSpPr>
          <p:nvPr>
            <p:ph type="body" sz="quarter" idx="10"/>
          </p:nvPr>
        </p:nvSpPr>
        <p:spPr>
          <a:xfrm>
            <a:off x="275482" y="2198094"/>
            <a:ext cx="4638222" cy="4129049"/>
          </a:xfrm>
        </p:spPr>
        <p:txBody>
          <a:bodyPr>
            <a:normAutofit/>
          </a:bodyPr>
          <a:lstStyle/>
          <a:p>
            <a:pPr marL="0" indent="0">
              <a:spcAft>
                <a:spcPts val="612"/>
              </a:spcAft>
              <a:buNone/>
            </a:pPr>
            <a:r>
              <a:rPr lang="en-US" dirty="0">
                <a:latin typeface="Segoe UI Semibold" panose="020B0702040204020203" pitchFamily="34" charset="0"/>
                <a:cs typeface="Segoe UI Semibold" panose="020B0702040204020203" pitchFamily="34" charset="0"/>
              </a:rPr>
              <a:t>What is Hybrid Benefit for SQL Server?</a:t>
            </a:r>
          </a:p>
          <a:p>
            <a:pPr marL="0" indent="0">
              <a:spcAft>
                <a:spcPts val="612"/>
              </a:spcAft>
              <a:buNone/>
            </a:pPr>
            <a:r>
              <a:rPr lang="en-US" dirty="0"/>
              <a:t>An Azure benefit that allows you to use your on-premises SQL Server licenses to save on SQL Database Managed Instance. You can save up to 30% on Managed Instance</a:t>
            </a:r>
          </a:p>
          <a:p>
            <a:pPr marL="0" indent="0">
              <a:spcAft>
                <a:spcPts val="612"/>
              </a:spcAft>
              <a:buNone/>
            </a:pPr>
            <a:r>
              <a:rPr lang="en-US" dirty="0">
                <a:latin typeface="Segoe UI Semibold" panose="020B0702040204020203" pitchFamily="34" charset="0"/>
                <a:cs typeface="Segoe UI Semibold" panose="020B0702040204020203" pitchFamily="34" charset="0"/>
              </a:rPr>
              <a:t>How do you qualify?</a:t>
            </a:r>
          </a:p>
          <a:p>
            <a:pPr marL="0" indent="0">
              <a:spcAft>
                <a:spcPts val="612"/>
              </a:spcAft>
              <a:buNone/>
            </a:pPr>
            <a:r>
              <a:rPr lang="en-US" dirty="0"/>
              <a:t>You must have on-premises SQL Server licenses with active Software Assurance</a:t>
            </a:r>
          </a:p>
          <a:p>
            <a:pPr marL="0" indent="0">
              <a:spcAft>
                <a:spcPts val="612"/>
              </a:spcAft>
              <a:buNone/>
            </a:pPr>
            <a:r>
              <a:rPr lang="en-US" dirty="0">
                <a:latin typeface="Segoe UI Semibold" panose="020B0702040204020203" pitchFamily="34" charset="0"/>
                <a:cs typeface="Segoe UI Semibold" panose="020B0702040204020203" pitchFamily="34" charset="0"/>
              </a:rPr>
              <a:t>How do you activate this benefit?</a:t>
            </a:r>
          </a:p>
          <a:p>
            <a:pPr marL="0" indent="0">
              <a:spcAft>
                <a:spcPts val="612"/>
              </a:spcAft>
              <a:buNone/>
            </a:pPr>
            <a:r>
              <a:rPr lang="en-US" dirty="0"/>
              <a:t>Deploy a SQL DB Managed Instance and select Azure Hybrid Benefit as an option in the portal. </a:t>
            </a:r>
          </a:p>
          <a:p>
            <a:pPr marL="0" indent="0">
              <a:spcAft>
                <a:spcPts val="612"/>
              </a:spcAft>
              <a:buNone/>
            </a:pPr>
            <a:endParaRPr lang="en-US" dirty="0"/>
          </a:p>
          <a:p>
            <a:pPr marL="0" indent="0">
              <a:buNone/>
            </a:pPr>
            <a:r>
              <a:rPr lang="en-US" sz="1836" b="1" dirty="0">
                <a:hlinkClick r:id="rId3"/>
              </a:rPr>
              <a:t>Learn more</a:t>
            </a:r>
            <a:endParaRPr lang="en-US" sz="1836" b="1" dirty="0"/>
          </a:p>
        </p:txBody>
      </p:sp>
      <p:sp>
        <p:nvSpPr>
          <p:cNvPr id="221" name="TextBox 220">
            <a:extLst>
              <a:ext uri="{FF2B5EF4-FFF2-40B4-BE49-F238E27FC236}">
                <a16:creationId xmlns:a16="http://schemas.microsoft.com/office/drawing/2014/main" id="{7D46746F-2713-48A8-A060-5E455F2801A0}"/>
              </a:ext>
            </a:extLst>
          </p:cNvPr>
          <p:cNvSpPr txBox="1"/>
          <p:nvPr/>
        </p:nvSpPr>
        <p:spPr>
          <a:xfrm>
            <a:off x="5611304" y="358747"/>
            <a:ext cx="5944533" cy="734534"/>
          </a:xfrm>
          <a:prstGeom prst="rect">
            <a:avLst/>
          </a:prstGeom>
          <a:noFill/>
        </p:spPr>
        <p:txBody>
          <a:bodyPr wrap="square" rtlCol="0">
            <a:spAutoFit/>
          </a:bodyPr>
          <a:lstStyle/>
          <a:p>
            <a:r>
              <a:rPr lang="en-US" sz="2040" b="1" kern="0" spc="102" dirty="0">
                <a:latin typeface="Segoe UI Semibold" charset="0"/>
                <a:cs typeface="Segoe UI Semibold" charset="0"/>
              </a:rPr>
              <a:t>Save up to 55% with Azure Hybrid Benefit for SQL Server (Managed Instance pricing)</a:t>
            </a:r>
          </a:p>
        </p:txBody>
      </p:sp>
      <p:sp>
        <p:nvSpPr>
          <p:cNvPr id="7" name="TextBox 6">
            <a:extLst>
              <a:ext uri="{FF2B5EF4-FFF2-40B4-BE49-F238E27FC236}">
                <a16:creationId xmlns:a16="http://schemas.microsoft.com/office/drawing/2014/main" id="{518AD6B3-7EF9-43D3-916E-CD24E2628102}"/>
              </a:ext>
            </a:extLst>
          </p:cNvPr>
          <p:cNvSpPr txBox="1"/>
          <p:nvPr/>
        </p:nvSpPr>
        <p:spPr>
          <a:xfrm>
            <a:off x="5415171" y="6408195"/>
            <a:ext cx="6876185" cy="606357"/>
          </a:xfrm>
          <a:prstGeom prst="rect">
            <a:avLst/>
          </a:prstGeom>
          <a:noFill/>
        </p:spPr>
        <p:txBody>
          <a:bodyPr wrap="square" rtlCol="0">
            <a:spAutoFit/>
          </a:bodyPr>
          <a:lstStyle/>
          <a:p>
            <a:r>
              <a:rPr lang="en-US" sz="816" baseline="30000" dirty="0">
                <a:latin typeface="Segoe UI" charset="0"/>
                <a:ea typeface="Segoe UI" charset="0"/>
                <a:cs typeface="Segoe UI" charset="0"/>
              </a:rPr>
              <a:t>1</a:t>
            </a:r>
            <a:r>
              <a:rPr lang="en-US" sz="816" dirty="0">
                <a:latin typeface="Segoe UI" charset="0"/>
                <a:ea typeface="Segoe UI" charset="0"/>
                <a:cs typeface="Segoe UI" charset="0"/>
              </a:rPr>
              <a:t> </a:t>
            </a:r>
            <a:r>
              <a:rPr lang="en-US" sz="816" dirty="0"/>
              <a:t>Savings based on eight </a:t>
            </a:r>
            <a:r>
              <a:rPr lang="en-US" sz="816" dirty="0" err="1"/>
              <a:t>vCore</a:t>
            </a:r>
            <a:r>
              <a:rPr lang="en-US" sz="816" dirty="0"/>
              <a:t> Managed Instance Business Critical in East US Region, running 730 hours per month.  Savings are calculated from full price (license included) against base rate (applying Azure Hybrid Benefit for SQL Server), which excludes Software Assurance cost for SQL Server Enterprise edition, which may vary based on EA agreement.  Actual savings may vary based on region, instance size and performance tier.  Prices as of December 2017, subject to change.</a:t>
            </a:r>
            <a:endParaRPr lang="en-US" sz="1020" dirty="0"/>
          </a:p>
        </p:txBody>
      </p:sp>
      <p:graphicFrame>
        <p:nvGraphicFramePr>
          <p:cNvPr id="15" name="Table 14">
            <a:extLst>
              <a:ext uri="{FF2B5EF4-FFF2-40B4-BE49-F238E27FC236}">
                <a16:creationId xmlns:a16="http://schemas.microsoft.com/office/drawing/2014/main" id="{6AA57176-9309-452B-87BD-D88205426D24}"/>
              </a:ext>
            </a:extLst>
          </p:cNvPr>
          <p:cNvGraphicFramePr>
            <a:graphicFrameLocks noGrp="1"/>
          </p:cNvGraphicFramePr>
          <p:nvPr>
            <p:extLst/>
          </p:nvPr>
        </p:nvGraphicFramePr>
        <p:xfrm>
          <a:off x="5611305" y="3657280"/>
          <a:ext cx="6680057" cy="1746949"/>
        </p:xfrm>
        <a:graphic>
          <a:graphicData uri="http://schemas.openxmlformats.org/drawingml/2006/table">
            <a:tbl>
              <a:tblPr firstRow="1" firstCol="1" bandRow="1">
                <a:tableStyleId>{5940675A-B579-460E-94D1-54222C63F5DA}</a:tableStyleId>
              </a:tblPr>
              <a:tblGrid>
                <a:gridCol w="1246559">
                  <a:extLst>
                    <a:ext uri="{9D8B030D-6E8A-4147-A177-3AD203B41FA5}">
                      <a16:colId xmlns:a16="http://schemas.microsoft.com/office/drawing/2014/main" val="2597501217"/>
                    </a:ext>
                  </a:extLst>
                </a:gridCol>
                <a:gridCol w="1330571">
                  <a:extLst>
                    <a:ext uri="{9D8B030D-6E8A-4147-A177-3AD203B41FA5}">
                      <a16:colId xmlns:a16="http://schemas.microsoft.com/office/drawing/2014/main" val="2692516462"/>
                    </a:ext>
                  </a:extLst>
                </a:gridCol>
                <a:gridCol w="1353179">
                  <a:extLst>
                    <a:ext uri="{9D8B030D-6E8A-4147-A177-3AD203B41FA5}">
                      <a16:colId xmlns:a16="http://schemas.microsoft.com/office/drawing/2014/main" val="2797929684"/>
                    </a:ext>
                  </a:extLst>
                </a:gridCol>
                <a:gridCol w="1406605">
                  <a:extLst>
                    <a:ext uri="{9D8B030D-6E8A-4147-A177-3AD203B41FA5}">
                      <a16:colId xmlns:a16="http://schemas.microsoft.com/office/drawing/2014/main" val="2583032799"/>
                    </a:ext>
                  </a:extLst>
                </a:gridCol>
                <a:gridCol w="1343143">
                  <a:extLst>
                    <a:ext uri="{9D8B030D-6E8A-4147-A177-3AD203B41FA5}">
                      <a16:colId xmlns:a16="http://schemas.microsoft.com/office/drawing/2014/main" val="3093132087"/>
                    </a:ext>
                  </a:extLst>
                </a:gridCol>
              </a:tblGrid>
              <a:tr h="278162">
                <a:tc>
                  <a:txBody>
                    <a:bodyPr/>
                    <a:lstStyle/>
                    <a:p>
                      <a:pPr marL="0" marR="0">
                        <a:lnSpc>
                          <a:spcPct val="107000"/>
                        </a:lnSpc>
                        <a:spcBef>
                          <a:spcPts val="0"/>
                        </a:spcBef>
                        <a:spcAft>
                          <a:spcPts val="0"/>
                        </a:spcAft>
                      </a:pPr>
                      <a:endPar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marR="0" algn="ctr">
                        <a:lnSpc>
                          <a:spcPct val="107000"/>
                        </a:lnSpc>
                        <a:spcBef>
                          <a:spcPts val="0"/>
                        </a:spcBef>
                        <a:spcAft>
                          <a:spcPts val="0"/>
                        </a:spcAft>
                      </a:pPr>
                      <a:r>
                        <a:rPr lang="en-US" sz="1200">
                          <a:solidFill>
                            <a:schemeClr val="bg1"/>
                          </a:solidFill>
                          <a:effectLst/>
                          <a:latin typeface="+mn-lt"/>
                          <a:ea typeface="Calibri" panose="020F0502020204030204" pitchFamily="34" charset="0"/>
                          <a:cs typeface="Times New Roman" panose="02020603050405020304" pitchFamily="18" charset="0"/>
                        </a:rPr>
                        <a:t>General Purpose (GA)</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hMerge="1">
                  <a:txBody>
                    <a:bodyPr/>
                    <a:lstStyle/>
                    <a:p>
                      <a:pPr marL="0" marR="0" algn="ctr">
                        <a:lnSpc>
                          <a:spcPct val="107000"/>
                        </a:lnSpc>
                        <a:spcBef>
                          <a:spcPts val="0"/>
                        </a:spcBef>
                        <a:spcAft>
                          <a:spcPts val="0"/>
                        </a:spcAft>
                      </a:pPr>
                      <a:endParaRPr lang="en-US" sz="1200">
                        <a:solidFill>
                          <a:schemeClr val="bg1"/>
                        </a:solidFill>
                        <a:effectLst/>
                        <a:latin typeface="+mn-lt"/>
                        <a:ea typeface="Calibri" panose="020F0502020204030204" pitchFamily="34" charset="0"/>
                        <a:cs typeface="Times New Roman" panose="02020603050405020304" pitchFamily="18" charset="0"/>
                      </a:endParaRPr>
                    </a:p>
                  </a:txBody>
                  <a:tcPr marL="137160" marR="137160" marT="137160" marB="1371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gridSpan="2">
                  <a:txBody>
                    <a:bodyPr/>
                    <a:lstStyle/>
                    <a:p>
                      <a:pPr marL="0" marR="0" algn="ctr">
                        <a:lnSpc>
                          <a:spcPct val="107000"/>
                        </a:lnSpc>
                        <a:spcBef>
                          <a:spcPts val="0"/>
                        </a:spcBef>
                        <a:spcAft>
                          <a:spcPts val="0"/>
                        </a:spcAft>
                      </a:pPr>
                      <a:r>
                        <a:rPr lang="en-US" sz="1200">
                          <a:solidFill>
                            <a:schemeClr val="bg1"/>
                          </a:solidFill>
                          <a:effectLst/>
                          <a:latin typeface="+mn-lt"/>
                          <a:ea typeface="Calibri" panose="020F0502020204030204" pitchFamily="34" charset="0"/>
                          <a:cs typeface="Times New Roman" panose="02020603050405020304" pitchFamily="18" charset="0"/>
                        </a:rPr>
                        <a:t>Business Critical (GA)</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hMerge="1">
                  <a:txBody>
                    <a:bodyPr/>
                    <a:lstStyle/>
                    <a:p>
                      <a:pPr marL="0" marR="0" algn="ctr">
                        <a:lnSpc>
                          <a:spcPct val="107000"/>
                        </a:lnSpc>
                        <a:spcBef>
                          <a:spcPts val="0"/>
                        </a:spcBef>
                        <a:spcAft>
                          <a:spcPts val="0"/>
                        </a:spcAft>
                      </a:pPr>
                      <a:endParaRPr lang="en-US" sz="1200">
                        <a:solidFill>
                          <a:schemeClr val="bg1"/>
                        </a:solidFill>
                        <a:effectLst/>
                        <a:latin typeface="+mn-lt"/>
                        <a:ea typeface="Calibri" panose="020F0502020204030204" pitchFamily="34" charset="0"/>
                        <a:cs typeface="Times New Roman" panose="02020603050405020304" pitchFamily="18" charset="0"/>
                      </a:endParaRPr>
                    </a:p>
                  </a:txBody>
                  <a:tcPr marL="137160" marR="137160" marT="137160" marB="1371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extLst>
                  <a:ext uri="{0D108BD9-81ED-4DB2-BD59-A6C34878D82A}">
                    <a16:rowId xmlns:a16="http://schemas.microsoft.com/office/drawing/2014/main" val="1839344214"/>
                  </a:ext>
                </a:extLst>
              </a:tr>
              <a:tr h="541817">
                <a:tc>
                  <a:txBody>
                    <a:bodyPr/>
                    <a:lstStyle/>
                    <a:p>
                      <a:pPr marL="0" marR="0">
                        <a:lnSpc>
                          <a:spcPct val="107000"/>
                        </a:lnSpc>
                        <a:spcBef>
                          <a:spcPts val="0"/>
                        </a:spcBef>
                        <a:spcAft>
                          <a:spcPts val="0"/>
                        </a:spcAft>
                      </a:pPr>
                      <a:r>
                        <a:rPr lang="en-US" sz="1400" dirty="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Pricing (monthly)</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a:solidFill>
                            <a:schemeClr val="bg1"/>
                          </a:solidFill>
                          <a:effectLst/>
                          <a:latin typeface="+mn-lt"/>
                          <a:ea typeface="Calibri" panose="020F0502020204030204" pitchFamily="34" charset="0"/>
                          <a:cs typeface="Times New Roman" panose="02020603050405020304" pitchFamily="18" charset="0"/>
                        </a:rPr>
                        <a:t>License Included</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a:txBody>
                    <a:bodyPr/>
                    <a:lstStyle/>
                    <a:p>
                      <a:pPr marL="0" marR="0" algn="ctr">
                        <a:lnSpc>
                          <a:spcPct val="107000"/>
                        </a:lnSpc>
                        <a:spcBef>
                          <a:spcPts val="0"/>
                        </a:spcBef>
                        <a:spcAft>
                          <a:spcPts val="0"/>
                        </a:spcAft>
                      </a:pPr>
                      <a:r>
                        <a:rPr lang="en-US" sz="1200">
                          <a:solidFill>
                            <a:schemeClr val="bg1"/>
                          </a:solidFill>
                          <a:effectLst/>
                          <a:latin typeface="+mn-lt"/>
                          <a:ea typeface="Calibri" panose="020F0502020204030204" pitchFamily="34" charset="0"/>
                          <a:cs typeface="Times New Roman" panose="02020603050405020304" pitchFamily="18" charset="0"/>
                        </a:rPr>
                        <a:t>AHB for SQL Server</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a:txBody>
                    <a:bodyPr/>
                    <a:lstStyle/>
                    <a:p>
                      <a:pPr marL="0" marR="0" algn="ctr">
                        <a:lnSpc>
                          <a:spcPct val="107000"/>
                        </a:lnSpc>
                        <a:spcBef>
                          <a:spcPts val="0"/>
                        </a:spcBef>
                        <a:spcAft>
                          <a:spcPts val="0"/>
                        </a:spcAft>
                      </a:pPr>
                      <a:r>
                        <a:rPr lang="en-US" sz="1200">
                          <a:solidFill>
                            <a:schemeClr val="bg1"/>
                          </a:solidFill>
                          <a:effectLst/>
                          <a:latin typeface="+mn-lt"/>
                          <a:ea typeface="Calibri" panose="020F0502020204030204" pitchFamily="34" charset="0"/>
                          <a:cs typeface="Times New Roman" panose="02020603050405020304" pitchFamily="18" charset="0"/>
                        </a:rPr>
                        <a:t>License Included</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a:txBody>
                    <a:bodyPr/>
                    <a:lstStyle/>
                    <a:p>
                      <a:pPr marL="0" marR="0" algn="ctr">
                        <a:lnSpc>
                          <a:spcPct val="107000"/>
                        </a:lnSpc>
                        <a:spcBef>
                          <a:spcPts val="0"/>
                        </a:spcBef>
                        <a:spcAft>
                          <a:spcPts val="0"/>
                        </a:spcAft>
                      </a:pPr>
                      <a:r>
                        <a:rPr lang="en-US" sz="1200">
                          <a:solidFill>
                            <a:schemeClr val="bg1"/>
                          </a:solidFill>
                          <a:effectLst/>
                          <a:latin typeface="+mn-lt"/>
                          <a:ea typeface="Calibri" panose="020F0502020204030204" pitchFamily="34" charset="0"/>
                          <a:cs typeface="Times New Roman" panose="02020603050405020304" pitchFamily="18" charset="0"/>
                        </a:rPr>
                        <a:t>AHB for SQL Server</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extLst>
                  <a:ext uri="{0D108BD9-81ED-4DB2-BD59-A6C34878D82A}">
                    <a16:rowId xmlns:a16="http://schemas.microsoft.com/office/drawing/2014/main" val="2661337942"/>
                  </a:ext>
                </a:extLst>
              </a:tr>
              <a:tr h="308990">
                <a:tc>
                  <a:txBody>
                    <a:bodyPr/>
                    <a:lstStyle/>
                    <a:p>
                      <a:pPr marL="0" marR="0">
                        <a:lnSpc>
                          <a:spcPct val="107000"/>
                        </a:lnSpc>
                        <a:spcBef>
                          <a:spcPts val="0"/>
                        </a:spcBef>
                        <a:spcAft>
                          <a:spcPts val="0"/>
                        </a:spcAft>
                      </a:pPr>
                      <a:r>
                        <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8 </a:t>
                      </a:r>
                      <a:r>
                        <a:rPr lang="en-US" sz="1400" err="1">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vCores</a:t>
                      </a:r>
                      <a:endPar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1,501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906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4,044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1,812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1283061"/>
                  </a:ext>
                </a:extLst>
              </a:tr>
              <a:tr h="308990">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16 </a:t>
                      </a:r>
                      <a:r>
                        <a:rPr lang="en-US" sz="1400" err="1">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vCores</a:t>
                      </a:r>
                      <a:endPar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3,002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1,812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8,087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3,623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4051949"/>
                  </a:ext>
                </a:extLst>
              </a:tr>
              <a:tr h="308990">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24 </a:t>
                      </a:r>
                      <a:r>
                        <a:rPr lang="en-US" sz="1400" err="1">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vCores</a:t>
                      </a:r>
                      <a:endPar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4,503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2,717</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12,130</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dirty="0">
                          <a:solidFill>
                            <a:schemeClr val="tx1"/>
                          </a:solidFill>
                          <a:effectLst/>
                          <a:latin typeface="+mn-lt"/>
                          <a:ea typeface="Calibri" panose="020F0502020204030204" pitchFamily="34" charset="0"/>
                          <a:cs typeface="Times New Roman" panose="02020603050405020304" pitchFamily="18" charset="0"/>
                        </a:rPr>
                        <a:t> $5,435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05202061"/>
                  </a:ext>
                </a:extLst>
              </a:tr>
            </a:tbl>
          </a:graphicData>
        </a:graphic>
      </p:graphicFrame>
      <p:graphicFrame>
        <p:nvGraphicFramePr>
          <p:cNvPr id="4" name="Table 3">
            <a:extLst>
              <a:ext uri="{FF2B5EF4-FFF2-40B4-BE49-F238E27FC236}">
                <a16:creationId xmlns:a16="http://schemas.microsoft.com/office/drawing/2014/main" id="{B8377D97-CACD-4315-8109-F36335660E9F}"/>
              </a:ext>
            </a:extLst>
          </p:cNvPr>
          <p:cNvGraphicFramePr>
            <a:graphicFrameLocks noGrp="1"/>
          </p:cNvGraphicFramePr>
          <p:nvPr>
            <p:extLst/>
          </p:nvPr>
        </p:nvGraphicFramePr>
        <p:xfrm>
          <a:off x="5611303" y="5580848"/>
          <a:ext cx="6680059" cy="739608"/>
        </p:xfrm>
        <a:graphic>
          <a:graphicData uri="http://schemas.openxmlformats.org/drawingml/2006/table">
            <a:tbl>
              <a:tblPr firstRow="1">
                <a:tableStyleId>{5C22544A-7EE6-4342-B048-85BDC9FD1C3A}</a:tableStyleId>
              </a:tblPr>
              <a:tblGrid>
                <a:gridCol w="1508227">
                  <a:extLst>
                    <a:ext uri="{9D8B030D-6E8A-4147-A177-3AD203B41FA5}">
                      <a16:colId xmlns:a16="http://schemas.microsoft.com/office/drawing/2014/main" val="3360050068"/>
                    </a:ext>
                  </a:extLst>
                </a:gridCol>
                <a:gridCol w="2585916">
                  <a:extLst>
                    <a:ext uri="{9D8B030D-6E8A-4147-A177-3AD203B41FA5}">
                      <a16:colId xmlns:a16="http://schemas.microsoft.com/office/drawing/2014/main" val="1421146315"/>
                    </a:ext>
                  </a:extLst>
                </a:gridCol>
                <a:gridCol w="2585916">
                  <a:extLst>
                    <a:ext uri="{9D8B030D-6E8A-4147-A177-3AD203B41FA5}">
                      <a16:colId xmlns:a16="http://schemas.microsoft.com/office/drawing/2014/main" val="665990163"/>
                    </a:ext>
                  </a:extLst>
                </a:gridCol>
              </a:tblGrid>
              <a:tr h="184902">
                <a:tc>
                  <a:txBody>
                    <a:bodyPr/>
                    <a:lstStyle/>
                    <a:p>
                      <a:pPr marL="0" marR="0">
                        <a:lnSpc>
                          <a:spcPct val="107000"/>
                        </a:lnSpc>
                        <a:spcBef>
                          <a:spcPts val="0"/>
                        </a:spcBef>
                        <a:spcAft>
                          <a:spcPts val="0"/>
                        </a:spcAft>
                      </a:pPr>
                      <a:r>
                        <a:rPr lang="en-US" sz="1200" b="0" kern="1200">
                          <a:solidFill>
                            <a:schemeClr val="bg1"/>
                          </a:solidFill>
                          <a:effectLst/>
                          <a:latin typeface="+mn-lt"/>
                          <a:cs typeface="Times New Roman" panose="02020603050405020304" pitchFamily="18" charset="0"/>
                        </a:rPr>
                        <a:t>Type of Storage/IO</a:t>
                      </a:r>
                      <a:endParaRPr lang="en-US" sz="1200" b="0" kern="1200">
                        <a:solidFill>
                          <a:schemeClr val="bg1"/>
                        </a:solidFill>
                        <a:effectLst/>
                        <a:latin typeface="+mn-lt"/>
                        <a:ea typeface="Calibri" panose="020F0502020204030204" pitchFamily="34" charset="0"/>
                        <a:cs typeface="Times New Roman" panose="02020603050405020304" pitchFamily="18" charset="0"/>
                      </a:endParaRP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b="0" kern="1200">
                          <a:solidFill>
                            <a:schemeClr val="bg1"/>
                          </a:solidFill>
                          <a:effectLst/>
                          <a:latin typeface="+mn-lt"/>
                          <a:cs typeface="Times New Roman" panose="02020603050405020304" pitchFamily="18" charset="0"/>
                        </a:rPr>
                        <a:t>Included with Compute (per SKU)</a:t>
                      </a:r>
                      <a:endParaRPr lang="en-US" sz="1200" b="0" kern="1200">
                        <a:solidFill>
                          <a:schemeClr val="bg1"/>
                        </a:solidFill>
                        <a:effectLst/>
                        <a:latin typeface="+mn-lt"/>
                        <a:ea typeface="Calibri" panose="020F0502020204030204" pitchFamily="34" charset="0"/>
                        <a:cs typeface="Times New Roman" panose="02020603050405020304" pitchFamily="18" charset="0"/>
                      </a:endParaRP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b="0" kern="1200">
                          <a:solidFill>
                            <a:schemeClr val="bg1"/>
                          </a:solidFill>
                          <a:effectLst/>
                          <a:latin typeface="+mn-lt"/>
                          <a:cs typeface="Times New Roman" panose="02020603050405020304" pitchFamily="18" charset="0"/>
                        </a:rPr>
                        <a:t>Additional price </a:t>
                      </a:r>
                      <a:endParaRPr lang="en-US" sz="1200" b="0" kern="1200">
                        <a:solidFill>
                          <a:schemeClr val="bg1"/>
                        </a:solidFill>
                        <a:effectLst/>
                        <a:latin typeface="+mn-lt"/>
                        <a:ea typeface="Calibri" panose="020F0502020204030204" pitchFamily="34" charset="0"/>
                        <a:cs typeface="Times New Roman" panose="02020603050405020304" pitchFamily="18" charset="0"/>
                      </a:endParaRP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4801344"/>
                  </a:ext>
                </a:extLst>
              </a:tr>
              <a:tr h="184902">
                <a:tc>
                  <a:txBody>
                    <a:bodyPr/>
                    <a:lstStyle/>
                    <a:p>
                      <a:pPr marL="0" marR="0" algn="l" defTabSz="914367" rtl="0" eaLnBrk="1" latinLnBrk="0" hangingPunct="1">
                        <a:lnSpc>
                          <a:spcPct val="107000"/>
                        </a:lnSpc>
                        <a:spcBef>
                          <a:spcPts val="0"/>
                        </a:spcBef>
                        <a:spcAft>
                          <a:spcPts val="0"/>
                        </a:spcAft>
                      </a:pPr>
                      <a:r>
                        <a:rPr lang="en-US" sz="1200" kern="1200">
                          <a:solidFill>
                            <a:schemeClr val="tx1"/>
                          </a:solidFill>
                          <a:effectLst/>
                          <a:latin typeface="+mn-lt"/>
                          <a:ea typeface="+mn-ea"/>
                          <a:cs typeface="Times New Roman" panose="02020603050405020304" pitchFamily="18" charset="0"/>
                        </a:rPr>
                        <a:t>General Purpose</a:t>
                      </a: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defTabSz="914367" rtl="0" eaLnBrk="1" latinLnBrk="0" hangingPunct="1">
                        <a:lnSpc>
                          <a:spcPct val="107000"/>
                        </a:lnSpc>
                        <a:spcBef>
                          <a:spcPts val="0"/>
                        </a:spcBef>
                        <a:spcAft>
                          <a:spcPts val="0"/>
                        </a:spcAft>
                      </a:pPr>
                      <a:r>
                        <a:rPr lang="en-US" sz="1200" kern="1200">
                          <a:solidFill>
                            <a:schemeClr val="tx1"/>
                          </a:solidFill>
                          <a:effectLst/>
                          <a:latin typeface="+mn-lt"/>
                          <a:ea typeface="+mn-ea"/>
                          <a:cs typeface="Times New Roman" panose="02020603050405020304" pitchFamily="18" charset="0"/>
                        </a:rPr>
                        <a:t>32 GB</a:t>
                      </a: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kern="1200">
                          <a:solidFill>
                            <a:schemeClr val="tx1"/>
                          </a:solidFill>
                          <a:effectLst/>
                          <a:latin typeface="+mn-lt"/>
                          <a:cs typeface="Times New Roman" panose="02020603050405020304" pitchFamily="18" charset="0"/>
                        </a:rPr>
                        <a:t>$0.125/GB-Month </a:t>
                      </a:r>
                      <a:endParaRPr lang="en-US" sz="1200" kern="1200">
                        <a:solidFill>
                          <a:schemeClr val="tx1"/>
                        </a:solidFill>
                        <a:effectLst/>
                        <a:latin typeface="+mn-lt"/>
                        <a:ea typeface="Calibri" panose="020F0502020204030204" pitchFamily="34" charset="0"/>
                        <a:cs typeface="Times New Roman" panose="02020603050405020304" pitchFamily="18" charset="0"/>
                      </a:endParaRP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47581923"/>
                  </a:ext>
                </a:extLst>
              </a:tr>
              <a:tr h="184902">
                <a:tc>
                  <a:txBody>
                    <a:bodyPr/>
                    <a:lstStyle/>
                    <a:p>
                      <a:pPr marL="0" marR="0" algn="l" defTabSz="914367" rtl="0" eaLnBrk="1" latinLnBrk="0" hangingPunct="1">
                        <a:lnSpc>
                          <a:spcPct val="107000"/>
                        </a:lnSpc>
                        <a:spcBef>
                          <a:spcPts val="0"/>
                        </a:spcBef>
                        <a:spcAft>
                          <a:spcPts val="0"/>
                        </a:spcAft>
                      </a:pPr>
                      <a:r>
                        <a:rPr lang="en-US" sz="1200" kern="1200">
                          <a:solidFill>
                            <a:schemeClr val="tx1"/>
                          </a:solidFill>
                          <a:effectLst/>
                          <a:latin typeface="+mn-lt"/>
                          <a:ea typeface="+mn-ea"/>
                          <a:cs typeface="Times New Roman" panose="02020603050405020304" pitchFamily="18" charset="0"/>
                        </a:rPr>
                        <a:t>Business critical </a:t>
                      </a: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defTabSz="914367" rtl="0" eaLnBrk="1" latinLnBrk="0" hangingPunct="1">
                        <a:lnSpc>
                          <a:spcPct val="107000"/>
                        </a:lnSpc>
                        <a:spcBef>
                          <a:spcPts val="0"/>
                        </a:spcBef>
                        <a:spcAft>
                          <a:spcPts val="0"/>
                        </a:spcAft>
                      </a:pPr>
                      <a:r>
                        <a:rPr lang="en-US" sz="1200" kern="1200">
                          <a:solidFill>
                            <a:schemeClr val="tx1"/>
                          </a:solidFill>
                          <a:effectLst/>
                          <a:latin typeface="+mn-lt"/>
                          <a:ea typeface="+mn-ea"/>
                          <a:cs typeface="Times New Roman" panose="02020603050405020304" pitchFamily="18" charset="0"/>
                        </a:rPr>
                        <a:t>32 GB </a:t>
                      </a: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kern="1200">
                          <a:solidFill>
                            <a:schemeClr val="tx1"/>
                          </a:solidFill>
                          <a:effectLst/>
                          <a:latin typeface="+mn-lt"/>
                          <a:cs typeface="Times New Roman" panose="02020603050405020304" pitchFamily="18" charset="0"/>
                        </a:rPr>
                        <a:t>$0.250/GB-Month </a:t>
                      </a:r>
                      <a:endParaRPr lang="en-US" sz="1200" kern="1200">
                        <a:solidFill>
                          <a:schemeClr val="tx1"/>
                        </a:solidFill>
                        <a:effectLst/>
                        <a:latin typeface="+mn-lt"/>
                        <a:ea typeface="Calibri" panose="020F0502020204030204" pitchFamily="34" charset="0"/>
                        <a:cs typeface="Times New Roman" panose="02020603050405020304" pitchFamily="18" charset="0"/>
                      </a:endParaRP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27804657"/>
                  </a:ext>
                </a:extLst>
              </a:tr>
              <a:tr h="184902">
                <a:tc>
                  <a:txBody>
                    <a:bodyPr/>
                    <a:lstStyle/>
                    <a:p>
                      <a:pPr marL="0" marR="0" algn="l" defTabSz="914367" rtl="0" eaLnBrk="1" latinLnBrk="0" hangingPunct="1">
                        <a:lnSpc>
                          <a:spcPct val="107000"/>
                        </a:lnSpc>
                        <a:spcBef>
                          <a:spcPts val="0"/>
                        </a:spcBef>
                        <a:spcAft>
                          <a:spcPts val="0"/>
                        </a:spcAft>
                      </a:pPr>
                      <a:r>
                        <a:rPr lang="en-US" sz="1200" kern="1200" dirty="0">
                          <a:solidFill>
                            <a:schemeClr val="tx1"/>
                          </a:solidFill>
                          <a:effectLst/>
                          <a:latin typeface="+mn-lt"/>
                          <a:ea typeface="+mn-ea"/>
                          <a:cs typeface="Times New Roman" panose="02020603050405020304" pitchFamily="18" charset="0"/>
                        </a:rPr>
                        <a:t>IO rate </a:t>
                      </a: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defTabSz="914367" rtl="0" eaLnBrk="1" latinLnBrk="0" hangingPunct="1">
                        <a:lnSpc>
                          <a:spcPct val="107000"/>
                        </a:lnSpc>
                        <a:spcBef>
                          <a:spcPts val="0"/>
                        </a:spcBef>
                        <a:spcAft>
                          <a:spcPts val="0"/>
                        </a:spcAft>
                      </a:pPr>
                      <a:r>
                        <a:rPr lang="en-US" sz="1200" kern="1200" dirty="0">
                          <a:solidFill>
                            <a:schemeClr val="tx1"/>
                          </a:solidFill>
                          <a:effectLst/>
                          <a:latin typeface="+mn-lt"/>
                          <a:ea typeface="+mn-ea"/>
                          <a:cs typeface="Times New Roman" panose="02020603050405020304" pitchFamily="18" charset="0"/>
                        </a:rPr>
                        <a:t> NA </a:t>
                      </a: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kern="1200" dirty="0">
                          <a:solidFill>
                            <a:schemeClr val="tx1"/>
                          </a:solidFill>
                          <a:effectLst/>
                          <a:latin typeface="+mn-lt"/>
                          <a:cs typeface="Times New Roman" panose="02020603050405020304" pitchFamily="18" charset="0"/>
                        </a:rPr>
                        <a:t>$0.20 per 1 million requests</a:t>
                      </a:r>
                      <a:endParaRPr lang="en-US" sz="1200" kern="1200" dirty="0">
                        <a:solidFill>
                          <a:schemeClr val="tx1"/>
                        </a:solidFill>
                        <a:effectLst/>
                        <a:latin typeface="+mn-lt"/>
                        <a:ea typeface="Calibri" panose="020F0502020204030204" pitchFamily="34" charset="0"/>
                        <a:cs typeface="Times New Roman" panose="02020603050405020304" pitchFamily="18" charset="0"/>
                      </a:endParaRP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0936270"/>
                  </a:ext>
                </a:extLst>
              </a:tr>
            </a:tbl>
          </a:graphicData>
        </a:graphic>
      </p:graphicFrame>
      <p:grpSp>
        <p:nvGrpSpPr>
          <p:cNvPr id="14" name="Group 13">
            <a:extLst>
              <a:ext uri="{FF2B5EF4-FFF2-40B4-BE49-F238E27FC236}">
                <a16:creationId xmlns:a16="http://schemas.microsoft.com/office/drawing/2014/main" id="{6A5AF60B-1236-4549-8E68-4A226712F6CC}"/>
              </a:ext>
            </a:extLst>
          </p:cNvPr>
          <p:cNvGrpSpPr/>
          <p:nvPr/>
        </p:nvGrpSpPr>
        <p:grpSpPr>
          <a:xfrm>
            <a:off x="275482" y="6040194"/>
            <a:ext cx="220575" cy="736002"/>
            <a:chOff x="4081774" y="3329291"/>
            <a:chExt cx="208476" cy="695630"/>
          </a:xfrm>
        </p:grpSpPr>
        <p:sp>
          <p:nvSpPr>
            <p:cNvPr id="16" name="Freeform: Shape 234">
              <a:extLst>
                <a:ext uri="{FF2B5EF4-FFF2-40B4-BE49-F238E27FC236}">
                  <a16:creationId xmlns:a16="http://schemas.microsoft.com/office/drawing/2014/main" id="{EAD0CD15-EEAB-4A9B-9C62-7D9F053BC638}"/>
                </a:ext>
              </a:extLst>
            </p:cNvPr>
            <p:cNvSpPr/>
            <p:nvPr/>
          </p:nvSpPr>
          <p:spPr bwMode="auto">
            <a:xfrm>
              <a:off x="4081774" y="3385143"/>
              <a:ext cx="208476" cy="428318"/>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p>
          </p:txBody>
        </p:sp>
        <p:cxnSp>
          <p:nvCxnSpPr>
            <p:cNvPr id="17" name="Straight Connector 16">
              <a:extLst>
                <a:ext uri="{FF2B5EF4-FFF2-40B4-BE49-F238E27FC236}">
                  <a16:creationId xmlns:a16="http://schemas.microsoft.com/office/drawing/2014/main" id="{0E3C161E-3A71-481D-BCB7-E698F619F40B}"/>
                </a:ext>
              </a:extLst>
            </p:cNvPr>
            <p:cNvCxnSpPr>
              <a:cxnSpLocks/>
            </p:cNvCxnSpPr>
            <p:nvPr/>
          </p:nvCxnSpPr>
          <p:spPr>
            <a:xfrm>
              <a:off x="4186012" y="3329291"/>
              <a:ext cx="0" cy="695630"/>
            </a:xfrm>
            <a:prstGeom prst="line">
              <a:avLst/>
            </a:prstGeom>
            <a:ln w="190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1F10D323-7A82-4FAA-984C-55C4EA80D841}"/>
              </a:ext>
            </a:extLst>
          </p:cNvPr>
          <p:cNvSpPr txBox="1"/>
          <p:nvPr/>
        </p:nvSpPr>
        <p:spPr>
          <a:xfrm>
            <a:off x="489948" y="6646092"/>
            <a:ext cx="4406551" cy="353534"/>
          </a:xfrm>
          <a:prstGeom prst="rect">
            <a:avLst/>
          </a:prstGeom>
          <a:noFill/>
        </p:spPr>
        <p:txBody>
          <a:bodyPr wrap="square" lIns="93260" tIns="46630" rIns="93260" bIns="46630" rtlCol="0">
            <a:spAutoFit/>
          </a:bodyPr>
          <a:lstStyle/>
          <a:p>
            <a:pPr>
              <a:lnSpc>
                <a:spcPct val="90000"/>
              </a:lnSpc>
              <a:spcAft>
                <a:spcPts val="612"/>
              </a:spcAft>
            </a:pPr>
            <a:r>
              <a:rPr lang="en-US" sz="918" dirty="0">
                <a:solidFill>
                  <a:schemeClr val="bg1"/>
                </a:solidFill>
              </a:rPr>
              <a:t>*Based upon comparison of on-demand pricing on Azure for Managed Instance versus running SQL on AWS RDS.</a:t>
            </a:r>
          </a:p>
        </p:txBody>
      </p:sp>
      <p:sp>
        <p:nvSpPr>
          <p:cNvPr id="25" name="TextBox 24">
            <a:extLst>
              <a:ext uri="{FF2B5EF4-FFF2-40B4-BE49-F238E27FC236}">
                <a16:creationId xmlns:a16="http://schemas.microsoft.com/office/drawing/2014/main" id="{26B45A7C-986D-492D-A2C4-459E7EB9AB19}"/>
              </a:ext>
            </a:extLst>
          </p:cNvPr>
          <p:cNvSpPr txBox="1"/>
          <p:nvPr/>
        </p:nvSpPr>
        <p:spPr>
          <a:xfrm>
            <a:off x="7650835" y="3383265"/>
            <a:ext cx="997731" cy="160091"/>
          </a:xfrm>
          <a:prstGeom prst="rect">
            <a:avLst/>
          </a:prstGeom>
          <a:noFill/>
        </p:spPr>
        <p:txBody>
          <a:bodyPr wrap="square" lIns="0" tIns="0" rIns="0" bIns="0" rtlCol="0">
            <a:spAutoFit/>
          </a:bodyPr>
          <a:lstStyle/>
          <a:p>
            <a:pPr algn="ctr"/>
            <a:r>
              <a:rPr lang="en-US" sz="1020" b="1" dirty="0">
                <a:solidFill>
                  <a:srgbClr val="0078D7"/>
                </a:solidFill>
                <a:latin typeface="Segoe UI Semibold" charset="0"/>
                <a:ea typeface="Segoe UI Semibold" charset="0"/>
                <a:cs typeface="Segoe UI Semibold" charset="0"/>
              </a:rPr>
              <a:t>License included</a:t>
            </a:r>
          </a:p>
        </p:txBody>
      </p:sp>
      <p:sp>
        <p:nvSpPr>
          <p:cNvPr id="26" name="TextBox 25">
            <a:extLst>
              <a:ext uri="{FF2B5EF4-FFF2-40B4-BE49-F238E27FC236}">
                <a16:creationId xmlns:a16="http://schemas.microsoft.com/office/drawing/2014/main" id="{D49BD263-3F20-4E7E-B866-0F3D6D544678}"/>
              </a:ext>
            </a:extLst>
          </p:cNvPr>
          <p:cNvSpPr txBox="1"/>
          <p:nvPr/>
        </p:nvSpPr>
        <p:spPr>
          <a:xfrm>
            <a:off x="9317271" y="3376706"/>
            <a:ext cx="1565525" cy="156966"/>
          </a:xfrm>
          <a:prstGeom prst="rect">
            <a:avLst/>
          </a:prstGeom>
          <a:noFill/>
        </p:spPr>
        <p:txBody>
          <a:bodyPr wrap="square" lIns="0" tIns="0" rIns="0" bIns="0" rtlCol="0">
            <a:spAutoFit/>
          </a:bodyPr>
          <a:lstStyle/>
          <a:p>
            <a:pPr algn="ctr"/>
            <a:r>
              <a:rPr lang="en-US" sz="1020" b="1" dirty="0">
                <a:solidFill>
                  <a:srgbClr val="0078D7"/>
                </a:solidFill>
                <a:latin typeface="Segoe UI Semibold" charset="0"/>
                <a:ea typeface="Segoe UI Semibold" charset="0"/>
                <a:cs typeface="Segoe UI Semibold" charset="0"/>
              </a:rPr>
              <a:t>With Azure Hybrid Benefit</a:t>
            </a:r>
          </a:p>
        </p:txBody>
      </p:sp>
      <p:sp>
        <p:nvSpPr>
          <p:cNvPr id="27" name="TextBox 26">
            <a:extLst>
              <a:ext uri="{FF2B5EF4-FFF2-40B4-BE49-F238E27FC236}">
                <a16:creationId xmlns:a16="http://schemas.microsoft.com/office/drawing/2014/main" id="{03A83D23-53B9-44A0-9E81-52AE05D5B115}"/>
              </a:ext>
            </a:extLst>
          </p:cNvPr>
          <p:cNvSpPr txBox="1"/>
          <p:nvPr/>
        </p:nvSpPr>
        <p:spPr>
          <a:xfrm>
            <a:off x="9505538" y="1512118"/>
            <a:ext cx="964847" cy="384271"/>
          </a:xfrm>
          <a:prstGeom prst="rect">
            <a:avLst/>
          </a:prstGeom>
          <a:noFill/>
        </p:spPr>
        <p:txBody>
          <a:bodyPr wrap="square" lIns="0" tIns="0" rIns="0" bIns="0" rtlCol="0">
            <a:spAutoFit/>
          </a:bodyPr>
          <a:lstStyle/>
          <a:p>
            <a:pPr algn="ctr"/>
            <a:r>
              <a:rPr lang="en-US" sz="1224" b="1" dirty="0">
                <a:solidFill>
                  <a:srgbClr val="0078D7"/>
                </a:solidFill>
                <a:latin typeface="Segoe UI Semibold" charset="0"/>
                <a:ea typeface="Segoe UI Semibold" charset="0"/>
                <a:cs typeface="Segoe UI Semibold" charset="0"/>
              </a:rPr>
              <a:t>Up to 55% savings</a:t>
            </a:r>
            <a:r>
              <a:rPr lang="en-US" sz="1224" b="1" baseline="30000" dirty="0">
                <a:solidFill>
                  <a:srgbClr val="0078D7"/>
                </a:solidFill>
                <a:latin typeface="Segoe UI Semibold" charset="0"/>
                <a:ea typeface="Segoe UI Semibold" charset="0"/>
                <a:cs typeface="Segoe UI Semibold" charset="0"/>
              </a:rPr>
              <a:t>1</a:t>
            </a:r>
          </a:p>
        </p:txBody>
      </p:sp>
      <p:sp>
        <p:nvSpPr>
          <p:cNvPr id="32" name="Right Brace 31">
            <a:extLst>
              <a:ext uri="{FF2B5EF4-FFF2-40B4-BE49-F238E27FC236}">
                <a16:creationId xmlns:a16="http://schemas.microsoft.com/office/drawing/2014/main" id="{9DEB3C8E-7F9B-48E6-8172-0E6F66C90468}"/>
              </a:ext>
            </a:extLst>
          </p:cNvPr>
          <p:cNvSpPr/>
          <p:nvPr/>
        </p:nvSpPr>
        <p:spPr>
          <a:xfrm>
            <a:off x="10904291" y="2365167"/>
            <a:ext cx="163926" cy="92112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36" name="TextBox 35">
            <a:extLst>
              <a:ext uri="{FF2B5EF4-FFF2-40B4-BE49-F238E27FC236}">
                <a16:creationId xmlns:a16="http://schemas.microsoft.com/office/drawing/2014/main" id="{51088E60-7AFB-471D-8F8B-2EE9F3BB2D8C}"/>
              </a:ext>
            </a:extLst>
          </p:cNvPr>
          <p:cNvSpPr txBox="1"/>
          <p:nvPr/>
        </p:nvSpPr>
        <p:spPr>
          <a:xfrm>
            <a:off x="11068217" y="2392766"/>
            <a:ext cx="840184" cy="414353"/>
          </a:xfrm>
          <a:prstGeom prst="rect">
            <a:avLst/>
          </a:prstGeom>
          <a:noFill/>
        </p:spPr>
        <p:txBody>
          <a:bodyPr wrap="square" rtlCol="0">
            <a:spAutoFit/>
          </a:bodyPr>
          <a:lstStyle/>
          <a:p>
            <a:r>
              <a:rPr lang="en-US" sz="1020" b="1" dirty="0">
                <a:solidFill>
                  <a:srgbClr val="0078D7"/>
                </a:solidFill>
                <a:latin typeface="Segoe UI Semibold" charset="0"/>
                <a:cs typeface="Segoe UI Semibold" charset="0"/>
              </a:rPr>
              <a:t>Customer total cost</a:t>
            </a:r>
          </a:p>
        </p:txBody>
      </p:sp>
      <p:sp>
        <p:nvSpPr>
          <p:cNvPr id="39" name="Freeform: Shape 38">
            <a:extLst>
              <a:ext uri="{FF2B5EF4-FFF2-40B4-BE49-F238E27FC236}">
                <a16:creationId xmlns:a16="http://schemas.microsoft.com/office/drawing/2014/main" id="{5FDC550B-17A9-486D-88B5-C9606528D307}"/>
              </a:ext>
            </a:extLst>
          </p:cNvPr>
          <p:cNvSpPr/>
          <p:nvPr/>
        </p:nvSpPr>
        <p:spPr>
          <a:xfrm>
            <a:off x="7363806" y="1132601"/>
            <a:ext cx="1428756" cy="254913"/>
          </a:xfrm>
          <a:custGeom>
            <a:avLst/>
            <a:gdLst>
              <a:gd name="connsiteX0" fmla="*/ 29138 w 1165513"/>
              <a:gd name="connsiteY0" fmla="*/ 135554 h 304047"/>
              <a:gd name="connsiteX1" fmla="*/ 59543 w 1165513"/>
              <a:gd name="connsiteY1" fmla="*/ 110217 h 304047"/>
              <a:gd name="connsiteX2" fmla="*/ 82346 w 1165513"/>
              <a:gd name="connsiteY2" fmla="*/ 97548 h 304047"/>
              <a:gd name="connsiteX3" fmla="*/ 586557 w 1165513"/>
              <a:gd name="connsiteY3" fmla="*/ 19003 h 304047"/>
              <a:gd name="connsiteX4" fmla="*/ 1149045 w 1165513"/>
              <a:gd name="connsiteY4" fmla="*/ 148223 h 304047"/>
              <a:gd name="connsiteX5" fmla="*/ 1151578 w 1165513"/>
              <a:gd name="connsiteY5" fmla="*/ 160892 h 304047"/>
              <a:gd name="connsiteX6" fmla="*/ 586557 w 1165513"/>
              <a:gd name="connsiteY6" fmla="*/ 297713 h 304047"/>
              <a:gd name="connsiteX7" fmla="*/ 19003 w 1165513"/>
              <a:gd name="connsiteY7" fmla="*/ 160892 h 304047"/>
              <a:gd name="connsiteX8" fmla="*/ 29138 w 1165513"/>
              <a:gd name="connsiteY8" fmla="*/ 135554 h 30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513" h="304047">
                <a:moveTo>
                  <a:pt x="29138" y="135554"/>
                </a:moveTo>
                <a:cubicBezTo>
                  <a:pt x="36739" y="127953"/>
                  <a:pt x="46874" y="117818"/>
                  <a:pt x="59543" y="110217"/>
                </a:cubicBezTo>
                <a:cubicBezTo>
                  <a:pt x="67144" y="105150"/>
                  <a:pt x="74745" y="102616"/>
                  <a:pt x="82346" y="97548"/>
                </a:cubicBezTo>
                <a:cubicBezTo>
                  <a:pt x="176094" y="54475"/>
                  <a:pt x="355988" y="19003"/>
                  <a:pt x="586557" y="19003"/>
                </a:cubicBezTo>
                <a:cubicBezTo>
                  <a:pt x="898206" y="19003"/>
                  <a:pt x="1121174" y="84880"/>
                  <a:pt x="1149045" y="148223"/>
                </a:cubicBezTo>
                <a:cubicBezTo>
                  <a:pt x="1151578" y="153290"/>
                  <a:pt x="1151578" y="155824"/>
                  <a:pt x="1151578" y="160892"/>
                </a:cubicBezTo>
                <a:cubicBezTo>
                  <a:pt x="1151578" y="226768"/>
                  <a:pt x="921009" y="297713"/>
                  <a:pt x="586557" y="297713"/>
                </a:cubicBezTo>
                <a:cubicBezTo>
                  <a:pt x="247038" y="297713"/>
                  <a:pt x="19003" y="226768"/>
                  <a:pt x="19003" y="160892"/>
                </a:cubicBezTo>
                <a:cubicBezTo>
                  <a:pt x="19003" y="153290"/>
                  <a:pt x="21537" y="143156"/>
                  <a:pt x="29138" y="135554"/>
                </a:cubicBezTo>
                <a:close/>
              </a:path>
            </a:pathLst>
          </a:custGeom>
          <a:solidFill>
            <a:srgbClr val="FFFFFF"/>
          </a:solidFill>
          <a:ln w="9525" cap="flat">
            <a:noFill/>
            <a:prstDash val="solid"/>
            <a:miter/>
          </a:ln>
        </p:spPr>
        <p:txBody>
          <a:bodyPr rtlCol="0" anchor="ctr"/>
          <a:lstStyle/>
          <a:p>
            <a:pPr defTabSz="932658">
              <a:defRPr/>
            </a:pPr>
            <a:endParaRPr lang="en-US" kern="0">
              <a:solidFill>
                <a:srgbClr val="002050"/>
              </a:solidFill>
            </a:endParaRPr>
          </a:p>
        </p:txBody>
      </p:sp>
      <p:sp>
        <p:nvSpPr>
          <p:cNvPr id="48" name="Freeform: Shape 47">
            <a:extLst>
              <a:ext uri="{FF2B5EF4-FFF2-40B4-BE49-F238E27FC236}">
                <a16:creationId xmlns:a16="http://schemas.microsoft.com/office/drawing/2014/main" id="{E79737D7-F5F6-4994-A34C-5122D8713DE1}"/>
              </a:ext>
            </a:extLst>
          </p:cNvPr>
          <p:cNvSpPr/>
          <p:nvPr/>
        </p:nvSpPr>
        <p:spPr>
          <a:xfrm>
            <a:off x="9274520" y="1881396"/>
            <a:ext cx="1426883" cy="251803"/>
          </a:xfrm>
          <a:custGeom>
            <a:avLst/>
            <a:gdLst>
              <a:gd name="connsiteX0" fmla="*/ 29758 w 1190311"/>
              <a:gd name="connsiteY0" fmla="*/ 138438 h 310516"/>
              <a:gd name="connsiteX1" fmla="*/ 60809 w 1190311"/>
              <a:gd name="connsiteY1" fmla="*/ 112562 h 310516"/>
              <a:gd name="connsiteX2" fmla="*/ 84098 w 1190311"/>
              <a:gd name="connsiteY2" fmla="*/ 99624 h 310516"/>
              <a:gd name="connsiteX3" fmla="*/ 599037 w 1190311"/>
              <a:gd name="connsiteY3" fmla="*/ 19407 h 310516"/>
              <a:gd name="connsiteX4" fmla="*/ 1173492 w 1190311"/>
              <a:gd name="connsiteY4" fmla="*/ 151377 h 310516"/>
              <a:gd name="connsiteX5" fmla="*/ 1176080 w 1190311"/>
              <a:gd name="connsiteY5" fmla="*/ 164315 h 310516"/>
              <a:gd name="connsiteX6" fmla="*/ 599037 w 1190311"/>
              <a:gd name="connsiteY6" fmla="*/ 304047 h 310516"/>
              <a:gd name="connsiteX7" fmla="*/ 19407 w 1190311"/>
              <a:gd name="connsiteY7" fmla="*/ 164315 h 310516"/>
              <a:gd name="connsiteX8" fmla="*/ 29758 w 1190311"/>
              <a:gd name="connsiteY8" fmla="*/ 138438 h 310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311" h="310516">
                <a:moveTo>
                  <a:pt x="29758" y="138438"/>
                </a:moveTo>
                <a:cubicBezTo>
                  <a:pt x="37521" y="130676"/>
                  <a:pt x="47871" y="120325"/>
                  <a:pt x="60809" y="112562"/>
                </a:cubicBezTo>
                <a:cubicBezTo>
                  <a:pt x="68572" y="107387"/>
                  <a:pt x="76335" y="104799"/>
                  <a:pt x="84098" y="99624"/>
                </a:cubicBezTo>
                <a:cubicBezTo>
                  <a:pt x="179841" y="55634"/>
                  <a:pt x="363563" y="19407"/>
                  <a:pt x="599037" y="19407"/>
                </a:cubicBezTo>
                <a:cubicBezTo>
                  <a:pt x="917316" y="19407"/>
                  <a:pt x="1145028" y="86686"/>
                  <a:pt x="1173492" y="151377"/>
                </a:cubicBezTo>
                <a:cubicBezTo>
                  <a:pt x="1176080" y="156552"/>
                  <a:pt x="1176080" y="159139"/>
                  <a:pt x="1176080" y="164315"/>
                </a:cubicBezTo>
                <a:cubicBezTo>
                  <a:pt x="1176080" y="231593"/>
                  <a:pt x="940605" y="304047"/>
                  <a:pt x="599037" y="304047"/>
                </a:cubicBezTo>
                <a:cubicBezTo>
                  <a:pt x="252294" y="304047"/>
                  <a:pt x="19407" y="231593"/>
                  <a:pt x="19407" y="164315"/>
                </a:cubicBezTo>
                <a:cubicBezTo>
                  <a:pt x="19407" y="156552"/>
                  <a:pt x="21995" y="146201"/>
                  <a:pt x="29758" y="138438"/>
                </a:cubicBezTo>
                <a:close/>
              </a:path>
            </a:pathLst>
          </a:custGeom>
          <a:solidFill>
            <a:srgbClr val="FFFFFF"/>
          </a:solidFill>
          <a:ln w="9525" cap="flat">
            <a:noFill/>
            <a:prstDash val="solid"/>
            <a:miter/>
          </a:ln>
        </p:spPr>
        <p:txBody>
          <a:bodyPr rtlCol="0" anchor="ctr"/>
          <a:lstStyle/>
          <a:p>
            <a:pPr defTabSz="932658">
              <a:defRPr/>
            </a:pPr>
            <a:endParaRPr lang="en-US" kern="0">
              <a:solidFill>
                <a:srgbClr val="002050"/>
              </a:solidFill>
            </a:endParaRPr>
          </a:p>
        </p:txBody>
      </p:sp>
      <p:grpSp>
        <p:nvGrpSpPr>
          <p:cNvPr id="70" name="Group 69">
            <a:extLst>
              <a:ext uri="{FF2B5EF4-FFF2-40B4-BE49-F238E27FC236}">
                <a16:creationId xmlns:a16="http://schemas.microsoft.com/office/drawing/2014/main" id="{2FDC7B32-69CA-4033-BA9D-5456A09FE942}"/>
              </a:ext>
            </a:extLst>
          </p:cNvPr>
          <p:cNvGrpSpPr/>
          <p:nvPr/>
        </p:nvGrpSpPr>
        <p:grpSpPr>
          <a:xfrm>
            <a:off x="7363807" y="1080725"/>
            <a:ext cx="1600990" cy="2210931"/>
            <a:chOff x="1331123" y="2421775"/>
            <a:chExt cx="1216188" cy="2660412"/>
          </a:xfrm>
        </p:grpSpPr>
        <p:sp>
          <p:nvSpPr>
            <p:cNvPr id="71" name="Freeform: Shape 70">
              <a:extLst>
                <a:ext uri="{FF2B5EF4-FFF2-40B4-BE49-F238E27FC236}">
                  <a16:creationId xmlns:a16="http://schemas.microsoft.com/office/drawing/2014/main" id="{30E50F6F-E47E-447C-8F2D-855DB020F34C}"/>
                </a:ext>
              </a:extLst>
            </p:cNvPr>
            <p:cNvSpPr/>
            <p:nvPr/>
          </p:nvSpPr>
          <p:spPr>
            <a:xfrm>
              <a:off x="1331123" y="2421775"/>
              <a:ext cx="1216188" cy="2660412"/>
            </a:xfrm>
            <a:custGeom>
              <a:avLst/>
              <a:gdLst>
                <a:gd name="connsiteX0" fmla="*/ 1138910 w 1216188"/>
                <a:gd name="connsiteY0" fmla="*/ 107683 h 2660412"/>
                <a:gd name="connsiteX1" fmla="*/ 611895 w 1216188"/>
                <a:gd name="connsiteY1" fmla="*/ 19003 h 2660412"/>
                <a:gd name="connsiteX2" fmla="*/ 611895 w 1216188"/>
                <a:gd name="connsiteY2" fmla="*/ 19003 h 2660412"/>
                <a:gd name="connsiteX3" fmla="*/ 611895 w 1216188"/>
                <a:gd name="connsiteY3" fmla="*/ 19003 h 2660412"/>
                <a:gd name="connsiteX4" fmla="*/ 69677 w 1216188"/>
                <a:gd name="connsiteY4" fmla="*/ 115285 h 2660412"/>
                <a:gd name="connsiteX5" fmla="*/ 19003 w 1216188"/>
                <a:gd name="connsiteY5" fmla="*/ 186229 h 2660412"/>
                <a:gd name="connsiteX6" fmla="*/ 19003 w 1216188"/>
                <a:gd name="connsiteY6" fmla="*/ 2496987 h 2660412"/>
                <a:gd name="connsiteX7" fmla="*/ 611895 w 1216188"/>
                <a:gd name="connsiteY7" fmla="*/ 2659145 h 2660412"/>
                <a:gd name="connsiteX8" fmla="*/ 1202253 w 1216188"/>
                <a:gd name="connsiteY8" fmla="*/ 2496987 h 2660412"/>
                <a:gd name="connsiteX9" fmla="*/ 1202253 w 1216188"/>
                <a:gd name="connsiteY9" fmla="*/ 186229 h 2660412"/>
                <a:gd name="connsiteX10" fmla="*/ 1138910 w 1216188"/>
                <a:gd name="connsiteY10" fmla="*/ 107683 h 2660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6188" h="2660412">
                  <a:moveTo>
                    <a:pt x="1138910" y="107683"/>
                  </a:moveTo>
                  <a:cubicBezTo>
                    <a:pt x="1035027" y="51941"/>
                    <a:pt x="822194" y="19003"/>
                    <a:pt x="611895" y="19003"/>
                  </a:cubicBezTo>
                  <a:lnTo>
                    <a:pt x="611895" y="19003"/>
                  </a:lnTo>
                  <a:lnTo>
                    <a:pt x="611895" y="19003"/>
                  </a:lnTo>
                  <a:cubicBezTo>
                    <a:pt x="393994" y="19003"/>
                    <a:pt x="168493" y="54475"/>
                    <a:pt x="69677" y="115285"/>
                  </a:cubicBezTo>
                  <a:cubicBezTo>
                    <a:pt x="36739" y="135554"/>
                    <a:pt x="19003" y="160892"/>
                    <a:pt x="19003" y="186229"/>
                  </a:cubicBezTo>
                  <a:lnTo>
                    <a:pt x="19003" y="2496987"/>
                  </a:lnTo>
                  <a:cubicBezTo>
                    <a:pt x="19003" y="2603404"/>
                    <a:pt x="325584" y="2659145"/>
                    <a:pt x="611895" y="2659145"/>
                  </a:cubicBezTo>
                  <a:cubicBezTo>
                    <a:pt x="898206" y="2659145"/>
                    <a:pt x="1202253" y="2600870"/>
                    <a:pt x="1202253" y="2496987"/>
                  </a:cubicBezTo>
                  <a:lnTo>
                    <a:pt x="1202253" y="186229"/>
                  </a:lnTo>
                  <a:cubicBezTo>
                    <a:pt x="1202253" y="155824"/>
                    <a:pt x="1179449" y="130487"/>
                    <a:pt x="1138910" y="107683"/>
                  </a:cubicBezTo>
                  <a:close/>
                </a:path>
              </a:pathLst>
            </a:custGeom>
            <a:solidFill>
              <a:srgbClr val="0078D7"/>
            </a:solidFill>
            <a:ln w="9525" cap="flat">
              <a:noFill/>
              <a:prstDash val="solid"/>
              <a:miter/>
            </a:ln>
          </p:spPr>
          <p:txBody>
            <a:bodyPr rtlCol="0" anchor="ctr"/>
            <a:lstStyle/>
            <a:p>
              <a:pPr defTabSz="932658">
                <a:defRPr/>
              </a:pPr>
              <a:endParaRPr lang="en-US" kern="0">
                <a:solidFill>
                  <a:srgbClr val="002050"/>
                </a:solidFill>
              </a:endParaRPr>
            </a:p>
          </p:txBody>
        </p:sp>
        <p:sp>
          <p:nvSpPr>
            <p:cNvPr id="72" name="Freeform: Shape 71">
              <a:extLst>
                <a:ext uri="{FF2B5EF4-FFF2-40B4-BE49-F238E27FC236}">
                  <a16:creationId xmlns:a16="http://schemas.microsoft.com/office/drawing/2014/main" id="{46306E74-04BF-4DAF-BFE0-DF3DABE6C5F4}"/>
                </a:ext>
              </a:extLst>
            </p:cNvPr>
            <p:cNvSpPr/>
            <p:nvPr/>
          </p:nvSpPr>
          <p:spPr>
            <a:xfrm>
              <a:off x="1356460" y="2447112"/>
              <a:ext cx="1165514" cy="304047"/>
            </a:xfrm>
            <a:custGeom>
              <a:avLst/>
              <a:gdLst>
                <a:gd name="connsiteX0" fmla="*/ 29138 w 1165513"/>
                <a:gd name="connsiteY0" fmla="*/ 135554 h 304047"/>
                <a:gd name="connsiteX1" fmla="*/ 59543 w 1165513"/>
                <a:gd name="connsiteY1" fmla="*/ 110217 h 304047"/>
                <a:gd name="connsiteX2" fmla="*/ 82346 w 1165513"/>
                <a:gd name="connsiteY2" fmla="*/ 97548 h 304047"/>
                <a:gd name="connsiteX3" fmla="*/ 586557 w 1165513"/>
                <a:gd name="connsiteY3" fmla="*/ 19003 h 304047"/>
                <a:gd name="connsiteX4" fmla="*/ 1149045 w 1165513"/>
                <a:gd name="connsiteY4" fmla="*/ 148223 h 304047"/>
                <a:gd name="connsiteX5" fmla="*/ 1151578 w 1165513"/>
                <a:gd name="connsiteY5" fmla="*/ 160892 h 304047"/>
                <a:gd name="connsiteX6" fmla="*/ 586557 w 1165513"/>
                <a:gd name="connsiteY6" fmla="*/ 297713 h 304047"/>
                <a:gd name="connsiteX7" fmla="*/ 19003 w 1165513"/>
                <a:gd name="connsiteY7" fmla="*/ 160892 h 304047"/>
                <a:gd name="connsiteX8" fmla="*/ 29138 w 1165513"/>
                <a:gd name="connsiteY8" fmla="*/ 135554 h 30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513" h="304047">
                  <a:moveTo>
                    <a:pt x="29138" y="135554"/>
                  </a:moveTo>
                  <a:cubicBezTo>
                    <a:pt x="36739" y="127953"/>
                    <a:pt x="46874" y="117818"/>
                    <a:pt x="59543" y="110217"/>
                  </a:cubicBezTo>
                  <a:cubicBezTo>
                    <a:pt x="67144" y="105150"/>
                    <a:pt x="74745" y="102616"/>
                    <a:pt x="82346" y="97548"/>
                  </a:cubicBezTo>
                  <a:cubicBezTo>
                    <a:pt x="176094" y="54475"/>
                    <a:pt x="355988" y="19003"/>
                    <a:pt x="586557" y="19003"/>
                  </a:cubicBezTo>
                  <a:cubicBezTo>
                    <a:pt x="898206" y="19003"/>
                    <a:pt x="1121174" y="84880"/>
                    <a:pt x="1149045" y="148223"/>
                  </a:cubicBezTo>
                  <a:cubicBezTo>
                    <a:pt x="1151578" y="153290"/>
                    <a:pt x="1151578" y="155824"/>
                    <a:pt x="1151578" y="160892"/>
                  </a:cubicBezTo>
                  <a:cubicBezTo>
                    <a:pt x="1151578" y="226768"/>
                    <a:pt x="921009" y="297713"/>
                    <a:pt x="586557" y="297713"/>
                  </a:cubicBezTo>
                  <a:cubicBezTo>
                    <a:pt x="247038" y="297713"/>
                    <a:pt x="19003" y="226768"/>
                    <a:pt x="19003" y="160892"/>
                  </a:cubicBezTo>
                  <a:cubicBezTo>
                    <a:pt x="19003" y="153290"/>
                    <a:pt x="21537" y="143156"/>
                    <a:pt x="29138" y="135554"/>
                  </a:cubicBezTo>
                  <a:close/>
                </a:path>
              </a:pathLst>
            </a:custGeom>
            <a:solidFill>
              <a:srgbClr val="FFFFFF"/>
            </a:solidFill>
            <a:ln w="9525" cap="flat">
              <a:noFill/>
              <a:prstDash val="solid"/>
              <a:miter/>
            </a:ln>
          </p:spPr>
          <p:txBody>
            <a:bodyPr rtlCol="0" anchor="ctr"/>
            <a:lstStyle/>
            <a:p>
              <a:pPr defTabSz="932658">
                <a:defRPr/>
              </a:pPr>
              <a:endParaRPr lang="en-US" kern="0">
                <a:solidFill>
                  <a:srgbClr val="002050"/>
                </a:solidFill>
              </a:endParaRPr>
            </a:p>
          </p:txBody>
        </p:sp>
      </p:grpSp>
      <p:grpSp>
        <p:nvGrpSpPr>
          <p:cNvPr id="73" name="Group 72">
            <a:extLst>
              <a:ext uri="{FF2B5EF4-FFF2-40B4-BE49-F238E27FC236}">
                <a16:creationId xmlns:a16="http://schemas.microsoft.com/office/drawing/2014/main" id="{E1386F81-E92C-4A83-9FC1-BF4E3A1CB19D}"/>
              </a:ext>
            </a:extLst>
          </p:cNvPr>
          <p:cNvGrpSpPr/>
          <p:nvPr/>
        </p:nvGrpSpPr>
        <p:grpSpPr>
          <a:xfrm>
            <a:off x="9194837" y="1080724"/>
            <a:ext cx="1604078" cy="2210931"/>
            <a:chOff x="3714366" y="2621907"/>
            <a:chExt cx="1242064" cy="2666881"/>
          </a:xfrm>
        </p:grpSpPr>
        <p:grpSp>
          <p:nvGrpSpPr>
            <p:cNvPr id="74" name="Group 73">
              <a:extLst>
                <a:ext uri="{FF2B5EF4-FFF2-40B4-BE49-F238E27FC236}">
                  <a16:creationId xmlns:a16="http://schemas.microsoft.com/office/drawing/2014/main" id="{E9766371-E390-4B7A-9D09-D93AABBDAFC9}"/>
                </a:ext>
              </a:extLst>
            </p:cNvPr>
            <p:cNvGrpSpPr/>
            <p:nvPr/>
          </p:nvGrpSpPr>
          <p:grpSpPr>
            <a:xfrm>
              <a:off x="3727304" y="2621907"/>
              <a:ext cx="1216188" cy="2660413"/>
              <a:chOff x="466128" y="2421774"/>
              <a:chExt cx="1216188" cy="2660413"/>
            </a:xfrm>
          </p:grpSpPr>
          <p:sp>
            <p:nvSpPr>
              <p:cNvPr id="78" name="Freeform: Shape 77">
                <a:extLst>
                  <a:ext uri="{FF2B5EF4-FFF2-40B4-BE49-F238E27FC236}">
                    <a16:creationId xmlns:a16="http://schemas.microsoft.com/office/drawing/2014/main" id="{215141D1-61B0-4A0F-B3F8-F90CDE3380AD}"/>
                  </a:ext>
                </a:extLst>
              </p:cNvPr>
              <p:cNvSpPr/>
              <p:nvPr/>
            </p:nvSpPr>
            <p:spPr>
              <a:xfrm>
                <a:off x="466128" y="2421775"/>
                <a:ext cx="1216188" cy="2660412"/>
              </a:xfrm>
              <a:custGeom>
                <a:avLst/>
                <a:gdLst>
                  <a:gd name="connsiteX0" fmla="*/ 1138910 w 1216188"/>
                  <a:gd name="connsiteY0" fmla="*/ 107683 h 2660412"/>
                  <a:gd name="connsiteX1" fmla="*/ 611895 w 1216188"/>
                  <a:gd name="connsiteY1" fmla="*/ 19003 h 2660412"/>
                  <a:gd name="connsiteX2" fmla="*/ 611895 w 1216188"/>
                  <a:gd name="connsiteY2" fmla="*/ 19003 h 2660412"/>
                  <a:gd name="connsiteX3" fmla="*/ 611895 w 1216188"/>
                  <a:gd name="connsiteY3" fmla="*/ 19003 h 2660412"/>
                  <a:gd name="connsiteX4" fmla="*/ 69677 w 1216188"/>
                  <a:gd name="connsiteY4" fmla="*/ 115285 h 2660412"/>
                  <a:gd name="connsiteX5" fmla="*/ 19003 w 1216188"/>
                  <a:gd name="connsiteY5" fmla="*/ 186229 h 2660412"/>
                  <a:gd name="connsiteX6" fmla="*/ 19003 w 1216188"/>
                  <a:gd name="connsiteY6" fmla="*/ 2496987 h 2660412"/>
                  <a:gd name="connsiteX7" fmla="*/ 611895 w 1216188"/>
                  <a:gd name="connsiteY7" fmla="*/ 2659145 h 2660412"/>
                  <a:gd name="connsiteX8" fmla="*/ 1202253 w 1216188"/>
                  <a:gd name="connsiteY8" fmla="*/ 2496987 h 2660412"/>
                  <a:gd name="connsiteX9" fmla="*/ 1202253 w 1216188"/>
                  <a:gd name="connsiteY9" fmla="*/ 186229 h 2660412"/>
                  <a:gd name="connsiteX10" fmla="*/ 1138910 w 1216188"/>
                  <a:gd name="connsiteY10" fmla="*/ 107683 h 2660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6188" h="2660412">
                    <a:moveTo>
                      <a:pt x="1138910" y="107683"/>
                    </a:moveTo>
                    <a:cubicBezTo>
                      <a:pt x="1035027" y="51941"/>
                      <a:pt x="822194" y="19003"/>
                      <a:pt x="611895" y="19003"/>
                    </a:cubicBezTo>
                    <a:lnTo>
                      <a:pt x="611895" y="19003"/>
                    </a:lnTo>
                    <a:lnTo>
                      <a:pt x="611895" y="19003"/>
                    </a:lnTo>
                    <a:cubicBezTo>
                      <a:pt x="393994" y="19003"/>
                      <a:pt x="168493" y="54475"/>
                      <a:pt x="69677" y="115285"/>
                    </a:cubicBezTo>
                    <a:cubicBezTo>
                      <a:pt x="36739" y="135554"/>
                      <a:pt x="19003" y="160892"/>
                      <a:pt x="19003" y="186229"/>
                    </a:cubicBezTo>
                    <a:lnTo>
                      <a:pt x="19003" y="2496987"/>
                    </a:lnTo>
                    <a:cubicBezTo>
                      <a:pt x="19003" y="2603404"/>
                      <a:pt x="325584" y="2659145"/>
                      <a:pt x="611895" y="2659145"/>
                    </a:cubicBezTo>
                    <a:cubicBezTo>
                      <a:pt x="898206" y="2659145"/>
                      <a:pt x="1202253" y="2600870"/>
                      <a:pt x="1202253" y="2496987"/>
                    </a:cubicBezTo>
                    <a:lnTo>
                      <a:pt x="1202253" y="186229"/>
                    </a:lnTo>
                    <a:cubicBezTo>
                      <a:pt x="1202253" y="155824"/>
                      <a:pt x="1179449" y="130487"/>
                      <a:pt x="1138910" y="107683"/>
                    </a:cubicBezTo>
                    <a:close/>
                  </a:path>
                </a:pathLst>
              </a:custGeom>
              <a:noFill/>
              <a:ln w="19050" cap="flat">
                <a:solidFill>
                  <a:srgbClr val="505050">
                    <a:lumMod val="20000"/>
                    <a:lumOff val="80000"/>
                  </a:srgbClr>
                </a:solidFill>
                <a:prstDash val="solid"/>
                <a:miter/>
              </a:ln>
            </p:spPr>
            <p:txBody>
              <a:bodyPr rtlCol="0" anchor="ctr"/>
              <a:lstStyle/>
              <a:p>
                <a:pPr defTabSz="932658">
                  <a:defRPr/>
                </a:pPr>
                <a:endParaRPr lang="en-US" kern="0">
                  <a:solidFill>
                    <a:srgbClr val="002050"/>
                  </a:solidFill>
                </a:endParaRPr>
              </a:p>
            </p:txBody>
          </p:sp>
          <p:sp>
            <p:nvSpPr>
              <p:cNvPr id="79" name="Freeform: Shape 78">
                <a:extLst>
                  <a:ext uri="{FF2B5EF4-FFF2-40B4-BE49-F238E27FC236}">
                    <a16:creationId xmlns:a16="http://schemas.microsoft.com/office/drawing/2014/main" id="{551E40E7-32AD-4598-80A2-4E520BBEA563}"/>
                  </a:ext>
                </a:extLst>
              </p:cNvPr>
              <p:cNvSpPr/>
              <p:nvPr/>
            </p:nvSpPr>
            <p:spPr>
              <a:xfrm>
                <a:off x="466128" y="2421774"/>
                <a:ext cx="1216188" cy="317266"/>
              </a:xfrm>
              <a:custGeom>
                <a:avLst/>
                <a:gdLst>
                  <a:gd name="connsiteX0" fmla="*/ 29138 w 1165513"/>
                  <a:gd name="connsiteY0" fmla="*/ 135554 h 304047"/>
                  <a:gd name="connsiteX1" fmla="*/ 59543 w 1165513"/>
                  <a:gd name="connsiteY1" fmla="*/ 110217 h 304047"/>
                  <a:gd name="connsiteX2" fmla="*/ 82346 w 1165513"/>
                  <a:gd name="connsiteY2" fmla="*/ 97548 h 304047"/>
                  <a:gd name="connsiteX3" fmla="*/ 586557 w 1165513"/>
                  <a:gd name="connsiteY3" fmla="*/ 19003 h 304047"/>
                  <a:gd name="connsiteX4" fmla="*/ 1149045 w 1165513"/>
                  <a:gd name="connsiteY4" fmla="*/ 148223 h 304047"/>
                  <a:gd name="connsiteX5" fmla="*/ 1151578 w 1165513"/>
                  <a:gd name="connsiteY5" fmla="*/ 160892 h 304047"/>
                  <a:gd name="connsiteX6" fmla="*/ 586557 w 1165513"/>
                  <a:gd name="connsiteY6" fmla="*/ 297713 h 304047"/>
                  <a:gd name="connsiteX7" fmla="*/ 19003 w 1165513"/>
                  <a:gd name="connsiteY7" fmla="*/ 160892 h 304047"/>
                  <a:gd name="connsiteX8" fmla="*/ 29138 w 1165513"/>
                  <a:gd name="connsiteY8" fmla="*/ 135554 h 30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513" h="304047">
                    <a:moveTo>
                      <a:pt x="29138" y="135554"/>
                    </a:moveTo>
                    <a:cubicBezTo>
                      <a:pt x="36739" y="127953"/>
                      <a:pt x="46874" y="117818"/>
                      <a:pt x="59543" y="110217"/>
                    </a:cubicBezTo>
                    <a:cubicBezTo>
                      <a:pt x="67144" y="105150"/>
                      <a:pt x="74745" y="102616"/>
                      <a:pt x="82346" y="97548"/>
                    </a:cubicBezTo>
                    <a:cubicBezTo>
                      <a:pt x="176094" y="54475"/>
                      <a:pt x="355988" y="19003"/>
                      <a:pt x="586557" y="19003"/>
                    </a:cubicBezTo>
                    <a:cubicBezTo>
                      <a:pt x="898206" y="19003"/>
                      <a:pt x="1121174" y="84880"/>
                      <a:pt x="1149045" y="148223"/>
                    </a:cubicBezTo>
                    <a:cubicBezTo>
                      <a:pt x="1151578" y="153290"/>
                      <a:pt x="1151578" y="155824"/>
                      <a:pt x="1151578" y="160892"/>
                    </a:cubicBezTo>
                    <a:cubicBezTo>
                      <a:pt x="1151578" y="226768"/>
                      <a:pt x="921009" y="297713"/>
                      <a:pt x="586557" y="297713"/>
                    </a:cubicBezTo>
                    <a:cubicBezTo>
                      <a:pt x="247038" y="297713"/>
                      <a:pt x="19003" y="226768"/>
                      <a:pt x="19003" y="160892"/>
                    </a:cubicBezTo>
                    <a:cubicBezTo>
                      <a:pt x="19003" y="153290"/>
                      <a:pt x="21537" y="143156"/>
                      <a:pt x="29138" y="135554"/>
                    </a:cubicBezTo>
                    <a:close/>
                  </a:path>
                </a:pathLst>
              </a:custGeom>
              <a:noFill/>
              <a:ln w="19050" cap="flat">
                <a:solidFill>
                  <a:srgbClr val="505050">
                    <a:lumMod val="20000"/>
                    <a:lumOff val="80000"/>
                  </a:srgbClr>
                </a:solidFill>
                <a:prstDash val="solid"/>
                <a:miter/>
              </a:ln>
            </p:spPr>
            <p:txBody>
              <a:bodyPr rtlCol="0" anchor="ctr"/>
              <a:lstStyle/>
              <a:p>
                <a:pPr defTabSz="932658">
                  <a:defRPr/>
                </a:pPr>
                <a:endParaRPr lang="en-US" kern="0">
                  <a:solidFill>
                    <a:srgbClr val="002050"/>
                  </a:solidFill>
                </a:endParaRPr>
              </a:p>
            </p:txBody>
          </p:sp>
        </p:grpSp>
        <p:grpSp>
          <p:nvGrpSpPr>
            <p:cNvPr id="75" name="Group 74">
              <a:extLst>
                <a:ext uri="{FF2B5EF4-FFF2-40B4-BE49-F238E27FC236}">
                  <a16:creationId xmlns:a16="http://schemas.microsoft.com/office/drawing/2014/main" id="{EF677EA9-6CD2-4B22-B520-3B61531825C0}"/>
                </a:ext>
              </a:extLst>
            </p:cNvPr>
            <p:cNvGrpSpPr/>
            <p:nvPr/>
          </p:nvGrpSpPr>
          <p:grpSpPr>
            <a:xfrm>
              <a:off x="3714366" y="3823815"/>
              <a:ext cx="1242064" cy="1464973"/>
              <a:chOff x="2326321" y="3623682"/>
              <a:chExt cx="1242064" cy="1464973"/>
            </a:xfrm>
          </p:grpSpPr>
          <p:sp>
            <p:nvSpPr>
              <p:cNvPr id="76" name="Freeform: Shape 75">
                <a:extLst>
                  <a:ext uri="{FF2B5EF4-FFF2-40B4-BE49-F238E27FC236}">
                    <a16:creationId xmlns:a16="http://schemas.microsoft.com/office/drawing/2014/main" id="{6D27F9BD-55BD-40BB-A374-19E254795BE1}"/>
                  </a:ext>
                </a:extLst>
              </p:cNvPr>
              <p:cNvSpPr/>
              <p:nvPr/>
            </p:nvSpPr>
            <p:spPr>
              <a:xfrm>
                <a:off x="2326321" y="3623682"/>
                <a:ext cx="1242064" cy="1464973"/>
              </a:xfrm>
              <a:custGeom>
                <a:avLst/>
                <a:gdLst>
                  <a:gd name="connsiteX0" fmla="*/ 1163142 w 1242064"/>
                  <a:gd name="connsiteY0" fmla="*/ 109974 h 1552580"/>
                  <a:gd name="connsiteX1" fmla="*/ 624914 w 1242064"/>
                  <a:gd name="connsiteY1" fmla="*/ 19407 h 1552580"/>
                  <a:gd name="connsiteX2" fmla="*/ 624914 w 1242064"/>
                  <a:gd name="connsiteY2" fmla="*/ 19407 h 1552580"/>
                  <a:gd name="connsiteX3" fmla="*/ 624914 w 1242064"/>
                  <a:gd name="connsiteY3" fmla="*/ 19407 h 1552580"/>
                  <a:gd name="connsiteX4" fmla="*/ 71160 w 1242064"/>
                  <a:gd name="connsiteY4" fmla="*/ 117737 h 1552580"/>
                  <a:gd name="connsiteX5" fmla="*/ 19407 w 1242064"/>
                  <a:gd name="connsiteY5" fmla="*/ 190191 h 1552580"/>
                  <a:gd name="connsiteX6" fmla="*/ 19407 w 1242064"/>
                  <a:gd name="connsiteY6" fmla="*/ 1385678 h 1552580"/>
                  <a:gd name="connsiteX7" fmla="*/ 624914 w 1242064"/>
                  <a:gd name="connsiteY7" fmla="*/ 1551287 h 1552580"/>
                  <a:gd name="connsiteX8" fmla="*/ 1227832 w 1242064"/>
                  <a:gd name="connsiteY8" fmla="*/ 1385678 h 1552580"/>
                  <a:gd name="connsiteX9" fmla="*/ 1227832 w 1242064"/>
                  <a:gd name="connsiteY9" fmla="*/ 190191 h 1552580"/>
                  <a:gd name="connsiteX10" fmla="*/ 1163142 w 1242064"/>
                  <a:gd name="connsiteY10" fmla="*/ 109974 h 155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2064" h="1552580">
                    <a:moveTo>
                      <a:pt x="1163142" y="109974"/>
                    </a:moveTo>
                    <a:cubicBezTo>
                      <a:pt x="1057049" y="53046"/>
                      <a:pt x="839687" y="19407"/>
                      <a:pt x="624914" y="19407"/>
                    </a:cubicBezTo>
                    <a:lnTo>
                      <a:pt x="624914" y="19407"/>
                    </a:lnTo>
                    <a:lnTo>
                      <a:pt x="624914" y="19407"/>
                    </a:lnTo>
                    <a:cubicBezTo>
                      <a:pt x="402377" y="19407"/>
                      <a:pt x="172078" y="55634"/>
                      <a:pt x="71160" y="117737"/>
                    </a:cubicBezTo>
                    <a:cubicBezTo>
                      <a:pt x="37521" y="138438"/>
                      <a:pt x="19407" y="164315"/>
                      <a:pt x="19407" y="190191"/>
                    </a:cubicBezTo>
                    <a:lnTo>
                      <a:pt x="19407" y="1385678"/>
                    </a:lnTo>
                    <a:cubicBezTo>
                      <a:pt x="19407" y="1494359"/>
                      <a:pt x="332511" y="1551287"/>
                      <a:pt x="624914" y="1551287"/>
                    </a:cubicBezTo>
                    <a:cubicBezTo>
                      <a:pt x="917316" y="1551287"/>
                      <a:pt x="1227832" y="1491771"/>
                      <a:pt x="1227832" y="1385678"/>
                    </a:cubicBezTo>
                    <a:lnTo>
                      <a:pt x="1227832" y="190191"/>
                    </a:lnTo>
                    <a:cubicBezTo>
                      <a:pt x="1227832" y="159139"/>
                      <a:pt x="1204544" y="133263"/>
                      <a:pt x="1163142" y="109974"/>
                    </a:cubicBezTo>
                    <a:close/>
                  </a:path>
                </a:pathLst>
              </a:custGeom>
              <a:solidFill>
                <a:srgbClr val="0078D7"/>
              </a:solidFill>
              <a:ln w="9525" cap="flat">
                <a:noFill/>
                <a:prstDash val="solid"/>
                <a:miter/>
              </a:ln>
            </p:spPr>
            <p:txBody>
              <a:bodyPr rtlCol="0" anchor="ctr"/>
              <a:lstStyle/>
              <a:p>
                <a:pPr defTabSz="932658">
                  <a:defRPr/>
                </a:pPr>
                <a:endParaRPr lang="en-US" kern="0">
                  <a:solidFill>
                    <a:srgbClr val="002050"/>
                  </a:solidFill>
                </a:endParaRPr>
              </a:p>
            </p:txBody>
          </p:sp>
          <p:sp>
            <p:nvSpPr>
              <p:cNvPr id="77" name="Freeform: Shape 76">
                <a:extLst>
                  <a:ext uri="{FF2B5EF4-FFF2-40B4-BE49-F238E27FC236}">
                    <a16:creationId xmlns:a16="http://schemas.microsoft.com/office/drawing/2014/main" id="{C77CB362-5B1E-44E8-A394-690A509962CE}"/>
                  </a:ext>
                </a:extLst>
              </p:cNvPr>
              <p:cNvSpPr/>
              <p:nvPr/>
            </p:nvSpPr>
            <p:spPr>
              <a:xfrm>
                <a:off x="2352197" y="3660586"/>
                <a:ext cx="1190312" cy="310516"/>
              </a:xfrm>
              <a:custGeom>
                <a:avLst/>
                <a:gdLst>
                  <a:gd name="connsiteX0" fmla="*/ 29758 w 1190311"/>
                  <a:gd name="connsiteY0" fmla="*/ 138438 h 310516"/>
                  <a:gd name="connsiteX1" fmla="*/ 60809 w 1190311"/>
                  <a:gd name="connsiteY1" fmla="*/ 112562 h 310516"/>
                  <a:gd name="connsiteX2" fmla="*/ 84098 w 1190311"/>
                  <a:gd name="connsiteY2" fmla="*/ 99624 h 310516"/>
                  <a:gd name="connsiteX3" fmla="*/ 599037 w 1190311"/>
                  <a:gd name="connsiteY3" fmla="*/ 19407 h 310516"/>
                  <a:gd name="connsiteX4" fmla="*/ 1173492 w 1190311"/>
                  <a:gd name="connsiteY4" fmla="*/ 151377 h 310516"/>
                  <a:gd name="connsiteX5" fmla="*/ 1176080 w 1190311"/>
                  <a:gd name="connsiteY5" fmla="*/ 164315 h 310516"/>
                  <a:gd name="connsiteX6" fmla="*/ 599037 w 1190311"/>
                  <a:gd name="connsiteY6" fmla="*/ 304047 h 310516"/>
                  <a:gd name="connsiteX7" fmla="*/ 19407 w 1190311"/>
                  <a:gd name="connsiteY7" fmla="*/ 164315 h 310516"/>
                  <a:gd name="connsiteX8" fmla="*/ 29758 w 1190311"/>
                  <a:gd name="connsiteY8" fmla="*/ 138438 h 310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311" h="310516">
                    <a:moveTo>
                      <a:pt x="29758" y="138438"/>
                    </a:moveTo>
                    <a:cubicBezTo>
                      <a:pt x="37521" y="130676"/>
                      <a:pt x="47871" y="120325"/>
                      <a:pt x="60809" y="112562"/>
                    </a:cubicBezTo>
                    <a:cubicBezTo>
                      <a:pt x="68572" y="107387"/>
                      <a:pt x="76335" y="104799"/>
                      <a:pt x="84098" y="99624"/>
                    </a:cubicBezTo>
                    <a:cubicBezTo>
                      <a:pt x="179841" y="55634"/>
                      <a:pt x="363563" y="19407"/>
                      <a:pt x="599037" y="19407"/>
                    </a:cubicBezTo>
                    <a:cubicBezTo>
                      <a:pt x="917316" y="19407"/>
                      <a:pt x="1145028" y="86686"/>
                      <a:pt x="1173492" y="151377"/>
                    </a:cubicBezTo>
                    <a:cubicBezTo>
                      <a:pt x="1176080" y="156552"/>
                      <a:pt x="1176080" y="159139"/>
                      <a:pt x="1176080" y="164315"/>
                    </a:cubicBezTo>
                    <a:cubicBezTo>
                      <a:pt x="1176080" y="231593"/>
                      <a:pt x="940605" y="304047"/>
                      <a:pt x="599037" y="304047"/>
                    </a:cubicBezTo>
                    <a:cubicBezTo>
                      <a:pt x="252294" y="304047"/>
                      <a:pt x="19407" y="231593"/>
                      <a:pt x="19407" y="164315"/>
                    </a:cubicBezTo>
                    <a:cubicBezTo>
                      <a:pt x="19407" y="156552"/>
                      <a:pt x="21995" y="146201"/>
                      <a:pt x="29758" y="138438"/>
                    </a:cubicBezTo>
                    <a:close/>
                  </a:path>
                </a:pathLst>
              </a:custGeom>
              <a:solidFill>
                <a:srgbClr val="FFFFFF"/>
              </a:solidFill>
              <a:ln w="9525" cap="flat">
                <a:noFill/>
                <a:prstDash val="solid"/>
                <a:miter/>
              </a:ln>
            </p:spPr>
            <p:txBody>
              <a:bodyPr rtlCol="0" anchor="ctr"/>
              <a:lstStyle/>
              <a:p>
                <a:pPr defTabSz="932658">
                  <a:defRPr/>
                </a:pPr>
                <a:endParaRPr lang="en-US" kern="0">
                  <a:solidFill>
                    <a:srgbClr val="002050"/>
                  </a:solidFill>
                </a:endParaRPr>
              </a:p>
            </p:txBody>
          </p:sp>
        </p:grpSp>
      </p:grpSp>
      <p:sp>
        <p:nvSpPr>
          <p:cNvPr id="80" name="TextBox 79">
            <a:extLst>
              <a:ext uri="{FF2B5EF4-FFF2-40B4-BE49-F238E27FC236}">
                <a16:creationId xmlns:a16="http://schemas.microsoft.com/office/drawing/2014/main" id="{C7D96DEC-A831-468E-80D8-FDAEFFA8B2CC}"/>
              </a:ext>
            </a:extLst>
          </p:cNvPr>
          <p:cNvSpPr txBox="1"/>
          <p:nvPr/>
        </p:nvSpPr>
        <p:spPr>
          <a:xfrm>
            <a:off x="7502688" y="1446069"/>
            <a:ext cx="1428756" cy="734534"/>
          </a:xfrm>
          <a:prstGeom prst="rect">
            <a:avLst/>
          </a:prstGeom>
          <a:noFill/>
        </p:spPr>
        <p:txBody>
          <a:bodyPr wrap="square" lIns="46630" rIns="46630" rtlCol="0">
            <a:spAutoFit/>
          </a:bodyPr>
          <a:lstStyle/>
          <a:p>
            <a:r>
              <a:rPr lang="en-US" sz="1020" dirty="0">
                <a:solidFill>
                  <a:schemeClr val="bg1"/>
                </a:solidFill>
                <a:latin typeface="Segoe UI Semilight" charset="0"/>
                <a:cs typeface="Segoe UI Semilight" charset="0"/>
              </a:rPr>
              <a:t>Total monthly cost of 8 </a:t>
            </a:r>
            <a:r>
              <a:rPr lang="en-US" sz="1020" dirty="0" err="1">
                <a:solidFill>
                  <a:schemeClr val="bg1"/>
                </a:solidFill>
                <a:latin typeface="Segoe UI Semilight" charset="0"/>
                <a:cs typeface="Segoe UI Semilight" charset="0"/>
              </a:rPr>
              <a:t>vCore</a:t>
            </a:r>
            <a:r>
              <a:rPr lang="en-US" sz="1020" dirty="0">
                <a:solidFill>
                  <a:schemeClr val="bg1"/>
                </a:solidFill>
                <a:latin typeface="Segoe UI Semilight" charset="0"/>
                <a:cs typeface="Segoe UI Semilight" charset="0"/>
              </a:rPr>
              <a:t> Managed Instance Business Critical option</a:t>
            </a:r>
          </a:p>
        </p:txBody>
      </p:sp>
    </p:spTree>
    <p:extLst>
      <p:ext uri="{BB962C8B-B14F-4D97-AF65-F5344CB8AC3E}">
        <p14:creationId xmlns:p14="http://schemas.microsoft.com/office/powerpoint/2010/main" val="369754346"/>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726AF2-AE76-4821-93DD-0A310FE1CB4D}"/>
              </a:ext>
            </a:extLst>
          </p:cNvPr>
          <p:cNvSpPr>
            <a:spLocks noGrp="1"/>
          </p:cNvSpPr>
          <p:nvPr>
            <p:ph type="title"/>
          </p:nvPr>
        </p:nvSpPr>
        <p:spPr/>
        <p:txBody>
          <a:bodyPr/>
          <a:lstStyle/>
          <a:p>
            <a:r>
              <a:rPr lang="en-US" dirty="0"/>
              <a:t>Applying Azure hybrid benefit for SQL Server</a:t>
            </a:r>
          </a:p>
        </p:txBody>
      </p:sp>
      <p:sp>
        <p:nvSpPr>
          <p:cNvPr id="4" name="Text Placeholder 3">
            <a:extLst>
              <a:ext uri="{FF2B5EF4-FFF2-40B4-BE49-F238E27FC236}">
                <a16:creationId xmlns:a16="http://schemas.microsoft.com/office/drawing/2014/main" id="{139BAE18-E9C9-41EC-BFB5-3C4BF9959AD4}"/>
              </a:ext>
            </a:extLst>
          </p:cNvPr>
          <p:cNvSpPr>
            <a:spLocks noGrp="1"/>
          </p:cNvSpPr>
          <p:nvPr>
            <p:ph type="body" sz="quarter" idx="10"/>
          </p:nvPr>
        </p:nvSpPr>
        <p:spPr/>
        <p:txBody>
          <a:bodyPr/>
          <a:lstStyle/>
          <a:p>
            <a:pPr marL="0" indent="0">
              <a:buNone/>
            </a:pPr>
            <a:r>
              <a:rPr lang="en-US" dirty="0"/>
              <a:t>Managed Instance is available in 8</a:t>
            </a:r>
            <a:r>
              <a:rPr lang="en-US"/>
              <a:t>, 16, 24, 32 and 40 </a:t>
            </a:r>
            <a:r>
              <a:rPr lang="en-US" dirty="0" err="1"/>
              <a:t>vCore</a:t>
            </a:r>
            <a:r>
              <a:rPr lang="en-US" dirty="0"/>
              <a:t> instances</a:t>
            </a:r>
          </a:p>
          <a:p>
            <a:pPr marL="0" indent="0">
              <a:buNone/>
            </a:pPr>
            <a:r>
              <a:rPr lang="en-US" dirty="0"/>
              <a:t>The number of instances eligible for Azure Hybrid Benefit is calculated based upon </a:t>
            </a:r>
          </a:p>
          <a:p>
            <a:pPr>
              <a:buClr>
                <a:schemeClr val="bg1"/>
              </a:buClr>
            </a:pPr>
            <a:r>
              <a:rPr lang="en-US" dirty="0"/>
              <a:t>number and type of licenses you are exchanging</a:t>
            </a:r>
          </a:p>
          <a:p>
            <a:pPr>
              <a:buClr>
                <a:schemeClr val="bg1"/>
              </a:buClr>
            </a:pPr>
            <a:r>
              <a:rPr lang="en-US" dirty="0"/>
              <a:t>Managed Instance </a:t>
            </a:r>
            <a:r>
              <a:rPr lang="en-US" dirty="0" err="1"/>
              <a:t>vCore</a:t>
            </a:r>
            <a:r>
              <a:rPr lang="en-US" dirty="0"/>
              <a:t> selection, rounding down to the nearest whole value.</a:t>
            </a:r>
          </a:p>
          <a:p>
            <a:endParaRPr lang="en-US" dirty="0"/>
          </a:p>
        </p:txBody>
      </p:sp>
      <p:sp>
        <p:nvSpPr>
          <p:cNvPr id="5" name="TextBox 4">
            <a:extLst>
              <a:ext uri="{FF2B5EF4-FFF2-40B4-BE49-F238E27FC236}">
                <a16:creationId xmlns:a16="http://schemas.microsoft.com/office/drawing/2014/main" id="{E251C4B0-59FF-48B9-ACCC-E35472ECC307}"/>
              </a:ext>
            </a:extLst>
          </p:cNvPr>
          <p:cNvSpPr txBox="1"/>
          <p:nvPr/>
        </p:nvSpPr>
        <p:spPr>
          <a:xfrm>
            <a:off x="5611304" y="358747"/>
            <a:ext cx="5944533" cy="734534"/>
          </a:xfrm>
          <a:prstGeom prst="rect">
            <a:avLst/>
          </a:prstGeom>
          <a:noFill/>
        </p:spPr>
        <p:txBody>
          <a:bodyPr wrap="square" rtlCol="0">
            <a:spAutoFit/>
          </a:bodyPr>
          <a:lstStyle/>
          <a:p>
            <a:r>
              <a:rPr lang="en-US" sz="2040" b="1" kern="0" spc="102" dirty="0">
                <a:latin typeface="Segoe UI Semibold" charset="0"/>
                <a:cs typeface="Segoe UI Semibold" charset="0"/>
              </a:rPr>
              <a:t>How to calculate instances eligible for the hybrid benefit</a:t>
            </a:r>
          </a:p>
        </p:txBody>
      </p:sp>
      <p:sp>
        <p:nvSpPr>
          <p:cNvPr id="6" name="TextBox 5">
            <a:extLst>
              <a:ext uri="{FF2B5EF4-FFF2-40B4-BE49-F238E27FC236}">
                <a16:creationId xmlns:a16="http://schemas.microsoft.com/office/drawing/2014/main" id="{8C11E8EF-96A3-4E95-992F-DD13CB066658}"/>
              </a:ext>
            </a:extLst>
          </p:cNvPr>
          <p:cNvSpPr txBox="1"/>
          <p:nvPr/>
        </p:nvSpPr>
        <p:spPr>
          <a:xfrm>
            <a:off x="5490614" y="1689658"/>
            <a:ext cx="3507148" cy="4686254"/>
          </a:xfrm>
          <a:prstGeom prst="rect">
            <a:avLst/>
          </a:prstGeom>
          <a:noFill/>
        </p:spPr>
        <p:txBody>
          <a:bodyPr wrap="square" lIns="93260" tIns="46630" rIns="93260" bIns="46630" rtlCol="0">
            <a:spAutoFit/>
          </a:bodyPr>
          <a:lstStyle/>
          <a:p>
            <a:pPr>
              <a:lnSpc>
                <a:spcPct val="90000"/>
              </a:lnSpc>
              <a:spcAft>
                <a:spcPts val="612"/>
              </a:spcAft>
            </a:pPr>
            <a:r>
              <a:rPr lang="en-US" sz="1632" b="1" dirty="0">
                <a:gradFill>
                  <a:gsLst>
                    <a:gs pos="2917">
                      <a:schemeClr val="tx1"/>
                    </a:gs>
                    <a:gs pos="30000">
                      <a:schemeClr val="tx1"/>
                    </a:gs>
                  </a:gsLst>
                  <a:lin ang="5400000" scaled="0"/>
                </a:gradFill>
              </a:rPr>
              <a:t>Example:</a:t>
            </a: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r>
              <a:rPr lang="en-US" sz="1224" b="1" dirty="0">
                <a:gradFill>
                  <a:gsLst>
                    <a:gs pos="2917">
                      <a:schemeClr val="tx1"/>
                    </a:gs>
                    <a:gs pos="30000">
                      <a:schemeClr val="tx1"/>
                    </a:gs>
                  </a:gsLst>
                  <a:lin ang="5400000" scaled="0"/>
                </a:gradFill>
              </a:rPr>
              <a:t>Customer A has:</a:t>
            </a:r>
          </a:p>
          <a:p>
            <a:pPr>
              <a:lnSpc>
                <a:spcPct val="90000"/>
              </a:lnSpc>
              <a:spcAft>
                <a:spcPts val="612"/>
              </a:spcAft>
            </a:pPr>
            <a:r>
              <a:rPr lang="en-US" sz="1224" dirty="0">
                <a:gradFill>
                  <a:gsLst>
                    <a:gs pos="2917">
                      <a:schemeClr val="tx1"/>
                    </a:gs>
                    <a:gs pos="30000">
                      <a:schemeClr val="tx1"/>
                    </a:gs>
                  </a:gsLst>
                  <a:lin ang="5400000" scaled="0"/>
                </a:gradFill>
              </a:rPr>
              <a:t>10 Standard Edition license cores</a:t>
            </a:r>
          </a:p>
          <a:p>
            <a:pPr>
              <a:lnSpc>
                <a:spcPct val="90000"/>
              </a:lnSpc>
              <a:spcAft>
                <a:spcPts val="612"/>
              </a:spcAft>
            </a:pPr>
            <a:r>
              <a:rPr lang="en-US" sz="1224" dirty="0">
                <a:gradFill>
                  <a:gsLst>
                    <a:gs pos="2917">
                      <a:schemeClr val="tx1"/>
                    </a:gs>
                    <a:gs pos="30000">
                      <a:schemeClr val="tx1"/>
                    </a:gs>
                  </a:gsLst>
                  <a:lin ang="5400000" scaled="0"/>
                </a:gradFill>
              </a:rPr>
              <a:t>10 Enterprise Edition license cores</a:t>
            </a: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r>
              <a:rPr lang="en-US" sz="1224" b="1" dirty="0">
                <a:gradFill>
                  <a:gsLst>
                    <a:gs pos="2917">
                      <a:schemeClr val="tx1"/>
                    </a:gs>
                    <a:gs pos="30000">
                      <a:schemeClr val="tx1"/>
                    </a:gs>
                  </a:gsLst>
                  <a:lin ang="5400000" scaled="0"/>
                </a:gradFill>
              </a:rPr>
              <a:t>Wants a:</a:t>
            </a:r>
          </a:p>
          <a:p>
            <a:pPr>
              <a:lnSpc>
                <a:spcPct val="90000"/>
              </a:lnSpc>
              <a:spcAft>
                <a:spcPts val="612"/>
              </a:spcAft>
            </a:pPr>
            <a:r>
              <a:rPr lang="en-US" sz="1224" dirty="0">
                <a:gradFill>
                  <a:gsLst>
                    <a:gs pos="2917">
                      <a:schemeClr val="tx1"/>
                    </a:gs>
                    <a:gs pos="30000">
                      <a:schemeClr val="tx1"/>
                    </a:gs>
                  </a:gsLst>
                  <a:lin ang="5400000" scaled="0"/>
                </a:gradFill>
              </a:rPr>
              <a:t>8 </a:t>
            </a:r>
            <a:r>
              <a:rPr lang="en-US" sz="1224" dirty="0" err="1">
                <a:gradFill>
                  <a:gsLst>
                    <a:gs pos="2917">
                      <a:schemeClr val="tx1"/>
                    </a:gs>
                    <a:gs pos="30000">
                      <a:schemeClr val="tx1"/>
                    </a:gs>
                  </a:gsLst>
                  <a:lin ang="5400000" scaled="0"/>
                </a:gradFill>
              </a:rPr>
              <a:t>vCores</a:t>
            </a:r>
            <a:r>
              <a:rPr lang="en-US" sz="1224" dirty="0">
                <a:gradFill>
                  <a:gsLst>
                    <a:gs pos="2917">
                      <a:schemeClr val="tx1"/>
                    </a:gs>
                    <a:gs pos="30000">
                      <a:schemeClr val="tx1"/>
                    </a:gs>
                  </a:gsLst>
                  <a:lin ang="5400000" scaled="0"/>
                </a:gradFill>
              </a:rPr>
              <a:t> Managed Instance</a:t>
            </a:r>
          </a:p>
          <a:p>
            <a:pPr>
              <a:lnSpc>
                <a:spcPct val="90000"/>
              </a:lnSpc>
              <a:spcAft>
                <a:spcPts val="612"/>
              </a:spcAft>
            </a:pPr>
            <a:endParaRPr lang="en-US" sz="1224" dirty="0">
              <a:gradFill>
                <a:gsLst>
                  <a:gs pos="2917">
                    <a:schemeClr val="tx1"/>
                  </a:gs>
                  <a:gs pos="30000">
                    <a:schemeClr val="tx1"/>
                  </a:gs>
                </a:gsLst>
                <a:lin ang="5400000" scaled="0"/>
              </a:gradFill>
            </a:endParaRPr>
          </a:p>
          <a:p>
            <a:r>
              <a:rPr lang="en-US" sz="1224" dirty="0"/>
              <a:t>Calculation = (10 Standard license cores * 1 core) + (10 Enterprise license cores * 4 cores) = </a:t>
            </a:r>
            <a:r>
              <a:rPr lang="en-US" sz="1224" b="1" dirty="0"/>
              <a:t>50 cores</a:t>
            </a:r>
          </a:p>
          <a:p>
            <a:endParaRPr lang="en-US" sz="1224" dirty="0"/>
          </a:p>
          <a:p>
            <a:r>
              <a:rPr lang="en-US" sz="1224" b="1" dirty="0"/>
              <a:t>Eligible number of instances: </a:t>
            </a:r>
          </a:p>
          <a:p>
            <a:r>
              <a:rPr lang="en-US" sz="1224" dirty="0"/>
              <a:t>(50 cores / 8 </a:t>
            </a:r>
            <a:r>
              <a:rPr lang="en-US" sz="1224" dirty="0" err="1"/>
              <a:t>vCore</a:t>
            </a:r>
            <a:r>
              <a:rPr lang="en-US" sz="1224" dirty="0"/>
              <a:t> instance) = </a:t>
            </a:r>
            <a:r>
              <a:rPr lang="en-US" sz="1224" b="1" dirty="0">
                <a:solidFill>
                  <a:srgbClr val="0070C0"/>
                </a:solidFill>
              </a:rPr>
              <a:t>6 eligible instances</a:t>
            </a: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endParaRPr lang="en-US" sz="1224" dirty="0">
              <a:gradFill>
                <a:gsLst>
                  <a:gs pos="2917">
                    <a:schemeClr val="tx1"/>
                  </a:gs>
                  <a:gs pos="30000">
                    <a:schemeClr val="tx1"/>
                  </a:gs>
                </a:gsLst>
                <a:lin ang="5400000" scaled="0"/>
              </a:gradFill>
            </a:endParaRPr>
          </a:p>
        </p:txBody>
      </p:sp>
      <p:sp>
        <p:nvSpPr>
          <p:cNvPr id="7" name="Rectangle 6">
            <a:extLst>
              <a:ext uri="{FF2B5EF4-FFF2-40B4-BE49-F238E27FC236}">
                <a16:creationId xmlns:a16="http://schemas.microsoft.com/office/drawing/2014/main" id="{706A144D-3A8D-44D2-8F41-50F173A86588}"/>
              </a:ext>
            </a:extLst>
          </p:cNvPr>
          <p:cNvSpPr/>
          <p:nvPr/>
        </p:nvSpPr>
        <p:spPr>
          <a:xfrm>
            <a:off x="5490614" y="6018509"/>
            <a:ext cx="5288496" cy="469103"/>
          </a:xfrm>
          <a:prstGeom prst="rect">
            <a:avLst/>
          </a:prstGeom>
        </p:spPr>
        <p:txBody>
          <a:bodyPr wrap="square">
            <a:spAutoFit/>
          </a:bodyPr>
          <a:lstStyle/>
          <a:p>
            <a:r>
              <a:rPr lang="en-US" sz="1224" dirty="0">
                <a:solidFill>
                  <a:srgbClr val="0070C0"/>
                </a:solidFill>
              </a:rPr>
              <a:t>1 Standard license core = 1 General Purpose core</a:t>
            </a:r>
          </a:p>
          <a:p>
            <a:r>
              <a:rPr lang="en-US" sz="1224" dirty="0">
                <a:solidFill>
                  <a:srgbClr val="0070C0"/>
                </a:solidFill>
              </a:rPr>
              <a:t>1 Enterprise license core = 4 General Purpose cores (virtualization benefit)</a:t>
            </a:r>
          </a:p>
        </p:txBody>
      </p:sp>
      <p:sp>
        <p:nvSpPr>
          <p:cNvPr id="8" name="TextBox 7">
            <a:extLst>
              <a:ext uri="{FF2B5EF4-FFF2-40B4-BE49-F238E27FC236}">
                <a16:creationId xmlns:a16="http://schemas.microsoft.com/office/drawing/2014/main" id="{E1DD8B85-C884-42FD-A29A-34264B63BED6}"/>
              </a:ext>
            </a:extLst>
          </p:cNvPr>
          <p:cNvSpPr txBox="1"/>
          <p:nvPr/>
        </p:nvSpPr>
        <p:spPr>
          <a:xfrm>
            <a:off x="8997763" y="1689658"/>
            <a:ext cx="3507148" cy="4686254"/>
          </a:xfrm>
          <a:prstGeom prst="rect">
            <a:avLst/>
          </a:prstGeom>
          <a:noFill/>
        </p:spPr>
        <p:txBody>
          <a:bodyPr wrap="square" lIns="93260" tIns="46630" rIns="93260" bIns="46630" rtlCol="0">
            <a:spAutoFit/>
          </a:bodyPr>
          <a:lstStyle/>
          <a:p>
            <a:pPr>
              <a:lnSpc>
                <a:spcPct val="90000"/>
              </a:lnSpc>
              <a:spcAft>
                <a:spcPts val="612"/>
              </a:spcAft>
            </a:pPr>
            <a:r>
              <a:rPr lang="en-US" sz="1632" b="1" dirty="0">
                <a:gradFill>
                  <a:gsLst>
                    <a:gs pos="2917">
                      <a:schemeClr val="tx1"/>
                    </a:gs>
                    <a:gs pos="30000">
                      <a:schemeClr val="tx1"/>
                    </a:gs>
                  </a:gsLst>
                  <a:lin ang="5400000" scaled="0"/>
                </a:gradFill>
              </a:rPr>
              <a:t>Example:</a:t>
            </a: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r>
              <a:rPr lang="en-US" sz="1224" b="1" dirty="0">
                <a:gradFill>
                  <a:gsLst>
                    <a:gs pos="2917">
                      <a:schemeClr val="tx1"/>
                    </a:gs>
                    <a:gs pos="30000">
                      <a:schemeClr val="tx1"/>
                    </a:gs>
                  </a:gsLst>
                  <a:lin ang="5400000" scaled="0"/>
                </a:gradFill>
              </a:rPr>
              <a:t>Customer B has:</a:t>
            </a:r>
          </a:p>
          <a:p>
            <a:pPr>
              <a:lnSpc>
                <a:spcPct val="90000"/>
              </a:lnSpc>
              <a:spcAft>
                <a:spcPts val="612"/>
              </a:spcAft>
            </a:pPr>
            <a:r>
              <a:rPr lang="en-US" sz="1224" dirty="0">
                <a:gradFill>
                  <a:gsLst>
                    <a:gs pos="2917">
                      <a:schemeClr val="tx1"/>
                    </a:gs>
                    <a:gs pos="30000">
                      <a:schemeClr val="tx1"/>
                    </a:gs>
                  </a:gsLst>
                  <a:lin ang="5400000" scaled="0"/>
                </a:gradFill>
              </a:rPr>
              <a:t>5 Standard Edition license cores</a:t>
            </a:r>
          </a:p>
          <a:p>
            <a:pPr>
              <a:lnSpc>
                <a:spcPct val="90000"/>
              </a:lnSpc>
              <a:spcAft>
                <a:spcPts val="612"/>
              </a:spcAft>
            </a:pPr>
            <a:r>
              <a:rPr lang="en-US" sz="1224" dirty="0">
                <a:gradFill>
                  <a:gsLst>
                    <a:gs pos="2917">
                      <a:schemeClr val="tx1"/>
                    </a:gs>
                    <a:gs pos="30000">
                      <a:schemeClr val="tx1"/>
                    </a:gs>
                  </a:gsLst>
                  <a:lin ang="5400000" scaled="0"/>
                </a:gradFill>
              </a:rPr>
              <a:t>20 Enterprise Edition license cores</a:t>
            </a: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r>
              <a:rPr lang="en-US" sz="1224" b="1" dirty="0">
                <a:gradFill>
                  <a:gsLst>
                    <a:gs pos="2917">
                      <a:schemeClr val="tx1"/>
                    </a:gs>
                    <a:gs pos="30000">
                      <a:schemeClr val="tx1"/>
                    </a:gs>
                  </a:gsLst>
                  <a:lin ang="5400000" scaled="0"/>
                </a:gradFill>
              </a:rPr>
              <a:t>Wants a:</a:t>
            </a:r>
          </a:p>
          <a:p>
            <a:pPr>
              <a:lnSpc>
                <a:spcPct val="90000"/>
              </a:lnSpc>
              <a:spcAft>
                <a:spcPts val="612"/>
              </a:spcAft>
            </a:pPr>
            <a:r>
              <a:rPr lang="en-US" sz="1224" dirty="0">
                <a:gradFill>
                  <a:gsLst>
                    <a:gs pos="2917">
                      <a:schemeClr val="tx1"/>
                    </a:gs>
                    <a:gs pos="30000">
                      <a:schemeClr val="tx1"/>
                    </a:gs>
                  </a:gsLst>
                  <a:lin ang="5400000" scaled="0"/>
                </a:gradFill>
              </a:rPr>
              <a:t>16 </a:t>
            </a:r>
            <a:r>
              <a:rPr lang="en-US" sz="1224" dirty="0" err="1">
                <a:gradFill>
                  <a:gsLst>
                    <a:gs pos="2917">
                      <a:schemeClr val="tx1"/>
                    </a:gs>
                    <a:gs pos="30000">
                      <a:schemeClr val="tx1"/>
                    </a:gs>
                  </a:gsLst>
                  <a:lin ang="5400000" scaled="0"/>
                </a:gradFill>
              </a:rPr>
              <a:t>vCores</a:t>
            </a:r>
            <a:r>
              <a:rPr lang="en-US" sz="1224" dirty="0">
                <a:gradFill>
                  <a:gsLst>
                    <a:gs pos="2917">
                      <a:schemeClr val="tx1"/>
                    </a:gs>
                    <a:gs pos="30000">
                      <a:schemeClr val="tx1"/>
                    </a:gs>
                  </a:gsLst>
                  <a:lin ang="5400000" scaled="0"/>
                </a:gradFill>
              </a:rPr>
              <a:t> Managed Instance</a:t>
            </a:r>
          </a:p>
          <a:p>
            <a:pPr>
              <a:lnSpc>
                <a:spcPct val="90000"/>
              </a:lnSpc>
              <a:spcAft>
                <a:spcPts val="612"/>
              </a:spcAft>
            </a:pPr>
            <a:endParaRPr lang="en-US" sz="1224" dirty="0">
              <a:gradFill>
                <a:gsLst>
                  <a:gs pos="2917">
                    <a:schemeClr val="tx1"/>
                  </a:gs>
                  <a:gs pos="30000">
                    <a:schemeClr val="tx1"/>
                  </a:gs>
                </a:gsLst>
                <a:lin ang="5400000" scaled="0"/>
              </a:gradFill>
            </a:endParaRPr>
          </a:p>
          <a:p>
            <a:r>
              <a:rPr lang="en-US" sz="1224" dirty="0"/>
              <a:t>Calculation = (5 Standard license cores * 1 core) + (20 Enterprise license cores * 4 cores) = </a:t>
            </a:r>
            <a:r>
              <a:rPr lang="en-US" sz="1224" b="1" dirty="0"/>
              <a:t>85 cores</a:t>
            </a:r>
          </a:p>
          <a:p>
            <a:endParaRPr lang="en-US" sz="1224" dirty="0"/>
          </a:p>
          <a:p>
            <a:r>
              <a:rPr lang="en-US" sz="1224" b="1" dirty="0"/>
              <a:t>Eligible number of instances: </a:t>
            </a:r>
          </a:p>
          <a:p>
            <a:r>
              <a:rPr lang="en-US" sz="1224" dirty="0"/>
              <a:t>(85 cores / 16 </a:t>
            </a:r>
            <a:r>
              <a:rPr lang="en-US" sz="1224" dirty="0" err="1"/>
              <a:t>vCore</a:t>
            </a:r>
            <a:r>
              <a:rPr lang="en-US" sz="1224" dirty="0"/>
              <a:t> instance) = </a:t>
            </a:r>
            <a:r>
              <a:rPr lang="en-US" sz="1224" b="1" dirty="0">
                <a:solidFill>
                  <a:srgbClr val="0070C0"/>
                </a:solidFill>
              </a:rPr>
              <a:t>5 eligible instances</a:t>
            </a: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endParaRPr lang="en-US" sz="1224" dirty="0">
              <a:gradFill>
                <a:gsLst>
                  <a:gs pos="2917">
                    <a:schemeClr val="tx1"/>
                  </a:gs>
                  <a:gs pos="30000">
                    <a:schemeClr val="tx1"/>
                  </a:gs>
                </a:gsLst>
                <a:lin ang="5400000" scaled="0"/>
              </a:gradFill>
            </a:endParaRPr>
          </a:p>
        </p:txBody>
      </p:sp>
      <p:grpSp>
        <p:nvGrpSpPr>
          <p:cNvPr id="9" name="Group 8">
            <a:extLst>
              <a:ext uri="{FF2B5EF4-FFF2-40B4-BE49-F238E27FC236}">
                <a16:creationId xmlns:a16="http://schemas.microsoft.com/office/drawing/2014/main" id="{213C3847-1AC6-4B4B-BAE7-B3987324D1FD}"/>
              </a:ext>
            </a:extLst>
          </p:cNvPr>
          <p:cNvGrpSpPr/>
          <p:nvPr/>
        </p:nvGrpSpPr>
        <p:grpSpPr>
          <a:xfrm>
            <a:off x="275482" y="6040194"/>
            <a:ext cx="220575" cy="736002"/>
            <a:chOff x="4081774" y="3329291"/>
            <a:chExt cx="208476" cy="695630"/>
          </a:xfrm>
        </p:grpSpPr>
        <p:sp>
          <p:nvSpPr>
            <p:cNvPr id="10" name="Freeform: Shape 234">
              <a:extLst>
                <a:ext uri="{FF2B5EF4-FFF2-40B4-BE49-F238E27FC236}">
                  <a16:creationId xmlns:a16="http://schemas.microsoft.com/office/drawing/2014/main" id="{0C935224-8697-4692-BC60-954A5B1BD364}"/>
                </a:ext>
              </a:extLst>
            </p:cNvPr>
            <p:cNvSpPr/>
            <p:nvPr/>
          </p:nvSpPr>
          <p:spPr bwMode="auto">
            <a:xfrm>
              <a:off x="4081774" y="3385143"/>
              <a:ext cx="208476" cy="428318"/>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p>
          </p:txBody>
        </p:sp>
        <p:cxnSp>
          <p:nvCxnSpPr>
            <p:cNvPr id="11" name="Straight Connector 10">
              <a:extLst>
                <a:ext uri="{FF2B5EF4-FFF2-40B4-BE49-F238E27FC236}">
                  <a16:creationId xmlns:a16="http://schemas.microsoft.com/office/drawing/2014/main" id="{2DD532D5-87CA-4E9F-803D-BBF69D0CE89B}"/>
                </a:ext>
              </a:extLst>
            </p:cNvPr>
            <p:cNvCxnSpPr>
              <a:cxnSpLocks/>
            </p:cNvCxnSpPr>
            <p:nvPr/>
          </p:nvCxnSpPr>
          <p:spPr>
            <a:xfrm>
              <a:off x="4186012" y="3329291"/>
              <a:ext cx="0" cy="695630"/>
            </a:xfrm>
            <a:prstGeom prst="line">
              <a:avLst/>
            </a:prstGeom>
            <a:ln w="190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8892207"/>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04ED2-F76C-4882-B797-471EA3805230}"/>
              </a:ext>
            </a:extLst>
          </p:cNvPr>
          <p:cNvSpPr>
            <a:spLocks noGrp="1"/>
          </p:cNvSpPr>
          <p:nvPr>
            <p:ph type="title"/>
          </p:nvPr>
        </p:nvSpPr>
        <p:spPr/>
        <p:txBody>
          <a:bodyPr/>
          <a:lstStyle/>
          <a:p>
            <a:pPr algn="ctr"/>
            <a:r>
              <a:rPr lang="en-US" sz="2856" cap="all" dirty="0">
                <a:solidFill>
                  <a:schemeClr val="tx2"/>
                </a:solidFill>
                <a:latin typeface="Segoe UI Semilight" panose="020B0402040204020203" pitchFamily="34" charset="0"/>
                <a:cs typeface="Segoe UI Semilight" panose="020B0402040204020203" pitchFamily="34" charset="0"/>
              </a:rPr>
              <a:t>High-Virtualization benefit for AHB for SQL Server</a:t>
            </a:r>
          </a:p>
        </p:txBody>
      </p:sp>
      <p:sp>
        <p:nvSpPr>
          <p:cNvPr id="23" name="Rectangle 22">
            <a:extLst>
              <a:ext uri="{FF2B5EF4-FFF2-40B4-BE49-F238E27FC236}">
                <a16:creationId xmlns:a16="http://schemas.microsoft.com/office/drawing/2014/main" id="{1D14699F-F3F6-4AA6-B41E-95DF79400F4F}"/>
              </a:ext>
            </a:extLst>
          </p:cNvPr>
          <p:cNvSpPr/>
          <p:nvPr/>
        </p:nvSpPr>
        <p:spPr>
          <a:xfrm>
            <a:off x="170952" y="3151852"/>
            <a:ext cx="2917343" cy="1368500"/>
          </a:xfrm>
          <a:prstGeom prst="rect">
            <a:avLst/>
          </a:prstGeom>
          <a:ln w="19050">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14191">
              <a:defRPr/>
            </a:pPr>
            <a:r>
              <a:rPr lang="en-US" sz="1399" b="1">
                <a:solidFill>
                  <a:srgbClr val="0078D7"/>
                </a:solidFill>
                <a:latin typeface="Segoe UI"/>
              </a:rPr>
              <a:t>Enterprise Edition Customer</a:t>
            </a:r>
          </a:p>
          <a:p>
            <a:pPr algn="ctr" defTabSz="914191">
              <a:defRPr/>
            </a:pPr>
            <a:r>
              <a:rPr lang="en-US" sz="1399" b="1">
                <a:solidFill>
                  <a:srgbClr val="0078D7"/>
                </a:solidFill>
                <a:latin typeface="Segoe UI"/>
              </a:rPr>
              <a:t> Highly Virtualized </a:t>
            </a:r>
          </a:p>
          <a:p>
            <a:pPr algn="ctr" defTabSz="914191">
              <a:defRPr/>
            </a:pPr>
            <a:endParaRPr lang="en-US" sz="1399">
              <a:solidFill>
                <a:srgbClr val="0078D7"/>
              </a:solidFill>
              <a:latin typeface="Segoe UI"/>
            </a:endParaRPr>
          </a:p>
          <a:p>
            <a:pPr algn="ctr" defTabSz="914191">
              <a:defRPr/>
            </a:pPr>
            <a:r>
              <a:rPr lang="en-US" sz="1399">
                <a:solidFill>
                  <a:srgbClr val="0078D7"/>
                </a:solidFill>
                <a:latin typeface="Segoe UI"/>
              </a:rPr>
              <a:t>e.g. 32 core virtualized workload with 8 core SQL EE License </a:t>
            </a:r>
          </a:p>
        </p:txBody>
      </p:sp>
      <p:sp>
        <p:nvSpPr>
          <p:cNvPr id="74" name="TextBox 73">
            <a:extLst>
              <a:ext uri="{FF2B5EF4-FFF2-40B4-BE49-F238E27FC236}">
                <a16:creationId xmlns:a16="http://schemas.microsoft.com/office/drawing/2014/main" id="{24584E3C-7FAD-408A-A1CA-B4629164473B}"/>
              </a:ext>
            </a:extLst>
          </p:cNvPr>
          <p:cNvSpPr txBox="1"/>
          <p:nvPr/>
        </p:nvSpPr>
        <p:spPr>
          <a:xfrm>
            <a:off x="7431565" y="1212849"/>
            <a:ext cx="4731478" cy="483383"/>
          </a:xfrm>
          <a:prstGeom prst="rect">
            <a:avLst/>
          </a:prstGeom>
          <a:noFill/>
          <a:ln w="9525">
            <a:solidFill>
              <a:srgbClr val="0078D7"/>
            </a:solidFill>
            <a:prstDash val="sysDash"/>
          </a:ln>
        </p:spPr>
        <p:txBody>
          <a:bodyPr wrap="square" lIns="182854" tIns="146283" rIns="182854" bIns="146283" rtlCol="0">
            <a:noAutofit/>
          </a:bodyPr>
          <a:lstStyle/>
          <a:p>
            <a:pPr algn="ctr" defTabSz="932597">
              <a:lnSpc>
                <a:spcPct val="90000"/>
              </a:lnSpc>
              <a:defRPr/>
            </a:pPr>
            <a:r>
              <a:rPr lang="en-US" sz="2000">
                <a:solidFill>
                  <a:srgbClr val="0078D7"/>
                </a:solidFill>
                <a:latin typeface="Segoe UI"/>
              </a:rPr>
              <a:t>Cost on SQL DB (MI)= </a:t>
            </a:r>
            <a:r>
              <a:rPr lang="en-US" sz="2000" b="1">
                <a:solidFill>
                  <a:srgbClr val="0078D7"/>
                </a:solidFill>
                <a:latin typeface="Segoe UI"/>
              </a:rPr>
              <a:t>$6.21</a:t>
            </a:r>
          </a:p>
        </p:txBody>
      </p:sp>
      <p:grpSp>
        <p:nvGrpSpPr>
          <p:cNvPr id="83" name="Group 82">
            <a:extLst>
              <a:ext uri="{FF2B5EF4-FFF2-40B4-BE49-F238E27FC236}">
                <a16:creationId xmlns:a16="http://schemas.microsoft.com/office/drawing/2014/main" id="{4C7A54C4-5848-4E28-A7CD-8A7F94D9E6EF}"/>
              </a:ext>
            </a:extLst>
          </p:cNvPr>
          <p:cNvGrpSpPr/>
          <p:nvPr/>
        </p:nvGrpSpPr>
        <p:grpSpPr>
          <a:xfrm>
            <a:off x="3088296" y="1687215"/>
            <a:ext cx="9403441" cy="4417508"/>
            <a:chOff x="2944727" y="1473816"/>
            <a:chExt cx="9404775" cy="5008563"/>
          </a:xfrm>
        </p:grpSpPr>
        <p:sp>
          <p:nvSpPr>
            <p:cNvPr id="25" name="Rectangle 24">
              <a:extLst>
                <a:ext uri="{FF2B5EF4-FFF2-40B4-BE49-F238E27FC236}">
                  <a16:creationId xmlns:a16="http://schemas.microsoft.com/office/drawing/2014/main" id="{BC3F9C32-616C-4418-9AB9-B7E035636EDE}"/>
                </a:ext>
              </a:extLst>
            </p:cNvPr>
            <p:cNvSpPr/>
            <p:nvPr/>
          </p:nvSpPr>
          <p:spPr bwMode="auto">
            <a:xfrm>
              <a:off x="4308537" y="1717483"/>
              <a:ext cx="2487434" cy="908050"/>
            </a:xfrm>
            <a:prstGeom prst="rect">
              <a:avLst/>
            </a:prstGeom>
            <a:no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bodyPr>
            <a:lstStyle/>
            <a:p>
              <a:pPr algn="ctr" defTabSz="932293" fontAlgn="base">
                <a:spcBef>
                  <a:spcPct val="0"/>
                </a:spcBef>
                <a:spcAft>
                  <a:spcPct val="0"/>
                </a:spcAft>
                <a:defRPr/>
              </a:pPr>
              <a:r>
                <a:rPr lang="en-US" sz="1599" dirty="0">
                  <a:solidFill>
                    <a:srgbClr val="0078D7"/>
                  </a:solidFill>
                  <a:latin typeface="Segoe UI"/>
                </a:rPr>
                <a:t>AHB for SQL Server with Managed Instance  </a:t>
              </a:r>
            </a:p>
          </p:txBody>
        </p:sp>
        <p:cxnSp>
          <p:nvCxnSpPr>
            <p:cNvPr id="27" name="Straight Arrow Connector 26">
              <a:extLst>
                <a:ext uri="{FF2B5EF4-FFF2-40B4-BE49-F238E27FC236}">
                  <a16:creationId xmlns:a16="http://schemas.microsoft.com/office/drawing/2014/main" id="{8B459922-70E8-4139-A382-FCFBDE0761F9}"/>
                </a:ext>
              </a:extLst>
            </p:cNvPr>
            <p:cNvCxnSpPr>
              <a:cxnSpLocks/>
              <a:stCxn id="23" idx="3"/>
              <a:endCxn id="25" idx="1"/>
            </p:cNvCxnSpPr>
            <p:nvPr/>
          </p:nvCxnSpPr>
          <p:spPr>
            <a:xfrm flipV="1">
              <a:off x="2944727" y="2171508"/>
              <a:ext cx="1363810" cy="173871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93B28165-C647-48F9-9AF5-7AA5822FD91A}"/>
                </a:ext>
              </a:extLst>
            </p:cNvPr>
            <p:cNvSpPr/>
            <p:nvPr/>
          </p:nvSpPr>
          <p:spPr bwMode="auto">
            <a:xfrm>
              <a:off x="4266969" y="5022467"/>
              <a:ext cx="2455770" cy="909350"/>
            </a:xfrm>
            <a:prstGeom prst="rect">
              <a:avLst/>
            </a:prstGeom>
            <a:no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t" anchorCtr="0" compatLnSpc="1">
              <a:prstTxWarp prst="textNoShape">
                <a:avLst/>
              </a:prstTxWarp>
            </a:bodyPr>
            <a:lstStyle/>
            <a:p>
              <a:pPr algn="ctr" defTabSz="932293" fontAlgn="base">
                <a:spcBef>
                  <a:spcPct val="0"/>
                </a:spcBef>
                <a:spcAft>
                  <a:spcPct val="0"/>
                </a:spcAft>
                <a:defRPr/>
              </a:pPr>
              <a:r>
                <a:rPr lang="en-US" sz="1599">
                  <a:solidFill>
                    <a:srgbClr val="0078D7"/>
                  </a:solidFill>
                  <a:latin typeface="Segoe UI"/>
                </a:rPr>
                <a:t>License Mobility for Azure IaaS Standard SE</a:t>
              </a:r>
            </a:p>
          </p:txBody>
        </p:sp>
        <p:pic>
          <p:nvPicPr>
            <p:cNvPr id="29" name="Graphic 28" descr="Database">
              <a:extLst>
                <a:ext uri="{FF2B5EF4-FFF2-40B4-BE49-F238E27FC236}">
                  <a16:creationId xmlns:a16="http://schemas.microsoft.com/office/drawing/2014/main" id="{81459B59-15A2-4B68-B268-0115916F57D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02759" y="1473816"/>
              <a:ext cx="932604" cy="932603"/>
            </a:xfrm>
            <a:prstGeom prst="rect">
              <a:avLst/>
            </a:prstGeom>
          </p:spPr>
        </p:pic>
        <p:pic>
          <p:nvPicPr>
            <p:cNvPr id="30" name="Graphic 29" descr="Database">
              <a:extLst>
                <a:ext uri="{FF2B5EF4-FFF2-40B4-BE49-F238E27FC236}">
                  <a16:creationId xmlns:a16="http://schemas.microsoft.com/office/drawing/2014/main" id="{95B9F0C7-D595-4C61-BAE9-2FFAA4F9526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07952" y="1489717"/>
              <a:ext cx="932604" cy="932603"/>
            </a:xfrm>
            <a:prstGeom prst="rect">
              <a:avLst/>
            </a:prstGeom>
          </p:spPr>
        </p:pic>
        <p:pic>
          <p:nvPicPr>
            <p:cNvPr id="31" name="Graphic 30" descr="Database">
              <a:extLst>
                <a:ext uri="{FF2B5EF4-FFF2-40B4-BE49-F238E27FC236}">
                  <a16:creationId xmlns:a16="http://schemas.microsoft.com/office/drawing/2014/main" id="{C8FB2A4C-9D06-485B-98AA-E50163B1337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55128" y="1489717"/>
              <a:ext cx="932604" cy="932603"/>
            </a:xfrm>
            <a:prstGeom prst="rect">
              <a:avLst/>
            </a:prstGeom>
          </p:spPr>
        </p:pic>
        <p:pic>
          <p:nvPicPr>
            <p:cNvPr id="32" name="Graphic 31" descr="Database">
              <a:extLst>
                <a:ext uri="{FF2B5EF4-FFF2-40B4-BE49-F238E27FC236}">
                  <a16:creationId xmlns:a16="http://schemas.microsoft.com/office/drawing/2014/main" id="{74026764-BD5A-46C4-A137-ACF948FB752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02304" y="1489717"/>
              <a:ext cx="932604" cy="932603"/>
            </a:xfrm>
            <a:prstGeom prst="rect">
              <a:avLst/>
            </a:prstGeom>
          </p:spPr>
        </p:pic>
        <p:sp>
          <p:nvSpPr>
            <p:cNvPr id="33" name="TextBox 32">
              <a:extLst>
                <a:ext uri="{FF2B5EF4-FFF2-40B4-BE49-F238E27FC236}">
                  <a16:creationId xmlns:a16="http://schemas.microsoft.com/office/drawing/2014/main" id="{4FB91301-0CBA-4B0E-905A-F0A75C123F1E}"/>
                </a:ext>
              </a:extLst>
            </p:cNvPr>
            <p:cNvSpPr txBox="1"/>
            <p:nvPr/>
          </p:nvSpPr>
          <p:spPr>
            <a:xfrm>
              <a:off x="8252609" y="2202868"/>
              <a:ext cx="1427023" cy="562419"/>
            </a:xfrm>
            <a:prstGeom prst="rect">
              <a:avLst/>
            </a:prstGeom>
            <a:noFill/>
          </p:spPr>
          <p:txBody>
            <a:bodyPr wrap="square" lIns="182854" tIns="146283" rIns="182854" bIns="146283" rtlCol="0">
              <a:noAutofit/>
            </a:bodyPr>
            <a:lstStyle/>
            <a:p>
              <a:pPr algn="ctr" defTabSz="932597">
                <a:lnSpc>
                  <a:spcPct val="90000"/>
                </a:lnSpc>
                <a:defRPr/>
              </a:pPr>
              <a:r>
                <a:rPr lang="en-US" sz="1099">
                  <a:solidFill>
                    <a:srgbClr val="0078D7"/>
                  </a:solidFill>
                  <a:latin typeface="Segoe UI"/>
                </a:rPr>
                <a:t>8 vCore at Base rate w/ SA </a:t>
              </a:r>
            </a:p>
          </p:txBody>
        </p:sp>
        <p:pic>
          <p:nvPicPr>
            <p:cNvPr id="42" name="Graphic 41" descr="Database">
              <a:extLst>
                <a:ext uri="{FF2B5EF4-FFF2-40B4-BE49-F238E27FC236}">
                  <a16:creationId xmlns:a16="http://schemas.microsoft.com/office/drawing/2014/main" id="{9C32B9E0-4AB1-4DEF-9192-85CAF873153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02759" y="4822640"/>
              <a:ext cx="932604" cy="932603"/>
            </a:xfrm>
            <a:prstGeom prst="rect">
              <a:avLst/>
            </a:prstGeom>
          </p:spPr>
        </p:pic>
        <p:pic>
          <p:nvPicPr>
            <p:cNvPr id="43" name="Graphic 42" descr="Database">
              <a:extLst>
                <a:ext uri="{FF2B5EF4-FFF2-40B4-BE49-F238E27FC236}">
                  <a16:creationId xmlns:a16="http://schemas.microsoft.com/office/drawing/2014/main" id="{36118542-E921-47B7-9572-EE0DB361AE2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29386" y="4333460"/>
              <a:ext cx="1247176" cy="1547895"/>
            </a:xfrm>
            <a:prstGeom prst="rect">
              <a:avLst/>
            </a:prstGeom>
          </p:spPr>
        </p:pic>
        <p:pic>
          <p:nvPicPr>
            <p:cNvPr id="44" name="Graphic 43" descr="Database">
              <a:extLst>
                <a:ext uri="{FF2B5EF4-FFF2-40B4-BE49-F238E27FC236}">
                  <a16:creationId xmlns:a16="http://schemas.microsoft.com/office/drawing/2014/main" id="{925D3246-C129-415E-A8AD-8F924A09633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817699" y="4221590"/>
              <a:ext cx="1247176" cy="1659766"/>
            </a:xfrm>
            <a:prstGeom prst="rect">
              <a:avLst/>
            </a:prstGeom>
          </p:spPr>
        </p:pic>
        <p:pic>
          <p:nvPicPr>
            <p:cNvPr id="45" name="Graphic 44" descr="Database">
              <a:extLst>
                <a:ext uri="{FF2B5EF4-FFF2-40B4-BE49-F238E27FC236}">
                  <a16:creationId xmlns:a16="http://schemas.microsoft.com/office/drawing/2014/main" id="{79E864C7-F830-48B9-9F30-81266D76AFC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02326" y="4221589"/>
              <a:ext cx="1247176" cy="1601756"/>
            </a:xfrm>
            <a:prstGeom prst="rect">
              <a:avLst/>
            </a:prstGeom>
          </p:spPr>
        </p:pic>
        <p:sp>
          <p:nvSpPr>
            <p:cNvPr id="46" name="TextBox 45">
              <a:extLst>
                <a:ext uri="{FF2B5EF4-FFF2-40B4-BE49-F238E27FC236}">
                  <a16:creationId xmlns:a16="http://schemas.microsoft.com/office/drawing/2014/main" id="{D4ABF21D-8B46-40E6-847D-7650C9C85D3A}"/>
                </a:ext>
              </a:extLst>
            </p:cNvPr>
            <p:cNvSpPr txBox="1"/>
            <p:nvPr/>
          </p:nvSpPr>
          <p:spPr>
            <a:xfrm>
              <a:off x="6933419" y="5687349"/>
              <a:ext cx="1427023" cy="538845"/>
            </a:xfrm>
            <a:prstGeom prst="rect">
              <a:avLst/>
            </a:prstGeom>
            <a:noFill/>
          </p:spPr>
          <p:txBody>
            <a:bodyPr wrap="square" lIns="182854" tIns="146283" rIns="182854" bIns="146283" rtlCol="0">
              <a:noAutofit/>
            </a:bodyPr>
            <a:lstStyle/>
            <a:p>
              <a:pPr algn="ctr" defTabSz="932597">
                <a:lnSpc>
                  <a:spcPct val="90000"/>
                </a:lnSpc>
                <a:defRPr/>
              </a:pPr>
              <a:r>
                <a:rPr lang="en-US" sz="1099">
                  <a:solidFill>
                    <a:srgbClr val="0078D7"/>
                  </a:solidFill>
                  <a:latin typeface="Segoe UI"/>
                </a:rPr>
                <a:t>8 core at BYOL w/ SA </a:t>
              </a:r>
            </a:p>
          </p:txBody>
        </p:sp>
        <p:sp>
          <p:nvSpPr>
            <p:cNvPr id="47" name="TextBox 46">
              <a:extLst>
                <a:ext uri="{FF2B5EF4-FFF2-40B4-BE49-F238E27FC236}">
                  <a16:creationId xmlns:a16="http://schemas.microsoft.com/office/drawing/2014/main" id="{3B257F47-6CC6-4A94-A611-5188E431C01E}"/>
                </a:ext>
              </a:extLst>
            </p:cNvPr>
            <p:cNvSpPr txBox="1"/>
            <p:nvPr/>
          </p:nvSpPr>
          <p:spPr>
            <a:xfrm>
              <a:off x="8395216" y="5591145"/>
              <a:ext cx="1427023" cy="733809"/>
            </a:xfrm>
            <a:prstGeom prst="rect">
              <a:avLst/>
            </a:prstGeom>
            <a:noFill/>
          </p:spPr>
          <p:txBody>
            <a:bodyPr wrap="square" lIns="182854" tIns="146283" rIns="182854" bIns="146283" rtlCol="0">
              <a:noAutofit/>
            </a:bodyPr>
            <a:lstStyle/>
            <a:p>
              <a:pPr algn="ctr" defTabSz="932597">
                <a:lnSpc>
                  <a:spcPct val="90000"/>
                </a:lnSpc>
                <a:defRPr/>
              </a:pPr>
              <a:r>
                <a:rPr lang="en-US" sz="1099">
                  <a:solidFill>
                    <a:srgbClr val="0078D7"/>
                  </a:solidFill>
                  <a:latin typeface="Segoe UI"/>
                </a:rPr>
                <a:t>8 core at License Included</a:t>
              </a:r>
            </a:p>
          </p:txBody>
        </p:sp>
        <p:cxnSp>
          <p:nvCxnSpPr>
            <p:cNvPr id="50" name="Straight Arrow Connector 49">
              <a:extLst>
                <a:ext uri="{FF2B5EF4-FFF2-40B4-BE49-F238E27FC236}">
                  <a16:creationId xmlns:a16="http://schemas.microsoft.com/office/drawing/2014/main" id="{4311BD66-7913-44C1-898A-A30C5155255F}"/>
                </a:ext>
              </a:extLst>
            </p:cNvPr>
            <p:cNvCxnSpPr>
              <a:cxnSpLocks/>
              <a:stCxn id="23" idx="3"/>
              <a:endCxn id="28" idx="1"/>
            </p:cNvCxnSpPr>
            <p:nvPr/>
          </p:nvCxnSpPr>
          <p:spPr>
            <a:xfrm>
              <a:off x="2944727" y="3910220"/>
              <a:ext cx="1322242" cy="156692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5A8345DC-B157-4E62-84F8-197A37665D35}"/>
                </a:ext>
              </a:extLst>
            </p:cNvPr>
            <p:cNvSpPr txBox="1"/>
            <p:nvPr/>
          </p:nvSpPr>
          <p:spPr>
            <a:xfrm>
              <a:off x="7036830" y="2690430"/>
              <a:ext cx="1171680" cy="300123"/>
            </a:xfrm>
            <a:prstGeom prst="rect">
              <a:avLst/>
            </a:prstGeom>
            <a:noFill/>
            <a:ln w="19050">
              <a:solidFill>
                <a:schemeClr val="bg1"/>
              </a:solidFill>
              <a:prstDash val="lgDashDot"/>
            </a:ln>
          </p:spPr>
          <p:txBody>
            <a:bodyPr wrap="square" lIns="182854" tIns="146283" rIns="182854" bIns="146283" rtlCol="0" anchor="ctr">
              <a:noAutofit/>
            </a:bodyPr>
            <a:lstStyle/>
            <a:p>
              <a:pPr algn="ctr" defTabSz="932597">
                <a:lnSpc>
                  <a:spcPct val="90000"/>
                </a:lnSpc>
                <a:defRPr/>
              </a:pPr>
              <a:r>
                <a:rPr lang="en-US" sz="1399" b="1">
                  <a:solidFill>
                    <a:srgbClr val="0078D7"/>
                  </a:solidFill>
                  <a:latin typeface="Segoe UI"/>
                </a:rPr>
                <a:t>$1.55</a:t>
              </a:r>
            </a:p>
          </p:txBody>
        </p:sp>
        <p:sp>
          <p:nvSpPr>
            <p:cNvPr id="61" name="TextBox 60">
              <a:extLst>
                <a:ext uri="{FF2B5EF4-FFF2-40B4-BE49-F238E27FC236}">
                  <a16:creationId xmlns:a16="http://schemas.microsoft.com/office/drawing/2014/main" id="{7D5ACE84-3BF4-4939-88A0-F5C827FD9AA5}"/>
                </a:ext>
              </a:extLst>
            </p:cNvPr>
            <p:cNvSpPr txBox="1"/>
            <p:nvPr/>
          </p:nvSpPr>
          <p:spPr>
            <a:xfrm>
              <a:off x="6953257" y="2196303"/>
              <a:ext cx="1427023" cy="562419"/>
            </a:xfrm>
            <a:prstGeom prst="rect">
              <a:avLst/>
            </a:prstGeom>
            <a:noFill/>
          </p:spPr>
          <p:txBody>
            <a:bodyPr wrap="square" lIns="182854" tIns="146283" rIns="182854" bIns="146283" rtlCol="0">
              <a:noAutofit/>
            </a:bodyPr>
            <a:lstStyle/>
            <a:p>
              <a:pPr algn="ctr" defTabSz="932597">
                <a:lnSpc>
                  <a:spcPct val="90000"/>
                </a:lnSpc>
                <a:defRPr/>
              </a:pPr>
              <a:r>
                <a:rPr lang="en-US" sz="1099">
                  <a:solidFill>
                    <a:srgbClr val="0078D7"/>
                  </a:solidFill>
                  <a:latin typeface="Segoe UI"/>
                </a:rPr>
                <a:t>8 vCore at Base rate w/ SA </a:t>
              </a:r>
            </a:p>
          </p:txBody>
        </p:sp>
        <p:sp>
          <p:nvSpPr>
            <p:cNvPr id="62" name="TextBox 61">
              <a:extLst>
                <a:ext uri="{FF2B5EF4-FFF2-40B4-BE49-F238E27FC236}">
                  <a16:creationId xmlns:a16="http://schemas.microsoft.com/office/drawing/2014/main" id="{9548B34C-26C2-4650-B16F-D75104697EBD}"/>
                </a:ext>
              </a:extLst>
            </p:cNvPr>
            <p:cNvSpPr txBox="1"/>
            <p:nvPr/>
          </p:nvSpPr>
          <p:spPr>
            <a:xfrm>
              <a:off x="9589199" y="2217359"/>
              <a:ext cx="1427023" cy="562419"/>
            </a:xfrm>
            <a:prstGeom prst="rect">
              <a:avLst/>
            </a:prstGeom>
            <a:noFill/>
          </p:spPr>
          <p:txBody>
            <a:bodyPr wrap="square" lIns="182854" tIns="146283" rIns="182854" bIns="146283" rtlCol="0">
              <a:noAutofit/>
            </a:bodyPr>
            <a:lstStyle/>
            <a:p>
              <a:pPr algn="ctr" defTabSz="932597">
                <a:lnSpc>
                  <a:spcPct val="90000"/>
                </a:lnSpc>
                <a:defRPr/>
              </a:pPr>
              <a:r>
                <a:rPr lang="en-US" sz="1099">
                  <a:solidFill>
                    <a:srgbClr val="0078D7"/>
                  </a:solidFill>
                  <a:latin typeface="Segoe UI"/>
                </a:rPr>
                <a:t>8 vCore at Base rate w/ SA </a:t>
              </a:r>
            </a:p>
          </p:txBody>
        </p:sp>
        <p:sp>
          <p:nvSpPr>
            <p:cNvPr id="63" name="TextBox 62">
              <a:extLst>
                <a:ext uri="{FF2B5EF4-FFF2-40B4-BE49-F238E27FC236}">
                  <a16:creationId xmlns:a16="http://schemas.microsoft.com/office/drawing/2014/main" id="{DD1AF3DB-EBEA-420C-A488-EF84B5EF41B1}"/>
                </a:ext>
              </a:extLst>
            </p:cNvPr>
            <p:cNvSpPr txBox="1"/>
            <p:nvPr/>
          </p:nvSpPr>
          <p:spPr>
            <a:xfrm>
              <a:off x="10764542" y="2228312"/>
              <a:ext cx="1427023" cy="562419"/>
            </a:xfrm>
            <a:prstGeom prst="rect">
              <a:avLst/>
            </a:prstGeom>
            <a:noFill/>
          </p:spPr>
          <p:txBody>
            <a:bodyPr wrap="square" lIns="182854" tIns="146283" rIns="182854" bIns="146283" rtlCol="0">
              <a:noAutofit/>
            </a:bodyPr>
            <a:lstStyle/>
            <a:p>
              <a:pPr algn="ctr" defTabSz="932597">
                <a:lnSpc>
                  <a:spcPct val="90000"/>
                </a:lnSpc>
                <a:defRPr/>
              </a:pPr>
              <a:r>
                <a:rPr lang="en-US" sz="1099">
                  <a:solidFill>
                    <a:srgbClr val="0078D7"/>
                  </a:solidFill>
                  <a:latin typeface="Segoe UI"/>
                </a:rPr>
                <a:t>8 vCore at Base rate w/ SA </a:t>
              </a:r>
            </a:p>
          </p:txBody>
        </p:sp>
        <p:sp>
          <p:nvSpPr>
            <p:cNvPr id="64" name="TextBox 63">
              <a:extLst>
                <a:ext uri="{FF2B5EF4-FFF2-40B4-BE49-F238E27FC236}">
                  <a16:creationId xmlns:a16="http://schemas.microsoft.com/office/drawing/2014/main" id="{C53319AC-5CFE-4474-A12E-B7BB7995FBC0}"/>
                </a:ext>
              </a:extLst>
            </p:cNvPr>
            <p:cNvSpPr txBox="1"/>
            <p:nvPr/>
          </p:nvSpPr>
          <p:spPr>
            <a:xfrm>
              <a:off x="7093609" y="6182256"/>
              <a:ext cx="1171680" cy="300123"/>
            </a:xfrm>
            <a:prstGeom prst="rect">
              <a:avLst/>
            </a:prstGeom>
            <a:noFill/>
            <a:ln w="19050">
              <a:solidFill>
                <a:schemeClr val="bg1"/>
              </a:solidFill>
              <a:prstDash val="lgDashDot"/>
            </a:ln>
          </p:spPr>
          <p:txBody>
            <a:bodyPr wrap="square" lIns="182854" tIns="146283" rIns="182854" bIns="146283" rtlCol="0" anchor="ctr">
              <a:noAutofit/>
            </a:bodyPr>
            <a:lstStyle/>
            <a:p>
              <a:pPr algn="ctr" defTabSz="932597">
                <a:lnSpc>
                  <a:spcPct val="90000"/>
                </a:lnSpc>
                <a:defRPr/>
              </a:pPr>
              <a:r>
                <a:rPr lang="en-US" sz="1399" b="1">
                  <a:solidFill>
                    <a:srgbClr val="0078D7"/>
                  </a:solidFill>
                  <a:latin typeface="Segoe UI"/>
                </a:rPr>
                <a:t>$2.39</a:t>
              </a:r>
            </a:p>
          </p:txBody>
        </p:sp>
        <p:sp>
          <p:nvSpPr>
            <p:cNvPr id="65" name="TextBox 64">
              <a:extLst>
                <a:ext uri="{FF2B5EF4-FFF2-40B4-BE49-F238E27FC236}">
                  <a16:creationId xmlns:a16="http://schemas.microsoft.com/office/drawing/2014/main" id="{E255C555-60D8-454A-87B2-8EC39E613D27}"/>
                </a:ext>
              </a:extLst>
            </p:cNvPr>
            <p:cNvSpPr txBox="1"/>
            <p:nvPr/>
          </p:nvSpPr>
          <p:spPr>
            <a:xfrm>
              <a:off x="8522887" y="6146562"/>
              <a:ext cx="1171680" cy="300123"/>
            </a:xfrm>
            <a:prstGeom prst="rect">
              <a:avLst/>
            </a:prstGeom>
            <a:noFill/>
            <a:ln w="19050">
              <a:solidFill>
                <a:schemeClr val="bg1"/>
              </a:solidFill>
              <a:prstDash val="lgDashDot"/>
            </a:ln>
          </p:spPr>
          <p:txBody>
            <a:bodyPr wrap="square" lIns="182854" tIns="146283" rIns="182854" bIns="146283" rtlCol="0" anchor="ctr">
              <a:noAutofit/>
            </a:bodyPr>
            <a:lstStyle/>
            <a:p>
              <a:pPr algn="ctr" defTabSz="932597">
                <a:lnSpc>
                  <a:spcPct val="90000"/>
                </a:lnSpc>
                <a:defRPr/>
              </a:pPr>
              <a:r>
                <a:rPr lang="en-US" sz="1399" b="1">
                  <a:solidFill>
                    <a:srgbClr val="0078D7"/>
                  </a:solidFill>
                  <a:latin typeface="Segoe UI"/>
                </a:rPr>
                <a:t>$1.85</a:t>
              </a:r>
            </a:p>
          </p:txBody>
        </p:sp>
        <p:sp>
          <p:nvSpPr>
            <p:cNvPr id="75" name="TextBox 74">
              <a:extLst>
                <a:ext uri="{FF2B5EF4-FFF2-40B4-BE49-F238E27FC236}">
                  <a16:creationId xmlns:a16="http://schemas.microsoft.com/office/drawing/2014/main" id="{AE085D5E-A930-41B0-BB51-170F58116AFD}"/>
                </a:ext>
              </a:extLst>
            </p:cNvPr>
            <p:cNvSpPr txBox="1"/>
            <p:nvPr/>
          </p:nvSpPr>
          <p:spPr>
            <a:xfrm>
              <a:off x="7310487" y="3610949"/>
              <a:ext cx="4732149" cy="548059"/>
            </a:xfrm>
            <a:prstGeom prst="rect">
              <a:avLst/>
            </a:prstGeom>
            <a:noFill/>
            <a:ln w="9525">
              <a:solidFill>
                <a:srgbClr val="0078D7"/>
              </a:solidFill>
              <a:prstDash val="sysDash"/>
            </a:ln>
          </p:spPr>
          <p:txBody>
            <a:bodyPr wrap="square" lIns="182854" tIns="146283" rIns="182854" bIns="146283" rtlCol="0">
              <a:noAutofit/>
            </a:bodyPr>
            <a:lstStyle/>
            <a:p>
              <a:pPr algn="ctr" defTabSz="932597">
                <a:lnSpc>
                  <a:spcPct val="90000"/>
                </a:lnSpc>
                <a:defRPr/>
              </a:pPr>
              <a:r>
                <a:rPr lang="en-US" sz="2000">
                  <a:solidFill>
                    <a:srgbClr val="0078D7"/>
                  </a:solidFill>
                  <a:latin typeface="Segoe UI"/>
                </a:rPr>
                <a:t>Cost on Azure IaaS= </a:t>
              </a:r>
              <a:r>
                <a:rPr lang="en-US" sz="2000" b="1">
                  <a:solidFill>
                    <a:srgbClr val="0078D7"/>
                  </a:solidFill>
                  <a:latin typeface="Segoe UI"/>
                </a:rPr>
                <a:t>$7.92</a:t>
              </a:r>
            </a:p>
          </p:txBody>
        </p:sp>
        <p:cxnSp>
          <p:nvCxnSpPr>
            <p:cNvPr id="77" name="Straight Arrow Connector 76">
              <a:extLst>
                <a:ext uri="{FF2B5EF4-FFF2-40B4-BE49-F238E27FC236}">
                  <a16:creationId xmlns:a16="http://schemas.microsoft.com/office/drawing/2014/main" id="{188FAEE6-AFFC-4247-B741-49FD43BF85A9}"/>
                </a:ext>
              </a:extLst>
            </p:cNvPr>
            <p:cNvCxnSpPr>
              <a:cxnSpLocks/>
              <a:stCxn id="25" idx="2"/>
              <a:endCxn id="6" idx="0"/>
            </p:cNvCxnSpPr>
            <p:nvPr/>
          </p:nvCxnSpPr>
          <p:spPr>
            <a:xfrm flipH="1">
              <a:off x="5527100" y="2625532"/>
              <a:ext cx="25153" cy="19015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88" name="TextBox 87">
            <a:extLst>
              <a:ext uri="{FF2B5EF4-FFF2-40B4-BE49-F238E27FC236}">
                <a16:creationId xmlns:a16="http://schemas.microsoft.com/office/drawing/2014/main" id="{0048894E-AE70-430E-9D31-38F6F459BC7A}"/>
              </a:ext>
            </a:extLst>
          </p:cNvPr>
          <p:cNvSpPr txBox="1"/>
          <p:nvPr/>
        </p:nvSpPr>
        <p:spPr>
          <a:xfrm flipH="1">
            <a:off x="2882628" y="4625207"/>
            <a:ext cx="1330010" cy="393009"/>
          </a:xfrm>
          <a:prstGeom prst="rect">
            <a:avLst/>
          </a:prstGeom>
          <a:noFill/>
          <a:ln>
            <a:noFill/>
            <a:prstDash val="sysDash"/>
          </a:ln>
        </p:spPr>
        <p:txBody>
          <a:bodyPr wrap="square" lIns="182854" tIns="146283" rIns="182854" bIns="146283" rtlCol="0">
            <a:noAutofit/>
          </a:bodyPr>
          <a:lstStyle/>
          <a:p>
            <a:pPr defTabSz="932597">
              <a:lnSpc>
                <a:spcPct val="90000"/>
              </a:lnSpc>
              <a:defRPr/>
            </a:pPr>
            <a:r>
              <a:rPr lang="en-US" sz="1071">
                <a:gradFill>
                  <a:gsLst>
                    <a:gs pos="1250">
                      <a:prstClr val="black"/>
                    </a:gs>
                    <a:gs pos="99000">
                      <a:prstClr val="black"/>
                    </a:gs>
                  </a:gsLst>
                  <a:lin ang="5400000" scaled="0"/>
                </a:gradFill>
                <a:latin typeface="Segoe UI"/>
              </a:rPr>
              <a:t>@1:1 Trade-in</a:t>
            </a:r>
            <a:endParaRPr lang="en-US" sz="1071">
              <a:gradFill>
                <a:gsLst>
                  <a:gs pos="1250">
                    <a:prstClr val="black"/>
                  </a:gs>
                  <a:gs pos="99000">
                    <a:prstClr val="black"/>
                  </a:gs>
                </a:gsLst>
                <a:lin ang="5400000" scaled="0"/>
              </a:gradFill>
              <a:highlight>
                <a:srgbClr val="FFFF00"/>
              </a:highlight>
              <a:latin typeface="Segoe UI"/>
            </a:endParaRPr>
          </a:p>
        </p:txBody>
      </p:sp>
      <p:sp>
        <p:nvSpPr>
          <p:cNvPr id="94" name="TextBox 93">
            <a:extLst>
              <a:ext uri="{FF2B5EF4-FFF2-40B4-BE49-F238E27FC236}">
                <a16:creationId xmlns:a16="http://schemas.microsoft.com/office/drawing/2014/main" id="{2BE87B05-0C0A-466D-819D-E6B95AC2B470}"/>
              </a:ext>
            </a:extLst>
          </p:cNvPr>
          <p:cNvSpPr txBox="1"/>
          <p:nvPr/>
        </p:nvSpPr>
        <p:spPr>
          <a:xfrm flipH="1">
            <a:off x="2968851" y="1418158"/>
            <a:ext cx="1256540" cy="393009"/>
          </a:xfrm>
          <a:prstGeom prst="rect">
            <a:avLst/>
          </a:prstGeom>
          <a:noFill/>
          <a:ln>
            <a:noFill/>
            <a:prstDash val="sysDash"/>
          </a:ln>
        </p:spPr>
        <p:txBody>
          <a:bodyPr wrap="square" lIns="182854" tIns="146283" rIns="182854" bIns="146283" rtlCol="0">
            <a:noAutofit/>
          </a:bodyPr>
          <a:lstStyle/>
          <a:p>
            <a:pPr defTabSz="932597">
              <a:lnSpc>
                <a:spcPct val="90000"/>
              </a:lnSpc>
              <a:defRPr/>
            </a:pPr>
            <a:r>
              <a:rPr lang="en-US" sz="1071">
                <a:gradFill>
                  <a:gsLst>
                    <a:gs pos="1250">
                      <a:prstClr val="black"/>
                    </a:gs>
                    <a:gs pos="99000">
                      <a:prstClr val="black"/>
                    </a:gs>
                  </a:gsLst>
                  <a:lin ang="5400000" scaled="0"/>
                </a:gradFill>
                <a:latin typeface="Segoe UI"/>
              </a:rPr>
              <a:t>@1:4 Trade-in</a:t>
            </a:r>
            <a:endParaRPr lang="en-US" sz="1071">
              <a:gradFill>
                <a:gsLst>
                  <a:gs pos="1250">
                    <a:prstClr val="black"/>
                  </a:gs>
                  <a:gs pos="99000">
                    <a:prstClr val="black"/>
                  </a:gs>
                </a:gsLst>
                <a:lin ang="5400000" scaled="0"/>
              </a:gradFill>
              <a:highlight>
                <a:srgbClr val="FFFF00"/>
              </a:highlight>
              <a:latin typeface="Segoe UI"/>
            </a:endParaRPr>
          </a:p>
        </p:txBody>
      </p:sp>
      <p:sp>
        <p:nvSpPr>
          <p:cNvPr id="98" name="TextBox 97">
            <a:extLst>
              <a:ext uri="{FF2B5EF4-FFF2-40B4-BE49-F238E27FC236}">
                <a16:creationId xmlns:a16="http://schemas.microsoft.com/office/drawing/2014/main" id="{E4E7F9B7-F534-4F9D-AD2E-0CD0F7BA9853}"/>
              </a:ext>
            </a:extLst>
          </p:cNvPr>
          <p:cNvSpPr txBox="1"/>
          <p:nvPr/>
        </p:nvSpPr>
        <p:spPr>
          <a:xfrm>
            <a:off x="-155255" y="6261429"/>
            <a:ext cx="8993664" cy="548684"/>
          </a:xfrm>
          <a:prstGeom prst="rect">
            <a:avLst/>
          </a:prstGeom>
          <a:noFill/>
        </p:spPr>
        <p:txBody>
          <a:bodyPr wrap="square" lIns="182854" tIns="146283" rIns="182854" bIns="146283" rtlCol="0">
            <a:noAutofit/>
          </a:bodyPr>
          <a:lstStyle/>
          <a:p>
            <a:pPr defTabSz="932597">
              <a:lnSpc>
                <a:spcPct val="90000"/>
              </a:lnSpc>
              <a:defRPr/>
            </a:pPr>
            <a:r>
              <a:rPr lang="en-US" sz="1049">
                <a:solidFill>
                  <a:prstClr val="black"/>
                </a:solidFill>
                <a:latin typeface="Segoe UI"/>
              </a:rPr>
              <a:t>*</a:t>
            </a:r>
            <a:r>
              <a:rPr lang="en-US" sz="1099" i="1">
                <a:solidFill>
                  <a:prstClr val="black"/>
                </a:solidFill>
                <a:latin typeface="Segoe UI"/>
              </a:rPr>
              <a:t>All the SKUs above are 8 vCPU or </a:t>
            </a:r>
            <a:r>
              <a:rPr lang="en-US" sz="1099" i="1" err="1">
                <a:solidFill>
                  <a:prstClr val="black"/>
                </a:solidFill>
                <a:latin typeface="Segoe UI"/>
              </a:rPr>
              <a:t>vCore</a:t>
            </a:r>
            <a:r>
              <a:rPr lang="en-US" sz="1099" i="1">
                <a:solidFill>
                  <a:prstClr val="black"/>
                </a:solidFill>
                <a:latin typeface="Segoe UI"/>
              </a:rPr>
              <a:t> memory optimized equivalent. (D13v2 for Azure IaaS). The SA cost are based Open NL EE for SA. The License included prices are 8 core D13v2 for Azure IaaS. US East price. ** Prices as on Oct 2 2017 </a:t>
            </a:r>
          </a:p>
          <a:p>
            <a:pPr defTabSz="932597">
              <a:lnSpc>
                <a:spcPct val="90000"/>
              </a:lnSpc>
              <a:defRPr/>
            </a:pPr>
            <a:r>
              <a:rPr lang="en-US" sz="1099" i="1">
                <a:solidFill>
                  <a:prstClr val="black"/>
                </a:solidFill>
                <a:latin typeface="Segoe UI"/>
              </a:rPr>
              <a:t> </a:t>
            </a:r>
          </a:p>
        </p:txBody>
      </p:sp>
      <p:sp>
        <p:nvSpPr>
          <p:cNvPr id="3" name="Right Brace 2">
            <a:extLst>
              <a:ext uri="{FF2B5EF4-FFF2-40B4-BE49-F238E27FC236}">
                <a16:creationId xmlns:a16="http://schemas.microsoft.com/office/drawing/2014/main" id="{303B8B3F-0717-4CE6-AC3F-C879947E862D}"/>
              </a:ext>
            </a:extLst>
          </p:cNvPr>
          <p:cNvSpPr/>
          <p:nvPr/>
        </p:nvSpPr>
        <p:spPr>
          <a:xfrm rot="5400000">
            <a:off x="10709913" y="4503233"/>
            <a:ext cx="46629" cy="320591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a:solidFill>
                <a:prstClr val="black"/>
              </a:solidFill>
              <a:latin typeface="Segoe UI"/>
            </a:endParaRPr>
          </a:p>
        </p:txBody>
      </p:sp>
      <p:sp>
        <p:nvSpPr>
          <p:cNvPr id="5" name="TextBox 4">
            <a:extLst>
              <a:ext uri="{FF2B5EF4-FFF2-40B4-BE49-F238E27FC236}">
                <a16:creationId xmlns:a16="http://schemas.microsoft.com/office/drawing/2014/main" id="{04C86E26-D4F7-4A6B-B5A9-D945CAE93F85}"/>
              </a:ext>
            </a:extLst>
          </p:cNvPr>
          <p:cNvSpPr txBox="1"/>
          <p:nvPr/>
        </p:nvSpPr>
        <p:spPr>
          <a:xfrm>
            <a:off x="9234308" y="6063482"/>
            <a:ext cx="3286491" cy="515556"/>
          </a:xfrm>
          <a:prstGeom prst="rect">
            <a:avLst/>
          </a:prstGeom>
          <a:noFill/>
        </p:spPr>
        <p:txBody>
          <a:bodyPr wrap="square" lIns="182854" tIns="146283" rIns="182854" bIns="146283" rtlCol="0">
            <a:noAutofit/>
          </a:bodyPr>
          <a:lstStyle/>
          <a:p>
            <a:pPr defTabSz="932597">
              <a:lnSpc>
                <a:spcPct val="90000"/>
              </a:lnSpc>
              <a:defRPr/>
            </a:pPr>
            <a:r>
              <a:rPr lang="en-US" sz="1199" i="1">
                <a:gradFill>
                  <a:gsLst>
                    <a:gs pos="1250">
                      <a:prstClr val="black"/>
                    </a:gs>
                    <a:gs pos="99000">
                      <a:prstClr val="black"/>
                    </a:gs>
                  </a:gsLst>
                  <a:lin ang="5400000" scaled="0"/>
                </a:gradFill>
                <a:latin typeface="Segoe UI"/>
              </a:rPr>
              <a:t>Customer must purchase License Included Cores to get equivalent value on Azure IaaS</a:t>
            </a:r>
          </a:p>
        </p:txBody>
      </p:sp>
      <p:sp>
        <p:nvSpPr>
          <p:cNvPr id="51" name="TextBox 50">
            <a:extLst>
              <a:ext uri="{FF2B5EF4-FFF2-40B4-BE49-F238E27FC236}">
                <a16:creationId xmlns:a16="http://schemas.microsoft.com/office/drawing/2014/main" id="{42BC3423-4155-4A40-B313-9561757E45F4}"/>
              </a:ext>
            </a:extLst>
          </p:cNvPr>
          <p:cNvSpPr txBox="1"/>
          <p:nvPr/>
        </p:nvSpPr>
        <p:spPr>
          <a:xfrm>
            <a:off x="9980506" y="5334958"/>
            <a:ext cx="1426821" cy="647213"/>
          </a:xfrm>
          <a:prstGeom prst="rect">
            <a:avLst/>
          </a:prstGeom>
          <a:noFill/>
        </p:spPr>
        <p:txBody>
          <a:bodyPr wrap="square" lIns="182854" tIns="146283" rIns="182854" bIns="146283" rtlCol="0">
            <a:noAutofit/>
          </a:bodyPr>
          <a:lstStyle/>
          <a:p>
            <a:pPr algn="ctr" defTabSz="932597">
              <a:lnSpc>
                <a:spcPct val="90000"/>
              </a:lnSpc>
              <a:defRPr/>
            </a:pPr>
            <a:r>
              <a:rPr lang="en-US" sz="1099">
                <a:solidFill>
                  <a:srgbClr val="0078D7"/>
                </a:solidFill>
                <a:latin typeface="Segoe UI"/>
              </a:rPr>
              <a:t>8 core at License Included</a:t>
            </a:r>
          </a:p>
        </p:txBody>
      </p:sp>
      <p:sp>
        <p:nvSpPr>
          <p:cNvPr id="52" name="TextBox 51">
            <a:extLst>
              <a:ext uri="{FF2B5EF4-FFF2-40B4-BE49-F238E27FC236}">
                <a16:creationId xmlns:a16="http://schemas.microsoft.com/office/drawing/2014/main" id="{40555BF3-1CD2-4ADB-A521-3EAD088D440A}"/>
              </a:ext>
            </a:extLst>
          </p:cNvPr>
          <p:cNvSpPr txBox="1"/>
          <p:nvPr/>
        </p:nvSpPr>
        <p:spPr>
          <a:xfrm>
            <a:off x="11185598" y="5316761"/>
            <a:ext cx="1426821" cy="647213"/>
          </a:xfrm>
          <a:prstGeom prst="rect">
            <a:avLst/>
          </a:prstGeom>
          <a:noFill/>
        </p:spPr>
        <p:txBody>
          <a:bodyPr wrap="square" lIns="182854" tIns="146283" rIns="182854" bIns="146283" rtlCol="0">
            <a:noAutofit/>
          </a:bodyPr>
          <a:lstStyle/>
          <a:p>
            <a:pPr algn="ctr" defTabSz="932597">
              <a:lnSpc>
                <a:spcPct val="90000"/>
              </a:lnSpc>
              <a:defRPr/>
            </a:pPr>
            <a:r>
              <a:rPr lang="en-US" sz="1099">
                <a:solidFill>
                  <a:srgbClr val="0078D7"/>
                </a:solidFill>
                <a:latin typeface="Segoe UI"/>
              </a:rPr>
              <a:t>8 core at License Included</a:t>
            </a:r>
          </a:p>
        </p:txBody>
      </p:sp>
      <p:sp>
        <p:nvSpPr>
          <p:cNvPr id="6" name="TextBox 5">
            <a:extLst>
              <a:ext uri="{FF2B5EF4-FFF2-40B4-BE49-F238E27FC236}">
                <a16:creationId xmlns:a16="http://schemas.microsoft.com/office/drawing/2014/main" id="{E1AA1552-B927-4900-A699-9889E4EC23C4}"/>
              </a:ext>
            </a:extLst>
          </p:cNvPr>
          <p:cNvSpPr txBox="1"/>
          <p:nvPr/>
        </p:nvSpPr>
        <p:spPr>
          <a:xfrm>
            <a:off x="4679651" y="4380195"/>
            <a:ext cx="1981301" cy="408124"/>
          </a:xfrm>
          <a:prstGeom prst="rect">
            <a:avLst/>
          </a:prstGeom>
          <a:noFill/>
        </p:spPr>
        <p:txBody>
          <a:bodyPr wrap="square" lIns="182854" tIns="146283" rIns="182854" bIns="146283" rtlCol="0">
            <a:noAutofit/>
          </a:bodyPr>
          <a:lstStyle/>
          <a:p>
            <a:pPr algn="ctr" defTabSz="932597">
              <a:lnSpc>
                <a:spcPct val="90000"/>
              </a:lnSpc>
              <a:defRPr/>
            </a:pPr>
            <a:r>
              <a:rPr lang="en-US" sz="1428" b="1" dirty="0">
                <a:solidFill>
                  <a:srgbClr val="0078D7"/>
                </a:solidFill>
                <a:latin typeface="Segoe UI"/>
              </a:rPr>
              <a:t>Hosted/VM</a:t>
            </a:r>
          </a:p>
        </p:txBody>
      </p:sp>
      <p:sp>
        <p:nvSpPr>
          <p:cNvPr id="54" name="TextBox 53">
            <a:extLst>
              <a:ext uri="{FF2B5EF4-FFF2-40B4-BE49-F238E27FC236}">
                <a16:creationId xmlns:a16="http://schemas.microsoft.com/office/drawing/2014/main" id="{3695B6A9-3FA8-40AF-88E8-BFF66DFCA899}"/>
              </a:ext>
            </a:extLst>
          </p:cNvPr>
          <p:cNvSpPr txBox="1"/>
          <p:nvPr/>
        </p:nvSpPr>
        <p:spPr>
          <a:xfrm>
            <a:off x="4463118" y="1258915"/>
            <a:ext cx="2487081" cy="614438"/>
          </a:xfrm>
          <a:prstGeom prst="rect">
            <a:avLst/>
          </a:prstGeom>
          <a:noFill/>
        </p:spPr>
        <p:txBody>
          <a:bodyPr wrap="square" lIns="182854" tIns="146283" rIns="182854" bIns="146283" rtlCol="0">
            <a:noAutofit/>
          </a:bodyPr>
          <a:lstStyle/>
          <a:p>
            <a:pPr algn="ctr" defTabSz="932597">
              <a:lnSpc>
                <a:spcPct val="90000"/>
              </a:lnSpc>
              <a:defRPr/>
            </a:pPr>
            <a:r>
              <a:rPr lang="en-US" sz="1428" b="1" dirty="0">
                <a:solidFill>
                  <a:srgbClr val="0078D7"/>
                </a:solidFill>
                <a:latin typeface="Segoe UI"/>
              </a:rPr>
              <a:t>SQL Database Managed Instance</a:t>
            </a:r>
          </a:p>
        </p:txBody>
      </p:sp>
      <p:sp>
        <p:nvSpPr>
          <p:cNvPr id="49" name="TextBox 48">
            <a:extLst>
              <a:ext uri="{FF2B5EF4-FFF2-40B4-BE49-F238E27FC236}">
                <a16:creationId xmlns:a16="http://schemas.microsoft.com/office/drawing/2014/main" id="{4724248C-38B0-4271-A7AA-A603E2336130}"/>
              </a:ext>
            </a:extLst>
          </p:cNvPr>
          <p:cNvSpPr txBox="1"/>
          <p:nvPr/>
        </p:nvSpPr>
        <p:spPr>
          <a:xfrm>
            <a:off x="11034654" y="2839692"/>
            <a:ext cx="1171514" cy="264706"/>
          </a:xfrm>
          <a:prstGeom prst="rect">
            <a:avLst/>
          </a:prstGeom>
          <a:noFill/>
          <a:ln w="19050">
            <a:solidFill>
              <a:schemeClr val="bg1"/>
            </a:solidFill>
            <a:prstDash val="lgDashDot"/>
          </a:ln>
        </p:spPr>
        <p:txBody>
          <a:bodyPr wrap="square" lIns="182854" tIns="146283" rIns="182854" bIns="146283" rtlCol="0" anchor="ctr">
            <a:noAutofit/>
          </a:bodyPr>
          <a:lstStyle/>
          <a:p>
            <a:pPr algn="ctr" defTabSz="932597">
              <a:lnSpc>
                <a:spcPct val="90000"/>
              </a:lnSpc>
              <a:defRPr/>
            </a:pPr>
            <a:r>
              <a:rPr lang="en-US" sz="1399" b="1">
                <a:solidFill>
                  <a:srgbClr val="0078D7"/>
                </a:solidFill>
                <a:latin typeface="Segoe UI"/>
              </a:rPr>
              <a:t>$1.55</a:t>
            </a:r>
          </a:p>
        </p:txBody>
      </p:sp>
      <p:sp>
        <p:nvSpPr>
          <p:cNvPr id="55" name="TextBox 54">
            <a:extLst>
              <a:ext uri="{FF2B5EF4-FFF2-40B4-BE49-F238E27FC236}">
                <a16:creationId xmlns:a16="http://schemas.microsoft.com/office/drawing/2014/main" id="{13454BBB-F4A8-4039-B339-20722B64220A}"/>
              </a:ext>
            </a:extLst>
          </p:cNvPr>
          <p:cNvSpPr txBox="1"/>
          <p:nvPr/>
        </p:nvSpPr>
        <p:spPr>
          <a:xfrm>
            <a:off x="9832585" y="2796237"/>
            <a:ext cx="1171514" cy="264706"/>
          </a:xfrm>
          <a:prstGeom prst="rect">
            <a:avLst/>
          </a:prstGeom>
          <a:noFill/>
          <a:ln w="19050">
            <a:solidFill>
              <a:schemeClr val="bg1"/>
            </a:solidFill>
            <a:prstDash val="lgDashDot"/>
          </a:ln>
        </p:spPr>
        <p:txBody>
          <a:bodyPr wrap="square" lIns="182854" tIns="146283" rIns="182854" bIns="146283" rtlCol="0" anchor="ctr">
            <a:noAutofit/>
          </a:bodyPr>
          <a:lstStyle/>
          <a:p>
            <a:pPr algn="ctr" defTabSz="932597">
              <a:lnSpc>
                <a:spcPct val="90000"/>
              </a:lnSpc>
              <a:defRPr/>
            </a:pPr>
            <a:r>
              <a:rPr lang="en-US" sz="1399" b="1">
                <a:solidFill>
                  <a:srgbClr val="0078D7"/>
                </a:solidFill>
                <a:latin typeface="Segoe UI"/>
              </a:rPr>
              <a:t>$1.55</a:t>
            </a:r>
          </a:p>
        </p:txBody>
      </p:sp>
      <p:sp>
        <p:nvSpPr>
          <p:cNvPr id="60" name="TextBox 59">
            <a:extLst>
              <a:ext uri="{FF2B5EF4-FFF2-40B4-BE49-F238E27FC236}">
                <a16:creationId xmlns:a16="http://schemas.microsoft.com/office/drawing/2014/main" id="{FBC856EC-1EF6-45B8-8373-D51DF73B73B8}"/>
              </a:ext>
            </a:extLst>
          </p:cNvPr>
          <p:cNvSpPr txBox="1"/>
          <p:nvPr/>
        </p:nvSpPr>
        <p:spPr>
          <a:xfrm>
            <a:off x="8567171" y="2770861"/>
            <a:ext cx="1171514" cy="264706"/>
          </a:xfrm>
          <a:prstGeom prst="rect">
            <a:avLst/>
          </a:prstGeom>
          <a:noFill/>
          <a:ln w="19050">
            <a:solidFill>
              <a:schemeClr val="bg1"/>
            </a:solidFill>
            <a:prstDash val="lgDashDot"/>
          </a:ln>
        </p:spPr>
        <p:txBody>
          <a:bodyPr wrap="square" lIns="182854" tIns="146283" rIns="182854" bIns="146283" rtlCol="0" anchor="ctr">
            <a:noAutofit/>
          </a:bodyPr>
          <a:lstStyle/>
          <a:p>
            <a:pPr algn="ctr" defTabSz="932597">
              <a:lnSpc>
                <a:spcPct val="90000"/>
              </a:lnSpc>
              <a:defRPr/>
            </a:pPr>
            <a:r>
              <a:rPr lang="en-US" sz="1399" b="1">
                <a:solidFill>
                  <a:srgbClr val="0078D7"/>
                </a:solidFill>
                <a:latin typeface="Segoe UI"/>
              </a:rPr>
              <a:t>$1.55</a:t>
            </a:r>
          </a:p>
        </p:txBody>
      </p:sp>
      <p:sp>
        <p:nvSpPr>
          <p:cNvPr id="67" name="TextBox 66">
            <a:extLst>
              <a:ext uri="{FF2B5EF4-FFF2-40B4-BE49-F238E27FC236}">
                <a16:creationId xmlns:a16="http://schemas.microsoft.com/office/drawing/2014/main" id="{8AE36E9E-EF0B-4A75-8DB5-79F2855A6387}"/>
              </a:ext>
            </a:extLst>
          </p:cNvPr>
          <p:cNvSpPr txBox="1"/>
          <p:nvPr/>
        </p:nvSpPr>
        <p:spPr>
          <a:xfrm>
            <a:off x="10073224" y="5796309"/>
            <a:ext cx="1171514" cy="264706"/>
          </a:xfrm>
          <a:prstGeom prst="rect">
            <a:avLst/>
          </a:prstGeom>
          <a:noFill/>
          <a:ln w="19050">
            <a:solidFill>
              <a:schemeClr val="bg1"/>
            </a:solidFill>
            <a:prstDash val="lgDashDot"/>
          </a:ln>
        </p:spPr>
        <p:txBody>
          <a:bodyPr wrap="square" lIns="182854" tIns="146283" rIns="182854" bIns="146283" rtlCol="0" anchor="ctr">
            <a:noAutofit/>
          </a:bodyPr>
          <a:lstStyle/>
          <a:p>
            <a:pPr algn="ctr" defTabSz="932597">
              <a:lnSpc>
                <a:spcPct val="90000"/>
              </a:lnSpc>
              <a:defRPr/>
            </a:pPr>
            <a:r>
              <a:rPr lang="en-US" sz="1399" b="1">
                <a:solidFill>
                  <a:srgbClr val="4472C4"/>
                </a:solidFill>
                <a:latin typeface="Segoe UI"/>
              </a:rPr>
              <a:t>$1.85</a:t>
            </a:r>
          </a:p>
        </p:txBody>
      </p:sp>
      <p:sp>
        <p:nvSpPr>
          <p:cNvPr id="68" name="TextBox 67">
            <a:extLst>
              <a:ext uri="{FF2B5EF4-FFF2-40B4-BE49-F238E27FC236}">
                <a16:creationId xmlns:a16="http://schemas.microsoft.com/office/drawing/2014/main" id="{B04F0942-FEFE-4000-B15A-00B7E4D7EC37}"/>
              </a:ext>
            </a:extLst>
          </p:cNvPr>
          <p:cNvSpPr txBox="1"/>
          <p:nvPr/>
        </p:nvSpPr>
        <p:spPr>
          <a:xfrm>
            <a:off x="11293989" y="5783705"/>
            <a:ext cx="1171514" cy="264706"/>
          </a:xfrm>
          <a:prstGeom prst="rect">
            <a:avLst/>
          </a:prstGeom>
          <a:noFill/>
          <a:ln w="19050">
            <a:solidFill>
              <a:schemeClr val="bg1"/>
            </a:solidFill>
            <a:prstDash val="lgDashDot"/>
          </a:ln>
        </p:spPr>
        <p:txBody>
          <a:bodyPr wrap="square" lIns="182854" tIns="146283" rIns="182854" bIns="146283" rtlCol="0" anchor="ctr">
            <a:noAutofit/>
          </a:bodyPr>
          <a:lstStyle/>
          <a:p>
            <a:pPr algn="ctr" defTabSz="932597">
              <a:lnSpc>
                <a:spcPct val="90000"/>
              </a:lnSpc>
              <a:defRPr/>
            </a:pPr>
            <a:r>
              <a:rPr lang="en-US" sz="1399" b="1">
                <a:solidFill>
                  <a:srgbClr val="4472C4"/>
                </a:solidFill>
                <a:latin typeface="Segoe UI"/>
              </a:rPr>
              <a:t>$1.85</a:t>
            </a:r>
          </a:p>
        </p:txBody>
      </p:sp>
      <p:sp>
        <p:nvSpPr>
          <p:cNvPr id="7" name="Rectangle 6">
            <a:extLst>
              <a:ext uri="{FF2B5EF4-FFF2-40B4-BE49-F238E27FC236}">
                <a16:creationId xmlns:a16="http://schemas.microsoft.com/office/drawing/2014/main" id="{3F3272C5-3821-41BF-A3AC-1B9760F72B01}"/>
              </a:ext>
            </a:extLst>
          </p:cNvPr>
          <p:cNvSpPr/>
          <p:nvPr/>
        </p:nvSpPr>
        <p:spPr>
          <a:xfrm>
            <a:off x="672504" y="751675"/>
            <a:ext cx="11164155" cy="353469"/>
          </a:xfrm>
          <a:prstGeom prst="rect">
            <a:avLst/>
          </a:prstGeom>
        </p:spPr>
        <p:txBody>
          <a:bodyPr wrap="square">
            <a:spAutoFit/>
          </a:bodyPr>
          <a:lstStyle/>
          <a:p>
            <a:pPr lvl="0" algn="ctr">
              <a:lnSpc>
                <a:spcPct val="90000"/>
              </a:lnSpc>
              <a:defRPr/>
            </a:pPr>
            <a:r>
              <a:rPr lang="en-US" sz="1836" dirty="0">
                <a:solidFill>
                  <a:srgbClr val="0078D7"/>
                </a:solidFill>
              </a:rPr>
              <a:t>For virtualized EE workloads, customers get 4X </a:t>
            </a:r>
            <a:r>
              <a:rPr lang="en-US" sz="1836" dirty="0" err="1">
                <a:solidFill>
                  <a:srgbClr val="0078D7"/>
                </a:solidFill>
              </a:rPr>
              <a:t>vCore</a:t>
            </a:r>
            <a:r>
              <a:rPr lang="en-US" sz="1836" dirty="0">
                <a:solidFill>
                  <a:srgbClr val="0078D7"/>
                </a:solidFill>
              </a:rPr>
              <a:t> on Azure SQL DB vs. 1X core on Azure IaaS</a:t>
            </a:r>
          </a:p>
        </p:txBody>
      </p:sp>
      <p:grpSp>
        <p:nvGrpSpPr>
          <p:cNvPr id="8" name="Group 7">
            <a:extLst>
              <a:ext uri="{FF2B5EF4-FFF2-40B4-BE49-F238E27FC236}">
                <a16:creationId xmlns:a16="http://schemas.microsoft.com/office/drawing/2014/main" id="{7F5F1958-8142-4E98-A5BC-982337AB0FE6}"/>
              </a:ext>
            </a:extLst>
          </p:cNvPr>
          <p:cNvGrpSpPr/>
          <p:nvPr/>
        </p:nvGrpSpPr>
        <p:grpSpPr>
          <a:xfrm>
            <a:off x="1039319" y="2213188"/>
            <a:ext cx="951471" cy="775018"/>
            <a:chOff x="471015" y="1690266"/>
            <a:chExt cx="1147415" cy="934625"/>
          </a:xfrm>
        </p:grpSpPr>
        <p:sp>
          <p:nvSpPr>
            <p:cNvPr id="53" name="Freeform 5">
              <a:extLst>
                <a:ext uri="{FF2B5EF4-FFF2-40B4-BE49-F238E27FC236}">
                  <a16:creationId xmlns:a16="http://schemas.microsoft.com/office/drawing/2014/main" id="{1AF05869-CA35-4342-9392-0AEF8CEC6B6A}"/>
                </a:ext>
              </a:extLst>
            </p:cNvPr>
            <p:cNvSpPr>
              <a:spLocks noEditPoints="1"/>
            </p:cNvSpPr>
            <p:nvPr/>
          </p:nvSpPr>
          <p:spPr bwMode="auto">
            <a:xfrm>
              <a:off x="471015" y="1690266"/>
              <a:ext cx="507793" cy="56736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505050"/>
                </a:solidFill>
                <a:latin typeface="Segoe UI Semilight"/>
              </a:endParaRPr>
            </a:p>
          </p:txBody>
        </p:sp>
        <p:sp>
          <p:nvSpPr>
            <p:cNvPr id="59" name="Freeform 5">
              <a:extLst>
                <a:ext uri="{FF2B5EF4-FFF2-40B4-BE49-F238E27FC236}">
                  <a16:creationId xmlns:a16="http://schemas.microsoft.com/office/drawing/2014/main" id="{ECE952F5-264C-4B1C-ADCE-AEAD069F4F23}"/>
                </a:ext>
              </a:extLst>
            </p:cNvPr>
            <p:cNvSpPr>
              <a:spLocks noEditPoints="1"/>
            </p:cNvSpPr>
            <p:nvPr/>
          </p:nvSpPr>
          <p:spPr bwMode="auto">
            <a:xfrm>
              <a:off x="1110637" y="1690266"/>
              <a:ext cx="507793" cy="56736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505050"/>
                </a:solidFill>
                <a:latin typeface="Segoe UI Semilight"/>
              </a:endParaRPr>
            </a:p>
          </p:txBody>
        </p:sp>
        <p:sp>
          <p:nvSpPr>
            <p:cNvPr id="66" name="Freeform 5">
              <a:extLst>
                <a:ext uri="{FF2B5EF4-FFF2-40B4-BE49-F238E27FC236}">
                  <a16:creationId xmlns:a16="http://schemas.microsoft.com/office/drawing/2014/main" id="{CB1DDCE2-C370-472B-A51B-08C3315FC736}"/>
                </a:ext>
              </a:extLst>
            </p:cNvPr>
            <p:cNvSpPr>
              <a:spLocks noEditPoints="1"/>
            </p:cNvSpPr>
            <p:nvPr/>
          </p:nvSpPr>
          <p:spPr bwMode="auto">
            <a:xfrm>
              <a:off x="790826" y="2057528"/>
              <a:ext cx="507793" cy="56736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505050"/>
                </a:solidFill>
                <a:latin typeface="Segoe UI Semilight"/>
              </a:endParaRPr>
            </a:p>
          </p:txBody>
        </p:sp>
      </p:grpSp>
      <p:sp>
        <p:nvSpPr>
          <p:cNvPr id="82" name="Freeform 15">
            <a:extLst>
              <a:ext uri="{FF2B5EF4-FFF2-40B4-BE49-F238E27FC236}">
                <a16:creationId xmlns:a16="http://schemas.microsoft.com/office/drawing/2014/main" id="{7D636690-8278-4B0B-89C0-D51FC81EDB33}"/>
              </a:ext>
            </a:extLst>
          </p:cNvPr>
          <p:cNvSpPr/>
          <p:nvPr/>
        </p:nvSpPr>
        <p:spPr>
          <a:xfrm>
            <a:off x="3590022" y="2277252"/>
            <a:ext cx="0" cy="249226"/>
          </a:xfrm>
          <a:custGeom>
            <a:avLst/>
            <a:gdLst>
              <a:gd name="connsiteX0" fmla="*/ 0 w 0"/>
              <a:gd name="connsiteY0" fmla="*/ 0 h 213756"/>
              <a:gd name="connsiteX1" fmla="*/ 0 w 0"/>
              <a:gd name="connsiteY1" fmla="*/ 213756 h 213756"/>
            </a:gdLst>
            <a:ahLst/>
            <a:cxnLst>
              <a:cxn ang="0">
                <a:pos x="connsiteX0" y="connsiteY0"/>
              </a:cxn>
              <a:cxn ang="0">
                <a:pos x="connsiteX1" y="connsiteY1"/>
              </a:cxn>
            </a:cxnLst>
            <a:rect l="l" t="t" r="r" b="b"/>
            <a:pathLst>
              <a:path h="213756">
                <a:moveTo>
                  <a:pt x="0" y="0"/>
                </a:moveTo>
                <a:lnTo>
                  <a:pt x="0" y="213756"/>
                </a:lnTo>
              </a:path>
            </a:pathLst>
          </a:custGeom>
          <a:noFill/>
          <a:ln>
            <a:solidFill>
              <a:srgbClr val="0078D7"/>
            </a:solidFill>
            <a:prstDash val="sysDash"/>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6" name="Freeform 178">
            <a:extLst>
              <a:ext uri="{FF2B5EF4-FFF2-40B4-BE49-F238E27FC236}">
                <a16:creationId xmlns:a16="http://schemas.microsoft.com/office/drawing/2014/main" id="{1C6D69D4-76F9-44B0-9D5E-C8A30F4BD2A8}"/>
              </a:ext>
            </a:extLst>
          </p:cNvPr>
          <p:cNvSpPr/>
          <p:nvPr/>
        </p:nvSpPr>
        <p:spPr>
          <a:xfrm>
            <a:off x="3555263" y="5478378"/>
            <a:ext cx="0" cy="249226"/>
          </a:xfrm>
          <a:custGeom>
            <a:avLst/>
            <a:gdLst>
              <a:gd name="connsiteX0" fmla="*/ 0 w 0"/>
              <a:gd name="connsiteY0" fmla="*/ 0 h 213756"/>
              <a:gd name="connsiteX1" fmla="*/ 0 w 0"/>
              <a:gd name="connsiteY1" fmla="*/ 213756 h 213756"/>
            </a:gdLst>
            <a:ahLst/>
            <a:cxnLst>
              <a:cxn ang="0">
                <a:pos x="connsiteX0" y="connsiteY0"/>
              </a:cxn>
              <a:cxn ang="0">
                <a:pos x="connsiteX1" y="connsiteY1"/>
              </a:cxn>
            </a:cxnLst>
            <a:rect l="l" t="t" r="r" b="b"/>
            <a:pathLst>
              <a:path h="213756">
                <a:moveTo>
                  <a:pt x="0" y="0"/>
                </a:moveTo>
                <a:lnTo>
                  <a:pt x="0" y="213756"/>
                </a:lnTo>
              </a:path>
            </a:pathLst>
          </a:custGeom>
          <a:noFill/>
          <a:ln>
            <a:solidFill>
              <a:srgbClr val="0078D7"/>
            </a:solidFill>
            <a:prstDash val="sysDash"/>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9" name="Group 8">
            <a:extLst>
              <a:ext uri="{FF2B5EF4-FFF2-40B4-BE49-F238E27FC236}">
                <a16:creationId xmlns:a16="http://schemas.microsoft.com/office/drawing/2014/main" id="{5898C3DB-E92E-4836-ABE7-69D0118EFF09}"/>
              </a:ext>
            </a:extLst>
          </p:cNvPr>
          <p:cNvGrpSpPr/>
          <p:nvPr/>
        </p:nvGrpSpPr>
        <p:grpSpPr>
          <a:xfrm>
            <a:off x="3133539" y="1788260"/>
            <a:ext cx="937908" cy="450191"/>
            <a:chOff x="412765" y="5298184"/>
            <a:chExt cx="919601" cy="441404"/>
          </a:xfrm>
        </p:grpSpPr>
        <p:sp>
          <p:nvSpPr>
            <p:cNvPr id="81" name="Freeform 128">
              <a:extLst>
                <a:ext uri="{FF2B5EF4-FFF2-40B4-BE49-F238E27FC236}">
                  <a16:creationId xmlns:a16="http://schemas.microsoft.com/office/drawing/2014/main" id="{696B31F8-2ADE-40F1-83A4-241E8DDC5FA7}"/>
                </a:ext>
              </a:extLst>
            </p:cNvPr>
            <p:cNvSpPr>
              <a:spLocks noChangeAspect="1"/>
            </p:cNvSpPr>
            <p:nvPr/>
          </p:nvSpPr>
          <p:spPr bwMode="auto">
            <a:xfrm>
              <a:off x="412765" y="5298184"/>
              <a:ext cx="919601" cy="44140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rgbClr val="0078D7"/>
              </a:solidFill>
            </a:ln>
            <a:extLst/>
          </p:spPr>
          <p:txBody>
            <a:bodyPr vert="horz" wrap="square" lIns="93260" tIns="46630" rIns="93260" bIns="46630" numCol="1" anchor="t" anchorCtr="0" compatLnSpc="1">
              <a:prstTxWarp prst="textNoShape">
                <a:avLst/>
              </a:prstTxWarp>
            </a:bodyPr>
            <a:lstStyle/>
            <a:p>
              <a:endParaRPr lang="en-US" sz="1836">
                <a:solidFill>
                  <a:srgbClr val="333333"/>
                </a:solidFill>
                <a:latin typeface="Segoe UI"/>
              </a:endParaRPr>
            </a:p>
          </p:txBody>
        </p:sp>
        <p:pic>
          <p:nvPicPr>
            <p:cNvPr id="90" name="Picture 89">
              <a:extLst>
                <a:ext uri="{FF2B5EF4-FFF2-40B4-BE49-F238E27FC236}">
                  <a16:creationId xmlns:a16="http://schemas.microsoft.com/office/drawing/2014/main" id="{3C235694-784A-4B31-AA6B-C2694BD7CDC2}"/>
                </a:ext>
              </a:extLst>
            </p:cNvPr>
            <p:cNvPicPr>
              <a:picLocks noChangeAspect="1"/>
            </p:cNvPicPr>
            <p:nvPr/>
          </p:nvPicPr>
          <p:blipFill>
            <a:blip r:embed="rId7"/>
            <a:stretch>
              <a:fillRect/>
            </a:stretch>
          </p:blipFill>
          <p:spPr>
            <a:xfrm>
              <a:off x="518281" y="5523859"/>
              <a:ext cx="162431" cy="167891"/>
            </a:xfrm>
            <a:prstGeom prst="rect">
              <a:avLst/>
            </a:prstGeom>
          </p:spPr>
        </p:pic>
        <p:pic>
          <p:nvPicPr>
            <p:cNvPr id="91" name="Picture 90">
              <a:extLst>
                <a:ext uri="{FF2B5EF4-FFF2-40B4-BE49-F238E27FC236}">
                  <a16:creationId xmlns:a16="http://schemas.microsoft.com/office/drawing/2014/main" id="{5A888A76-5E69-4D32-84F0-ADF7EB21D88D}"/>
                </a:ext>
              </a:extLst>
            </p:cNvPr>
            <p:cNvPicPr>
              <a:picLocks noChangeAspect="1"/>
            </p:cNvPicPr>
            <p:nvPr/>
          </p:nvPicPr>
          <p:blipFill>
            <a:blip r:embed="rId7"/>
            <a:stretch>
              <a:fillRect/>
            </a:stretch>
          </p:blipFill>
          <p:spPr>
            <a:xfrm>
              <a:off x="697908" y="5523859"/>
              <a:ext cx="162431" cy="167891"/>
            </a:xfrm>
            <a:prstGeom prst="rect">
              <a:avLst/>
            </a:prstGeom>
          </p:spPr>
        </p:pic>
        <p:pic>
          <p:nvPicPr>
            <p:cNvPr id="92" name="Picture 91">
              <a:extLst>
                <a:ext uri="{FF2B5EF4-FFF2-40B4-BE49-F238E27FC236}">
                  <a16:creationId xmlns:a16="http://schemas.microsoft.com/office/drawing/2014/main" id="{5E2077EF-6646-467C-9035-0166C5134A12}"/>
                </a:ext>
              </a:extLst>
            </p:cNvPr>
            <p:cNvPicPr>
              <a:picLocks noChangeAspect="1"/>
            </p:cNvPicPr>
            <p:nvPr/>
          </p:nvPicPr>
          <p:blipFill>
            <a:blip r:embed="rId7"/>
            <a:stretch>
              <a:fillRect/>
            </a:stretch>
          </p:blipFill>
          <p:spPr>
            <a:xfrm>
              <a:off x="882233" y="5523859"/>
              <a:ext cx="162431" cy="167891"/>
            </a:xfrm>
            <a:prstGeom prst="rect">
              <a:avLst/>
            </a:prstGeom>
          </p:spPr>
        </p:pic>
        <p:pic>
          <p:nvPicPr>
            <p:cNvPr id="93" name="Picture 92">
              <a:extLst>
                <a:ext uri="{FF2B5EF4-FFF2-40B4-BE49-F238E27FC236}">
                  <a16:creationId xmlns:a16="http://schemas.microsoft.com/office/drawing/2014/main" id="{26E9F4F7-A613-40C0-8860-4654BFA26D95}"/>
                </a:ext>
              </a:extLst>
            </p:cNvPr>
            <p:cNvPicPr>
              <a:picLocks noChangeAspect="1"/>
            </p:cNvPicPr>
            <p:nvPr/>
          </p:nvPicPr>
          <p:blipFill>
            <a:blip r:embed="rId7"/>
            <a:stretch>
              <a:fillRect/>
            </a:stretch>
          </p:blipFill>
          <p:spPr>
            <a:xfrm>
              <a:off x="1061860" y="5523859"/>
              <a:ext cx="162431" cy="167891"/>
            </a:xfrm>
            <a:prstGeom prst="rect">
              <a:avLst/>
            </a:prstGeom>
          </p:spPr>
        </p:pic>
      </p:grpSp>
      <p:pic>
        <p:nvPicPr>
          <p:cNvPr id="95" name="Picture 94">
            <a:extLst>
              <a:ext uri="{FF2B5EF4-FFF2-40B4-BE49-F238E27FC236}">
                <a16:creationId xmlns:a16="http://schemas.microsoft.com/office/drawing/2014/main" id="{7E44E12D-095D-48C9-8D33-4FB3E2EB6C87}"/>
              </a:ext>
            </a:extLst>
          </p:cNvPr>
          <p:cNvPicPr>
            <a:picLocks noChangeAspect="1"/>
          </p:cNvPicPr>
          <p:nvPr/>
        </p:nvPicPr>
        <p:blipFill>
          <a:blip r:embed="rId7"/>
          <a:stretch>
            <a:fillRect/>
          </a:stretch>
        </p:blipFill>
        <p:spPr>
          <a:xfrm>
            <a:off x="3417183" y="2568417"/>
            <a:ext cx="370617" cy="383075"/>
          </a:xfrm>
          <a:prstGeom prst="rect">
            <a:avLst/>
          </a:prstGeom>
        </p:spPr>
      </p:pic>
      <p:pic>
        <p:nvPicPr>
          <p:cNvPr id="96" name="Picture 95">
            <a:extLst>
              <a:ext uri="{FF2B5EF4-FFF2-40B4-BE49-F238E27FC236}">
                <a16:creationId xmlns:a16="http://schemas.microsoft.com/office/drawing/2014/main" id="{DCAF1097-78EA-4A6D-A043-D6F43F104CC1}"/>
              </a:ext>
            </a:extLst>
          </p:cNvPr>
          <p:cNvPicPr>
            <a:picLocks noChangeAspect="1"/>
          </p:cNvPicPr>
          <p:nvPr/>
        </p:nvPicPr>
        <p:blipFill>
          <a:blip r:embed="rId7"/>
          <a:stretch>
            <a:fillRect/>
          </a:stretch>
        </p:blipFill>
        <p:spPr>
          <a:xfrm>
            <a:off x="3369954" y="5755346"/>
            <a:ext cx="370617" cy="383075"/>
          </a:xfrm>
          <a:prstGeom prst="rect">
            <a:avLst/>
          </a:prstGeom>
        </p:spPr>
      </p:pic>
      <p:grpSp>
        <p:nvGrpSpPr>
          <p:cNvPr id="97" name="Group 96">
            <a:extLst>
              <a:ext uri="{FF2B5EF4-FFF2-40B4-BE49-F238E27FC236}">
                <a16:creationId xmlns:a16="http://schemas.microsoft.com/office/drawing/2014/main" id="{E7DAB213-DA9D-40EB-82D2-456A84ADF9E5}"/>
              </a:ext>
            </a:extLst>
          </p:cNvPr>
          <p:cNvGrpSpPr/>
          <p:nvPr/>
        </p:nvGrpSpPr>
        <p:grpSpPr>
          <a:xfrm>
            <a:off x="3147786" y="4990337"/>
            <a:ext cx="814953" cy="450191"/>
            <a:chOff x="6488549" y="6125493"/>
            <a:chExt cx="799046" cy="441404"/>
          </a:xfrm>
        </p:grpSpPr>
        <p:sp>
          <p:nvSpPr>
            <p:cNvPr id="99" name="Freeform 128">
              <a:extLst>
                <a:ext uri="{FF2B5EF4-FFF2-40B4-BE49-F238E27FC236}">
                  <a16:creationId xmlns:a16="http://schemas.microsoft.com/office/drawing/2014/main" id="{297C461F-D649-46CA-A463-1031CA2E0389}"/>
                </a:ext>
              </a:extLst>
            </p:cNvPr>
            <p:cNvSpPr>
              <a:spLocks noChangeAspect="1"/>
            </p:cNvSpPr>
            <p:nvPr/>
          </p:nvSpPr>
          <p:spPr bwMode="auto">
            <a:xfrm>
              <a:off x="6488549" y="6125493"/>
              <a:ext cx="799046" cy="44140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rgbClr val="0078D7"/>
              </a:solidFill>
            </a:ln>
            <a:extLst/>
          </p:spPr>
          <p:txBody>
            <a:bodyPr vert="horz" wrap="square" lIns="93260" tIns="46630" rIns="93260" bIns="46630" numCol="1" anchor="t" anchorCtr="0" compatLnSpc="1">
              <a:prstTxWarp prst="textNoShape">
                <a:avLst/>
              </a:prstTxWarp>
            </a:bodyPr>
            <a:lstStyle/>
            <a:p>
              <a:endParaRPr lang="en-US" sz="1836">
                <a:solidFill>
                  <a:srgbClr val="333333"/>
                </a:solidFill>
                <a:latin typeface="Segoe UI"/>
              </a:endParaRPr>
            </a:p>
          </p:txBody>
        </p:sp>
        <p:pic>
          <p:nvPicPr>
            <p:cNvPr id="100" name="Picture 99">
              <a:extLst>
                <a:ext uri="{FF2B5EF4-FFF2-40B4-BE49-F238E27FC236}">
                  <a16:creationId xmlns:a16="http://schemas.microsoft.com/office/drawing/2014/main" id="{08376448-D9C7-4AE1-8624-EB6FE201F4FB}"/>
                </a:ext>
              </a:extLst>
            </p:cNvPr>
            <p:cNvPicPr>
              <a:picLocks noChangeAspect="1"/>
            </p:cNvPicPr>
            <p:nvPr/>
          </p:nvPicPr>
          <p:blipFill>
            <a:blip r:embed="rId7"/>
            <a:stretch>
              <a:fillRect/>
            </a:stretch>
          </p:blipFill>
          <p:spPr>
            <a:xfrm>
              <a:off x="6773600" y="6282619"/>
              <a:ext cx="228944" cy="236640"/>
            </a:xfrm>
            <a:prstGeom prst="rect">
              <a:avLst/>
            </a:prstGeom>
          </p:spPr>
        </p:pic>
      </p:grpSp>
      <p:sp>
        <p:nvSpPr>
          <p:cNvPr id="10" name="TextBox 9">
            <a:extLst>
              <a:ext uri="{FF2B5EF4-FFF2-40B4-BE49-F238E27FC236}">
                <a16:creationId xmlns:a16="http://schemas.microsoft.com/office/drawing/2014/main" id="{4A1C6F8F-2832-42CC-A2B8-51DB65D947FF}"/>
              </a:ext>
            </a:extLst>
          </p:cNvPr>
          <p:cNvSpPr txBox="1"/>
          <p:nvPr/>
        </p:nvSpPr>
        <p:spPr>
          <a:xfrm>
            <a:off x="5736527" y="3083343"/>
            <a:ext cx="1036111" cy="1217946"/>
          </a:xfrm>
          <a:prstGeom prst="rect">
            <a:avLst/>
          </a:prstGeom>
          <a:noFill/>
        </p:spPr>
        <p:txBody>
          <a:bodyPr wrap="square" lIns="93260" tIns="46630" rIns="93260" bIns="46630" rtlCol="0">
            <a:spAutoFit/>
          </a:bodyPr>
          <a:lstStyle/>
          <a:p>
            <a:pPr lvl="0" algn="ctr">
              <a:lnSpc>
                <a:spcPct val="90000"/>
              </a:lnSpc>
              <a:defRPr/>
            </a:pPr>
            <a:r>
              <a:rPr lang="en-US" sz="1428">
                <a:solidFill>
                  <a:prstClr val="black"/>
                </a:solidFill>
              </a:rPr>
              <a:t>SQL DB will be </a:t>
            </a:r>
            <a:r>
              <a:rPr lang="en-US" sz="1428" b="1">
                <a:solidFill>
                  <a:srgbClr val="C00000"/>
                </a:solidFill>
              </a:rPr>
              <a:t>~22%</a:t>
            </a:r>
            <a:r>
              <a:rPr lang="en-US" sz="1224" b="1">
                <a:solidFill>
                  <a:srgbClr val="C00000"/>
                </a:solidFill>
              </a:rPr>
              <a:t> </a:t>
            </a:r>
            <a:r>
              <a:rPr lang="en-US" sz="1224">
                <a:solidFill>
                  <a:prstClr val="black"/>
                </a:solidFill>
              </a:rPr>
              <a:t>cheaper than Azure IaaS</a:t>
            </a:r>
          </a:p>
        </p:txBody>
      </p:sp>
    </p:spTree>
    <p:extLst>
      <p:ext uri="{BB962C8B-B14F-4D97-AF65-F5344CB8AC3E}">
        <p14:creationId xmlns:p14="http://schemas.microsoft.com/office/powerpoint/2010/main" val="4258269183"/>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020EC-C7F5-4246-882E-3EB29CAD112E}"/>
              </a:ext>
            </a:extLst>
          </p:cNvPr>
          <p:cNvSpPr>
            <a:spLocks noGrp="1"/>
          </p:cNvSpPr>
          <p:nvPr>
            <p:ph type="title"/>
          </p:nvPr>
        </p:nvSpPr>
        <p:spPr/>
        <p:txBody>
          <a:bodyPr/>
          <a:lstStyle/>
          <a:p>
            <a:r>
              <a:rPr lang="en-US" sz="4000" dirty="0"/>
              <a:t>Azure Database for MySQL/PostgreSQL/MariaDB</a:t>
            </a:r>
            <a:br>
              <a:rPr lang="en-US" sz="4000" dirty="0"/>
            </a:br>
            <a:r>
              <a:rPr lang="en-US" sz="3200" dirty="0"/>
              <a:t>Managed </a:t>
            </a:r>
            <a:r>
              <a:rPr lang="en-US" sz="3200" i="1" dirty="0"/>
              <a:t>community</a:t>
            </a:r>
            <a:r>
              <a:rPr lang="en-US" sz="3200" dirty="0"/>
              <a:t> version of MySQL, PostgreSQL, and MariaDB</a:t>
            </a:r>
            <a:endParaRPr lang="en-US" sz="4000" dirty="0"/>
          </a:p>
        </p:txBody>
      </p:sp>
      <p:sp>
        <p:nvSpPr>
          <p:cNvPr id="5" name="Rectangle 4">
            <a:extLst>
              <a:ext uri="{FF2B5EF4-FFF2-40B4-BE49-F238E27FC236}">
                <a16:creationId xmlns:a16="http://schemas.microsoft.com/office/drawing/2014/main" id="{7DAA7FE6-2E73-4890-BC50-1AA95294873C}"/>
              </a:ext>
            </a:extLst>
          </p:cNvPr>
          <p:cNvSpPr/>
          <p:nvPr/>
        </p:nvSpPr>
        <p:spPr bwMode="auto">
          <a:xfrm>
            <a:off x="5347504" y="1570102"/>
            <a:ext cx="6620803" cy="4970998"/>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defRPr/>
            </a:pPr>
            <a:endParaRPr lang="en-US" sz="1600" dirty="0">
              <a:solidFill>
                <a:schemeClr val="tx2"/>
              </a:soli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35DDA563-D1AC-4EF8-A73D-3769C4A8927E}"/>
              </a:ext>
            </a:extLst>
          </p:cNvPr>
          <p:cNvSpPr/>
          <p:nvPr/>
        </p:nvSpPr>
        <p:spPr bwMode="auto">
          <a:xfrm>
            <a:off x="462987" y="1570101"/>
            <a:ext cx="4745621" cy="4970997"/>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spcBef>
                <a:spcPts val="1836"/>
              </a:spcBef>
            </a:pPr>
            <a:r>
              <a:rPr lang="en-US" sz="2400" b="1" kern="0">
                <a:solidFill>
                  <a:schemeClr val="accent1"/>
                </a:solidFill>
                <a:cs typeface="Segoe UI Semibold" charset="0"/>
              </a:rPr>
              <a:t>Focus on your apps by leaving the management and patching of your infrastructure and database to an enterprise-ready cloud service</a:t>
            </a:r>
          </a:p>
          <a:p>
            <a:pPr>
              <a:spcBef>
                <a:spcPts val="1200"/>
              </a:spcBef>
            </a:pPr>
            <a:r>
              <a:rPr lang="en-US" sz="2000" kern="0">
                <a:solidFill>
                  <a:schemeClr val="tx2"/>
                </a:solidFill>
                <a:cs typeface="Segoe UI Semilight" panose="020B0402040204020203" pitchFamily="34" charset="0"/>
              </a:rPr>
              <a:t>Automatic updates</a:t>
            </a:r>
          </a:p>
          <a:p>
            <a:pPr>
              <a:spcBef>
                <a:spcPts val="1200"/>
              </a:spcBef>
            </a:pPr>
            <a:r>
              <a:rPr lang="en-US" sz="2000" kern="0">
                <a:solidFill>
                  <a:schemeClr val="tx2"/>
                </a:solidFill>
                <a:cs typeface="Segoe UI Semilight" panose="020B0402040204020203" pitchFamily="34" charset="0"/>
              </a:rPr>
              <a:t>Automatic security fixes</a:t>
            </a:r>
          </a:p>
          <a:p>
            <a:pPr>
              <a:spcBef>
                <a:spcPts val="1200"/>
              </a:spcBef>
            </a:pPr>
            <a:r>
              <a:rPr lang="en-US" sz="2000" kern="0">
                <a:solidFill>
                  <a:schemeClr val="tx2"/>
                </a:solidFill>
                <a:cs typeface="Segoe UI Semilight" panose="020B0402040204020203" pitchFamily="34" charset="0"/>
              </a:rPr>
              <a:t>Automatic new feature updates </a:t>
            </a:r>
            <a:endParaRPr lang="en-US" sz="2000" kern="0" dirty="0">
              <a:solidFill>
                <a:schemeClr val="tx2"/>
              </a:solidFill>
              <a:cs typeface="Segoe UI Semilight" panose="020B0402040204020203" pitchFamily="34" charset="0"/>
            </a:endParaRPr>
          </a:p>
        </p:txBody>
      </p:sp>
      <p:grpSp>
        <p:nvGrpSpPr>
          <p:cNvPr id="48" name="Group 47">
            <a:extLst>
              <a:ext uri="{FF2B5EF4-FFF2-40B4-BE49-F238E27FC236}">
                <a16:creationId xmlns:a16="http://schemas.microsoft.com/office/drawing/2014/main" id="{67C54379-569C-41AC-899F-26822CCB2FCC}"/>
              </a:ext>
            </a:extLst>
          </p:cNvPr>
          <p:cNvGrpSpPr/>
          <p:nvPr/>
        </p:nvGrpSpPr>
        <p:grpSpPr>
          <a:xfrm>
            <a:off x="5708968" y="1734890"/>
            <a:ext cx="5897875" cy="4641422"/>
            <a:chOff x="5937016" y="996267"/>
            <a:chExt cx="5846445" cy="4600948"/>
          </a:xfrm>
        </p:grpSpPr>
        <p:cxnSp>
          <p:nvCxnSpPr>
            <p:cNvPr id="49" name="Straight Connector 48">
              <a:extLst>
                <a:ext uri="{FF2B5EF4-FFF2-40B4-BE49-F238E27FC236}">
                  <a16:creationId xmlns:a16="http://schemas.microsoft.com/office/drawing/2014/main" id="{39648018-5422-4310-86D6-8EBA9A687844}"/>
                </a:ext>
              </a:extLst>
            </p:cNvPr>
            <p:cNvCxnSpPr/>
            <p:nvPr/>
          </p:nvCxnSpPr>
          <p:spPr>
            <a:xfrm>
              <a:off x="5937016" y="3950547"/>
              <a:ext cx="5846445"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D3C2FEFC-C0EE-4E6F-B40C-0FBB8B9BCB0F}"/>
                </a:ext>
              </a:extLst>
            </p:cNvPr>
            <p:cNvGrpSpPr/>
            <p:nvPr/>
          </p:nvGrpSpPr>
          <p:grpSpPr>
            <a:xfrm>
              <a:off x="6385666" y="4465532"/>
              <a:ext cx="1047859" cy="1131683"/>
              <a:chOff x="5140719" y="5534213"/>
              <a:chExt cx="1095071" cy="1182675"/>
            </a:xfrm>
          </p:grpSpPr>
          <p:grpSp>
            <p:nvGrpSpPr>
              <p:cNvPr id="74" name="Group 73">
                <a:extLst>
                  <a:ext uri="{FF2B5EF4-FFF2-40B4-BE49-F238E27FC236}">
                    <a16:creationId xmlns:a16="http://schemas.microsoft.com/office/drawing/2014/main" id="{4D8B8580-5978-429F-A47D-76D256E87042}"/>
                  </a:ext>
                </a:extLst>
              </p:cNvPr>
              <p:cNvGrpSpPr/>
              <p:nvPr/>
            </p:nvGrpSpPr>
            <p:grpSpPr>
              <a:xfrm>
                <a:off x="5140719" y="5851083"/>
                <a:ext cx="1095071" cy="865805"/>
                <a:chOff x="967154" y="1481462"/>
                <a:chExt cx="5331069" cy="4214950"/>
              </a:xfrm>
            </p:grpSpPr>
            <p:cxnSp>
              <p:nvCxnSpPr>
                <p:cNvPr id="76" name="Straight Connector 75">
                  <a:extLst>
                    <a:ext uri="{FF2B5EF4-FFF2-40B4-BE49-F238E27FC236}">
                      <a16:creationId xmlns:a16="http://schemas.microsoft.com/office/drawing/2014/main" id="{B085B14A-1FD0-4106-AB3B-8231D8DC750C}"/>
                    </a:ext>
                  </a:extLst>
                </p:cNvPr>
                <p:cNvCxnSpPr>
                  <a:cxnSpLocks/>
                </p:cNvCxnSpPr>
                <p:nvPr/>
              </p:nvCxnSpPr>
              <p:spPr>
                <a:xfrm>
                  <a:off x="967154" y="5696412"/>
                  <a:ext cx="5331069" cy="0"/>
                </a:xfrm>
                <a:prstGeom prst="line">
                  <a:avLst/>
                </a:prstGeom>
                <a:ln w="1270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1570E50E-867A-49AF-BE0C-03F871B8FA80}"/>
                    </a:ext>
                  </a:extLst>
                </p:cNvPr>
                <p:cNvSpPr/>
                <p:nvPr/>
              </p:nvSpPr>
              <p:spPr bwMode="auto">
                <a:xfrm>
                  <a:off x="1286608" y="2696308"/>
                  <a:ext cx="2793023" cy="3000104"/>
                </a:xfrm>
                <a:prstGeom prst="rect">
                  <a:avLst/>
                </a:prstGeom>
                <a:no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D2B370DE-E1CD-41F6-8028-5C73DAA15C5C}"/>
                    </a:ext>
                  </a:extLst>
                </p:cNvPr>
                <p:cNvSpPr/>
                <p:nvPr/>
              </p:nvSpPr>
              <p:spPr bwMode="auto">
                <a:xfrm>
                  <a:off x="2225919" y="4700954"/>
                  <a:ext cx="914400" cy="995458"/>
                </a:xfrm>
                <a:prstGeom prst="rect">
                  <a:avLst/>
                </a:prstGeom>
                <a:no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Freeform: Shape 404">
                  <a:extLst>
                    <a:ext uri="{FF2B5EF4-FFF2-40B4-BE49-F238E27FC236}">
                      <a16:creationId xmlns:a16="http://schemas.microsoft.com/office/drawing/2014/main" id="{6E8A0641-FB83-4BFA-B9F6-D63F9C1CA5A3}"/>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Freeform: Shape 405">
                  <a:extLst>
                    <a:ext uri="{FF2B5EF4-FFF2-40B4-BE49-F238E27FC236}">
                      <a16:creationId xmlns:a16="http://schemas.microsoft.com/office/drawing/2014/main" id="{29661DB3-4F48-46AB-B1D3-15940328AA1E}"/>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5" name="Freeform 48">
                <a:extLst>
                  <a:ext uri="{FF2B5EF4-FFF2-40B4-BE49-F238E27FC236}">
                    <a16:creationId xmlns:a16="http://schemas.microsoft.com/office/drawing/2014/main" id="{E5962582-3E71-4BEB-B5E1-2F6AEAF2F427}"/>
                  </a:ext>
                </a:extLst>
              </p:cNvPr>
              <p:cNvSpPr/>
              <p:nvPr/>
            </p:nvSpPr>
            <p:spPr bwMode="auto">
              <a:xfrm>
                <a:off x="5455403" y="5534213"/>
                <a:ext cx="330632" cy="499794"/>
              </a:xfrm>
              <a:custGeom>
                <a:avLst/>
                <a:gdLst>
                  <a:gd name="connsiteX0" fmla="*/ 0 w 222142"/>
                  <a:gd name="connsiteY0" fmla="*/ 335797 h 335797"/>
                  <a:gd name="connsiteX1" fmla="*/ 0 w 222142"/>
                  <a:gd name="connsiteY1" fmla="*/ 165315 h 335797"/>
                  <a:gd name="connsiteX2" fmla="*/ 222142 w 222142"/>
                  <a:gd name="connsiteY2" fmla="*/ 0 h 335797"/>
                  <a:gd name="connsiteX3" fmla="*/ 222142 w 222142"/>
                  <a:gd name="connsiteY3" fmla="*/ 165315 h 335797"/>
                </a:gdLst>
                <a:ahLst/>
                <a:cxnLst>
                  <a:cxn ang="0">
                    <a:pos x="connsiteX0" y="connsiteY0"/>
                  </a:cxn>
                  <a:cxn ang="0">
                    <a:pos x="connsiteX1" y="connsiteY1"/>
                  </a:cxn>
                  <a:cxn ang="0">
                    <a:pos x="connsiteX2" y="connsiteY2"/>
                  </a:cxn>
                  <a:cxn ang="0">
                    <a:pos x="connsiteX3" y="connsiteY3"/>
                  </a:cxn>
                </a:cxnLst>
                <a:rect l="l" t="t" r="r" b="b"/>
                <a:pathLst>
                  <a:path w="222142" h="335797">
                    <a:moveTo>
                      <a:pt x="0" y="335797"/>
                    </a:moveTo>
                    <a:lnTo>
                      <a:pt x="0" y="165315"/>
                    </a:lnTo>
                    <a:lnTo>
                      <a:pt x="222142" y="0"/>
                    </a:lnTo>
                    <a:lnTo>
                      <a:pt x="222142" y="165315"/>
                    </a:lnTo>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418">
                  <a:defRPr/>
                </a:pPr>
                <a:endParaRPr lang="en-US" sz="1836" dirty="0">
                  <a:solidFill>
                    <a:srgbClr val="FFFFFF"/>
                  </a:solidFill>
                  <a:latin typeface="Segoe UI"/>
                </a:endParaRPr>
              </a:p>
            </p:txBody>
          </p:sp>
        </p:grpSp>
        <p:grpSp>
          <p:nvGrpSpPr>
            <p:cNvPr id="51" name="Group 50">
              <a:extLst>
                <a:ext uri="{FF2B5EF4-FFF2-40B4-BE49-F238E27FC236}">
                  <a16:creationId xmlns:a16="http://schemas.microsoft.com/office/drawing/2014/main" id="{AC60868D-2A33-4C40-B111-1AB91B8C8A74}"/>
                </a:ext>
              </a:extLst>
            </p:cNvPr>
            <p:cNvGrpSpPr/>
            <p:nvPr/>
          </p:nvGrpSpPr>
          <p:grpSpPr>
            <a:xfrm>
              <a:off x="7983716" y="3207680"/>
              <a:ext cx="1933458" cy="1561060"/>
              <a:chOff x="7766356" y="2514600"/>
              <a:chExt cx="2017803" cy="2487504"/>
            </a:xfrm>
          </p:grpSpPr>
          <p:cxnSp>
            <p:nvCxnSpPr>
              <p:cNvPr id="71" name="Straight Connector 70">
                <a:extLst>
                  <a:ext uri="{FF2B5EF4-FFF2-40B4-BE49-F238E27FC236}">
                    <a16:creationId xmlns:a16="http://schemas.microsoft.com/office/drawing/2014/main" id="{3854E68A-1470-4541-AEFA-60B07DF22893}"/>
                  </a:ext>
                </a:extLst>
              </p:cNvPr>
              <p:cNvCxnSpPr/>
              <p:nvPr/>
            </p:nvCxnSpPr>
            <p:spPr>
              <a:xfrm>
                <a:off x="8775258" y="2514600"/>
                <a:ext cx="0" cy="2434410"/>
              </a:xfrm>
              <a:prstGeom prst="line">
                <a:avLst/>
              </a:prstGeom>
              <a:ln w="12700">
                <a:solidFill>
                  <a:srgbClr val="0078D7"/>
                </a:solidFill>
                <a:prstDash val="dash"/>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DC362042-088C-4E31-8A35-AE4D3421C77C}"/>
                  </a:ext>
                </a:extLst>
              </p:cNvPr>
              <p:cNvCxnSpPr/>
              <p:nvPr/>
            </p:nvCxnSpPr>
            <p:spPr>
              <a:xfrm>
                <a:off x="9784159" y="2514600"/>
                <a:ext cx="0" cy="2487504"/>
              </a:xfrm>
              <a:prstGeom prst="line">
                <a:avLst/>
              </a:prstGeom>
              <a:ln w="12700">
                <a:solidFill>
                  <a:srgbClr val="0078D7"/>
                </a:solidFill>
                <a:prstDash val="dash"/>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ACC15D7-2626-4517-A705-E69E2E944FBD}"/>
                  </a:ext>
                </a:extLst>
              </p:cNvPr>
              <p:cNvCxnSpPr/>
              <p:nvPr/>
            </p:nvCxnSpPr>
            <p:spPr>
              <a:xfrm>
                <a:off x="7766356" y="2514600"/>
                <a:ext cx="0" cy="2434410"/>
              </a:xfrm>
              <a:prstGeom prst="line">
                <a:avLst/>
              </a:prstGeom>
              <a:ln w="12700">
                <a:solidFill>
                  <a:srgbClr val="0078D7"/>
                </a:solidFill>
                <a:prstDash val="dash"/>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2" name="Freeform 146">
              <a:extLst>
                <a:ext uri="{FF2B5EF4-FFF2-40B4-BE49-F238E27FC236}">
                  <a16:creationId xmlns:a16="http://schemas.microsoft.com/office/drawing/2014/main" id="{EDC79387-154A-4C4C-811D-B3B0B51333A7}"/>
                </a:ext>
              </a:extLst>
            </p:cNvPr>
            <p:cNvSpPr>
              <a:spLocks noChangeAspect="1"/>
            </p:cNvSpPr>
            <p:nvPr/>
          </p:nvSpPr>
          <p:spPr bwMode="auto">
            <a:xfrm>
              <a:off x="6853730" y="996267"/>
              <a:ext cx="4111600" cy="260390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000" b="1" dirty="0">
                <a:solidFill>
                  <a:srgbClr val="FFFFFF"/>
                </a:solidFill>
                <a:latin typeface="Segoe UI Light"/>
                <a:ea typeface="Segoe UI" pitchFamily="34" charset="0"/>
                <a:cs typeface="Segoe UI" pitchFamily="34" charset="0"/>
              </a:endParaRPr>
            </a:p>
          </p:txBody>
        </p:sp>
        <p:grpSp>
          <p:nvGrpSpPr>
            <p:cNvPr id="53" name="Group 52">
              <a:extLst>
                <a:ext uri="{FF2B5EF4-FFF2-40B4-BE49-F238E27FC236}">
                  <a16:creationId xmlns:a16="http://schemas.microsoft.com/office/drawing/2014/main" id="{4489DA92-F806-44B6-8B8A-A081BAE7AC71}"/>
                </a:ext>
              </a:extLst>
            </p:cNvPr>
            <p:cNvGrpSpPr/>
            <p:nvPr/>
          </p:nvGrpSpPr>
          <p:grpSpPr>
            <a:xfrm>
              <a:off x="7723026" y="2257083"/>
              <a:ext cx="2432312" cy="713994"/>
              <a:chOff x="7213035" y="2038243"/>
              <a:chExt cx="3482597" cy="1022302"/>
            </a:xfrm>
          </p:grpSpPr>
          <p:sp>
            <p:nvSpPr>
              <p:cNvPr id="64" name="Cylinder 513">
                <a:extLst>
                  <a:ext uri="{FF2B5EF4-FFF2-40B4-BE49-F238E27FC236}">
                    <a16:creationId xmlns:a16="http://schemas.microsoft.com/office/drawing/2014/main" id="{2E083E85-BAF5-4A99-925B-7DD5CBF1D5D3}"/>
                  </a:ext>
                </a:extLst>
              </p:cNvPr>
              <p:cNvSpPr/>
              <p:nvPr/>
            </p:nvSpPr>
            <p:spPr bwMode="auto">
              <a:xfrm>
                <a:off x="7213035" y="2038243"/>
                <a:ext cx="778150" cy="1022302"/>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040" b="1" dirty="0">
                    <a:solidFill>
                      <a:srgbClr val="0078D7"/>
                    </a:solidFill>
                    <a:latin typeface="Segoe UI" charset="0"/>
                    <a:ea typeface="Segoe UI" charset="0"/>
                    <a:cs typeface="Segoe UI" charset="0"/>
                  </a:rPr>
                  <a:t>My</a:t>
                </a:r>
              </a:p>
            </p:txBody>
          </p:sp>
          <p:sp>
            <p:nvSpPr>
              <p:cNvPr id="65" name="Cylinder 513">
                <a:extLst>
                  <a:ext uri="{FF2B5EF4-FFF2-40B4-BE49-F238E27FC236}">
                    <a16:creationId xmlns:a16="http://schemas.microsoft.com/office/drawing/2014/main" id="{C5B2D5E5-CABE-4507-98A7-4F1D9237BB04}"/>
                  </a:ext>
                </a:extLst>
              </p:cNvPr>
              <p:cNvSpPr/>
              <p:nvPr/>
            </p:nvSpPr>
            <p:spPr bwMode="auto">
              <a:xfrm>
                <a:off x="8565259" y="2038243"/>
                <a:ext cx="778150" cy="1022302"/>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dirty="0">
                  <a:solidFill>
                    <a:srgbClr val="0078D7"/>
                  </a:solidFill>
                  <a:latin typeface="Segoe UI Light"/>
                  <a:ea typeface="Segoe UI" pitchFamily="34" charset="0"/>
                  <a:cs typeface="Segoe UI" pitchFamily="34" charset="0"/>
                </a:endParaRPr>
              </a:p>
            </p:txBody>
          </p:sp>
          <p:grpSp>
            <p:nvGrpSpPr>
              <p:cNvPr id="66" name="Group 65">
                <a:extLst>
                  <a:ext uri="{FF2B5EF4-FFF2-40B4-BE49-F238E27FC236}">
                    <a16:creationId xmlns:a16="http://schemas.microsoft.com/office/drawing/2014/main" id="{F1812E85-205A-427A-B138-1645479ED6A0}"/>
                  </a:ext>
                </a:extLst>
              </p:cNvPr>
              <p:cNvGrpSpPr/>
              <p:nvPr/>
            </p:nvGrpSpPr>
            <p:grpSpPr>
              <a:xfrm>
                <a:off x="8720645" y="2465609"/>
                <a:ext cx="467376" cy="484189"/>
                <a:chOff x="10970759" y="2371811"/>
                <a:chExt cx="661987" cy="685800"/>
              </a:xfrm>
              <a:solidFill>
                <a:schemeClr val="tx2"/>
              </a:solidFill>
            </p:grpSpPr>
            <p:sp>
              <p:nvSpPr>
                <p:cNvPr id="69" name="Freeform 235">
                  <a:extLst>
                    <a:ext uri="{FF2B5EF4-FFF2-40B4-BE49-F238E27FC236}">
                      <a16:creationId xmlns:a16="http://schemas.microsoft.com/office/drawing/2014/main" id="{ADA66653-996E-4FAB-B4D4-D0D3D2C9F3E0}"/>
                    </a:ext>
                  </a:extLst>
                </p:cNvPr>
                <p:cNvSpPr>
                  <a:spLocks noEditPoints="1"/>
                </p:cNvSpPr>
                <p:nvPr/>
              </p:nvSpPr>
              <p:spPr bwMode="auto">
                <a:xfrm>
                  <a:off x="10970759" y="2371811"/>
                  <a:ext cx="661987" cy="685800"/>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grpFill/>
                <a:ln w="3175">
                  <a:noFill/>
                </a:ln>
                <a:extLst/>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0000"/>
                    </a:solidFill>
                    <a:latin typeface="Segoe UI"/>
                  </a:endParaRPr>
                </a:p>
              </p:txBody>
            </p:sp>
            <p:sp>
              <p:nvSpPr>
                <p:cNvPr id="70" name="Freeform 236">
                  <a:extLst>
                    <a:ext uri="{FF2B5EF4-FFF2-40B4-BE49-F238E27FC236}">
                      <a16:creationId xmlns:a16="http://schemas.microsoft.com/office/drawing/2014/main" id="{7CD6B3D3-8448-4933-B491-431106F458BA}"/>
                    </a:ext>
                  </a:extLst>
                </p:cNvPr>
                <p:cNvSpPr>
                  <a:spLocks/>
                </p:cNvSpPr>
                <p:nvPr/>
              </p:nvSpPr>
              <p:spPr bwMode="auto">
                <a:xfrm>
                  <a:off x="11231109" y="2571836"/>
                  <a:ext cx="258762" cy="23813"/>
                </a:xfrm>
                <a:custGeom>
                  <a:avLst/>
                  <a:gdLst>
                    <a:gd name="connsiteX0" fmla="*/ 6960 w 258762"/>
                    <a:gd name="connsiteY0" fmla="*/ 6350 h 23813"/>
                    <a:gd name="connsiteX1" fmla="*/ 9667 w 258762"/>
                    <a:gd name="connsiteY1" fmla="*/ 6350 h 23813"/>
                    <a:gd name="connsiteX2" fmla="*/ 12761 w 258762"/>
                    <a:gd name="connsiteY2" fmla="*/ 6350 h 23813"/>
                    <a:gd name="connsiteX3" fmla="*/ 15854 w 258762"/>
                    <a:gd name="connsiteY3" fmla="*/ 6747 h 23813"/>
                    <a:gd name="connsiteX4" fmla="*/ 18948 w 258762"/>
                    <a:gd name="connsiteY4" fmla="*/ 7144 h 23813"/>
                    <a:gd name="connsiteX5" fmla="*/ 21655 w 258762"/>
                    <a:gd name="connsiteY5" fmla="*/ 7938 h 23813"/>
                    <a:gd name="connsiteX6" fmla="*/ 23975 w 258762"/>
                    <a:gd name="connsiteY6" fmla="*/ 8731 h 23813"/>
                    <a:gd name="connsiteX7" fmla="*/ 25908 w 258762"/>
                    <a:gd name="connsiteY7" fmla="*/ 9922 h 23813"/>
                    <a:gd name="connsiteX8" fmla="*/ 27842 w 258762"/>
                    <a:gd name="connsiteY8" fmla="*/ 11113 h 23813"/>
                    <a:gd name="connsiteX9" fmla="*/ 29389 w 258762"/>
                    <a:gd name="connsiteY9" fmla="*/ 12303 h 23813"/>
                    <a:gd name="connsiteX10" fmla="*/ 30162 w 258762"/>
                    <a:gd name="connsiteY10" fmla="*/ 13494 h 23813"/>
                    <a:gd name="connsiteX11" fmla="*/ 30162 w 258762"/>
                    <a:gd name="connsiteY11" fmla="*/ 15082 h 23813"/>
                    <a:gd name="connsiteX12" fmla="*/ 29775 w 258762"/>
                    <a:gd name="connsiteY12" fmla="*/ 16272 h 23813"/>
                    <a:gd name="connsiteX13" fmla="*/ 28229 w 258762"/>
                    <a:gd name="connsiteY13" fmla="*/ 17860 h 23813"/>
                    <a:gd name="connsiteX14" fmla="*/ 26682 w 258762"/>
                    <a:gd name="connsiteY14" fmla="*/ 19447 h 23813"/>
                    <a:gd name="connsiteX15" fmla="*/ 24748 w 258762"/>
                    <a:gd name="connsiteY15" fmla="*/ 21035 h 23813"/>
                    <a:gd name="connsiteX16" fmla="*/ 22815 w 258762"/>
                    <a:gd name="connsiteY16" fmla="*/ 22226 h 23813"/>
                    <a:gd name="connsiteX17" fmla="*/ 20108 w 258762"/>
                    <a:gd name="connsiteY17" fmla="*/ 23416 h 23813"/>
                    <a:gd name="connsiteX18" fmla="*/ 17401 w 258762"/>
                    <a:gd name="connsiteY18" fmla="*/ 23813 h 23813"/>
                    <a:gd name="connsiteX19" fmla="*/ 14308 w 258762"/>
                    <a:gd name="connsiteY19" fmla="*/ 23813 h 23813"/>
                    <a:gd name="connsiteX20" fmla="*/ 10827 w 258762"/>
                    <a:gd name="connsiteY20" fmla="*/ 23019 h 23813"/>
                    <a:gd name="connsiteX21" fmla="*/ 8121 w 258762"/>
                    <a:gd name="connsiteY21" fmla="*/ 21829 h 23813"/>
                    <a:gd name="connsiteX22" fmla="*/ 5800 w 258762"/>
                    <a:gd name="connsiteY22" fmla="*/ 20241 h 23813"/>
                    <a:gd name="connsiteX23" fmla="*/ 3867 w 258762"/>
                    <a:gd name="connsiteY23" fmla="*/ 18257 h 23813"/>
                    <a:gd name="connsiteX24" fmla="*/ 1933 w 258762"/>
                    <a:gd name="connsiteY24" fmla="*/ 15875 h 23813"/>
                    <a:gd name="connsiteX25" fmla="*/ 773 w 258762"/>
                    <a:gd name="connsiteY25" fmla="*/ 13494 h 23813"/>
                    <a:gd name="connsiteX26" fmla="*/ 0 w 258762"/>
                    <a:gd name="connsiteY26" fmla="*/ 11907 h 23813"/>
                    <a:gd name="connsiteX27" fmla="*/ 0 w 258762"/>
                    <a:gd name="connsiteY27" fmla="*/ 10319 h 23813"/>
                    <a:gd name="connsiteX28" fmla="*/ 387 w 258762"/>
                    <a:gd name="connsiteY28" fmla="*/ 9128 h 23813"/>
                    <a:gd name="connsiteX29" fmla="*/ 1547 w 258762"/>
                    <a:gd name="connsiteY29" fmla="*/ 8335 h 23813"/>
                    <a:gd name="connsiteX30" fmla="*/ 3094 w 258762"/>
                    <a:gd name="connsiteY30" fmla="*/ 7541 h 23813"/>
                    <a:gd name="connsiteX31" fmla="*/ 5027 w 258762"/>
                    <a:gd name="connsiteY31" fmla="*/ 6747 h 23813"/>
                    <a:gd name="connsiteX32" fmla="*/ 245835 w 258762"/>
                    <a:gd name="connsiteY32" fmla="*/ 0 h 23813"/>
                    <a:gd name="connsiteX33" fmla="*/ 248969 w 258762"/>
                    <a:gd name="connsiteY33" fmla="*/ 0 h 23813"/>
                    <a:gd name="connsiteX34" fmla="*/ 251319 w 258762"/>
                    <a:gd name="connsiteY34" fmla="*/ 388 h 23813"/>
                    <a:gd name="connsiteX35" fmla="*/ 253670 w 258762"/>
                    <a:gd name="connsiteY35" fmla="*/ 776 h 23813"/>
                    <a:gd name="connsiteX36" fmla="*/ 255628 w 258762"/>
                    <a:gd name="connsiteY36" fmla="*/ 1164 h 23813"/>
                    <a:gd name="connsiteX37" fmla="*/ 257195 w 258762"/>
                    <a:gd name="connsiteY37" fmla="*/ 1940 h 23813"/>
                    <a:gd name="connsiteX38" fmla="*/ 258370 w 258762"/>
                    <a:gd name="connsiteY38" fmla="*/ 3104 h 23813"/>
                    <a:gd name="connsiteX39" fmla="*/ 258762 w 258762"/>
                    <a:gd name="connsiteY39" fmla="*/ 4269 h 23813"/>
                    <a:gd name="connsiteX40" fmla="*/ 258370 w 258762"/>
                    <a:gd name="connsiteY40" fmla="*/ 5433 h 23813"/>
                    <a:gd name="connsiteX41" fmla="*/ 257979 w 258762"/>
                    <a:gd name="connsiteY41" fmla="*/ 7373 h 23813"/>
                    <a:gd name="connsiteX42" fmla="*/ 256412 w 258762"/>
                    <a:gd name="connsiteY42" fmla="*/ 9314 h 23813"/>
                    <a:gd name="connsiteX43" fmla="*/ 254845 w 258762"/>
                    <a:gd name="connsiteY43" fmla="*/ 11254 h 23813"/>
                    <a:gd name="connsiteX44" fmla="*/ 252886 w 258762"/>
                    <a:gd name="connsiteY44" fmla="*/ 13194 h 23813"/>
                    <a:gd name="connsiteX45" fmla="*/ 250144 w 258762"/>
                    <a:gd name="connsiteY45" fmla="*/ 15135 h 23813"/>
                    <a:gd name="connsiteX46" fmla="*/ 247402 w 258762"/>
                    <a:gd name="connsiteY46" fmla="*/ 16687 h 23813"/>
                    <a:gd name="connsiteX47" fmla="*/ 244660 w 258762"/>
                    <a:gd name="connsiteY47" fmla="*/ 17075 h 23813"/>
                    <a:gd name="connsiteX48" fmla="*/ 241135 w 258762"/>
                    <a:gd name="connsiteY48" fmla="*/ 17463 h 23813"/>
                    <a:gd name="connsiteX49" fmla="*/ 238393 w 258762"/>
                    <a:gd name="connsiteY49" fmla="*/ 16687 h 23813"/>
                    <a:gd name="connsiteX50" fmla="*/ 235651 w 258762"/>
                    <a:gd name="connsiteY50" fmla="*/ 15911 h 23813"/>
                    <a:gd name="connsiteX51" fmla="*/ 233301 w 258762"/>
                    <a:gd name="connsiteY51" fmla="*/ 14747 h 23813"/>
                    <a:gd name="connsiteX52" fmla="*/ 231342 w 258762"/>
                    <a:gd name="connsiteY52" fmla="*/ 12806 h 23813"/>
                    <a:gd name="connsiteX53" fmla="*/ 230167 w 258762"/>
                    <a:gd name="connsiteY53" fmla="*/ 11254 h 23813"/>
                    <a:gd name="connsiteX54" fmla="*/ 228992 w 258762"/>
                    <a:gd name="connsiteY54" fmla="*/ 9702 h 23813"/>
                    <a:gd name="connsiteX55" fmla="*/ 228600 w 258762"/>
                    <a:gd name="connsiteY55" fmla="*/ 8150 h 23813"/>
                    <a:gd name="connsiteX56" fmla="*/ 228600 w 258762"/>
                    <a:gd name="connsiteY56" fmla="*/ 6985 h 23813"/>
                    <a:gd name="connsiteX57" fmla="*/ 229383 w 258762"/>
                    <a:gd name="connsiteY57" fmla="*/ 5821 h 23813"/>
                    <a:gd name="connsiteX58" fmla="*/ 230559 w 258762"/>
                    <a:gd name="connsiteY58" fmla="*/ 4657 h 23813"/>
                    <a:gd name="connsiteX59" fmla="*/ 232517 w 258762"/>
                    <a:gd name="connsiteY59" fmla="*/ 3492 h 23813"/>
                    <a:gd name="connsiteX60" fmla="*/ 234476 w 258762"/>
                    <a:gd name="connsiteY60" fmla="*/ 2716 h 23813"/>
                    <a:gd name="connsiteX61" fmla="*/ 236826 w 258762"/>
                    <a:gd name="connsiteY61" fmla="*/ 1552 h 23813"/>
                    <a:gd name="connsiteX62" fmla="*/ 239568 w 258762"/>
                    <a:gd name="connsiteY62" fmla="*/ 1164 h 23813"/>
                    <a:gd name="connsiteX63" fmla="*/ 242702 w 258762"/>
                    <a:gd name="connsiteY63" fmla="*/ 388 h 2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58762" h="23813">
                      <a:moveTo>
                        <a:pt x="6960" y="6350"/>
                      </a:moveTo>
                      <a:lnTo>
                        <a:pt x="9667" y="6350"/>
                      </a:lnTo>
                      <a:lnTo>
                        <a:pt x="12761" y="6350"/>
                      </a:lnTo>
                      <a:lnTo>
                        <a:pt x="15854" y="6747"/>
                      </a:lnTo>
                      <a:lnTo>
                        <a:pt x="18948" y="7144"/>
                      </a:lnTo>
                      <a:lnTo>
                        <a:pt x="21655" y="7938"/>
                      </a:lnTo>
                      <a:lnTo>
                        <a:pt x="23975" y="8731"/>
                      </a:lnTo>
                      <a:lnTo>
                        <a:pt x="25908" y="9922"/>
                      </a:lnTo>
                      <a:lnTo>
                        <a:pt x="27842" y="11113"/>
                      </a:lnTo>
                      <a:lnTo>
                        <a:pt x="29389" y="12303"/>
                      </a:lnTo>
                      <a:lnTo>
                        <a:pt x="30162" y="13494"/>
                      </a:lnTo>
                      <a:lnTo>
                        <a:pt x="30162" y="15082"/>
                      </a:lnTo>
                      <a:lnTo>
                        <a:pt x="29775" y="16272"/>
                      </a:lnTo>
                      <a:lnTo>
                        <a:pt x="28229" y="17860"/>
                      </a:lnTo>
                      <a:lnTo>
                        <a:pt x="26682" y="19447"/>
                      </a:lnTo>
                      <a:lnTo>
                        <a:pt x="24748" y="21035"/>
                      </a:lnTo>
                      <a:lnTo>
                        <a:pt x="22815" y="22226"/>
                      </a:lnTo>
                      <a:lnTo>
                        <a:pt x="20108" y="23416"/>
                      </a:lnTo>
                      <a:lnTo>
                        <a:pt x="17401" y="23813"/>
                      </a:lnTo>
                      <a:lnTo>
                        <a:pt x="14308" y="23813"/>
                      </a:lnTo>
                      <a:lnTo>
                        <a:pt x="10827" y="23019"/>
                      </a:lnTo>
                      <a:lnTo>
                        <a:pt x="8121" y="21829"/>
                      </a:lnTo>
                      <a:lnTo>
                        <a:pt x="5800" y="20241"/>
                      </a:lnTo>
                      <a:lnTo>
                        <a:pt x="3867" y="18257"/>
                      </a:lnTo>
                      <a:lnTo>
                        <a:pt x="1933" y="15875"/>
                      </a:lnTo>
                      <a:lnTo>
                        <a:pt x="773" y="13494"/>
                      </a:lnTo>
                      <a:lnTo>
                        <a:pt x="0" y="11907"/>
                      </a:lnTo>
                      <a:lnTo>
                        <a:pt x="0" y="10319"/>
                      </a:lnTo>
                      <a:lnTo>
                        <a:pt x="387" y="9128"/>
                      </a:lnTo>
                      <a:lnTo>
                        <a:pt x="1547" y="8335"/>
                      </a:lnTo>
                      <a:lnTo>
                        <a:pt x="3094" y="7541"/>
                      </a:lnTo>
                      <a:lnTo>
                        <a:pt x="5027" y="6747"/>
                      </a:lnTo>
                      <a:close/>
                      <a:moveTo>
                        <a:pt x="245835" y="0"/>
                      </a:moveTo>
                      <a:lnTo>
                        <a:pt x="248969" y="0"/>
                      </a:lnTo>
                      <a:lnTo>
                        <a:pt x="251319" y="388"/>
                      </a:lnTo>
                      <a:lnTo>
                        <a:pt x="253670" y="776"/>
                      </a:lnTo>
                      <a:lnTo>
                        <a:pt x="255628" y="1164"/>
                      </a:lnTo>
                      <a:lnTo>
                        <a:pt x="257195" y="1940"/>
                      </a:lnTo>
                      <a:lnTo>
                        <a:pt x="258370" y="3104"/>
                      </a:lnTo>
                      <a:lnTo>
                        <a:pt x="258762" y="4269"/>
                      </a:lnTo>
                      <a:lnTo>
                        <a:pt x="258370" y="5433"/>
                      </a:lnTo>
                      <a:lnTo>
                        <a:pt x="257979" y="7373"/>
                      </a:lnTo>
                      <a:lnTo>
                        <a:pt x="256412" y="9314"/>
                      </a:lnTo>
                      <a:lnTo>
                        <a:pt x="254845" y="11254"/>
                      </a:lnTo>
                      <a:lnTo>
                        <a:pt x="252886" y="13194"/>
                      </a:lnTo>
                      <a:lnTo>
                        <a:pt x="250144" y="15135"/>
                      </a:lnTo>
                      <a:lnTo>
                        <a:pt x="247402" y="16687"/>
                      </a:lnTo>
                      <a:lnTo>
                        <a:pt x="244660" y="17075"/>
                      </a:lnTo>
                      <a:lnTo>
                        <a:pt x="241135" y="17463"/>
                      </a:lnTo>
                      <a:lnTo>
                        <a:pt x="238393" y="16687"/>
                      </a:lnTo>
                      <a:lnTo>
                        <a:pt x="235651" y="15911"/>
                      </a:lnTo>
                      <a:lnTo>
                        <a:pt x="233301" y="14747"/>
                      </a:lnTo>
                      <a:lnTo>
                        <a:pt x="231342" y="12806"/>
                      </a:lnTo>
                      <a:lnTo>
                        <a:pt x="230167" y="11254"/>
                      </a:lnTo>
                      <a:lnTo>
                        <a:pt x="228992" y="9702"/>
                      </a:lnTo>
                      <a:lnTo>
                        <a:pt x="228600" y="8150"/>
                      </a:lnTo>
                      <a:lnTo>
                        <a:pt x="228600" y="6985"/>
                      </a:lnTo>
                      <a:lnTo>
                        <a:pt x="229383" y="5821"/>
                      </a:lnTo>
                      <a:lnTo>
                        <a:pt x="230559" y="4657"/>
                      </a:lnTo>
                      <a:lnTo>
                        <a:pt x="232517" y="3492"/>
                      </a:lnTo>
                      <a:lnTo>
                        <a:pt x="234476" y="2716"/>
                      </a:lnTo>
                      <a:lnTo>
                        <a:pt x="236826" y="1552"/>
                      </a:lnTo>
                      <a:lnTo>
                        <a:pt x="239568" y="1164"/>
                      </a:lnTo>
                      <a:lnTo>
                        <a:pt x="242702" y="388"/>
                      </a:lnTo>
                      <a:close/>
                    </a:path>
                  </a:pathLst>
                </a:custGeom>
                <a:grpFill/>
                <a:ln w="3175">
                  <a:noFill/>
                </a:ln>
                <a:extLst/>
              </p:spPr>
              <p:txBody>
                <a:bodyPr vert="horz" wrap="square" lIns="93247" tIns="46623" rIns="93247" bIns="46623" numCol="1" anchor="t" anchorCtr="0" compatLnSpc="1">
                  <a:prstTxWarp prst="textNoShape">
                    <a:avLst/>
                  </a:prstTxWarp>
                  <a:noAutofit/>
                </a:bodyPr>
                <a:lstStyle/>
                <a:p>
                  <a:pPr defTabSz="932418">
                    <a:defRPr/>
                  </a:pPr>
                  <a:endParaRPr lang="en-US" sz="1836" dirty="0">
                    <a:solidFill>
                      <a:srgbClr val="000000"/>
                    </a:solidFill>
                    <a:latin typeface="Segoe UI"/>
                  </a:endParaRPr>
                </a:p>
              </p:txBody>
            </p:sp>
          </p:grpSp>
          <p:sp>
            <p:nvSpPr>
              <p:cNvPr id="67" name="Cylinder 513">
                <a:extLst>
                  <a:ext uri="{FF2B5EF4-FFF2-40B4-BE49-F238E27FC236}">
                    <a16:creationId xmlns:a16="http://schemas.microsoft.com/office/drawing/2014/main" id="{5D39775B-2184-439D-8618-0AC5BF4EFDBD}"/>
                  </a:ext>
                </a:extLst>
              </p:cNvPr>
              <p:cNvSpPr/>
              <p:nvPr/>
            </p:nvSpPr>
            <p:spPr bwMode="auto">
              <a:xfrm>
                <a:off x="9917482" y="2038243"/>
                <a:ext cx="778150" cy="1022302"/>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dirty="0">
                  <a:solidFill>
                    <a:srgbClr val="0078D7"/>
                  </a:solidFill>
                  <a:latin typeface="Segoe UI Light"/>
                  <a:ea typeface="Segoe UI" pitchFamily="34" charset="0"/>
                  <a:cs typeface="Segoe UI" pitchFamily="34" charset="0"/>
                </a:endParaRPr>
              </a:p>
            </p:txBody>
          </p:sp>
          <p:pic>
            <p:nvPicPr>
              <p:cNvPr id="68" name="Picture 67">
                <a:extLst>
                  <a:ext uri="{FF2B5EF4-FFF2-40B4-BE49-F238E27FC236}">
                    <a16:creationId xmlns:a16="http://schemas.microsoft.com/office/drawing/2014/main" id="{C5735258-33A5-4A97-806A-EB4958BCCA09}"/>
                  </a:ext>
                </a:extLst>
              </p:cNvPr>
              <p:cNvPicPr>
                <a:picLocks noChangeAspect="1"/>
              </p:cNvPicPr>
              <p:nvPr/>
            </p:nvPicPr>
            <p:blipFill rotWithShape="1">
              <a:blip r:embed="rId3">
                <a:extLst>
                  <a:ext uri="{28A0092B-C50C-407E-A947-70E740481C1C}">
                    <a14:useLocalDpi xmlns:a14="http://schemas.microsoft.com/office/drawing/2010/main" val="0"/>
                  </a:ext>
                </a:extLst>
              </a:blip>
              <a:srcRect l="9868" r="9868" b="27669"/>
              <a:stretch/>
            </p:blipFill>
            <p:spPr>
              <a:xfrm>
                <a:off x="10022659" y="2451001"/>
                <a:ext cx="586451" cy="373969"/>
              </a:xfrm>
              <a:prstGeom prst="rect">
                <a:avLst/>
              </a:prstGeom>
              <a:ln w="12700">
                <a:noFill/>
              </a:ln>
              <a:effectLst/>
            </p:spPr>
          </p:pic>
        </p:grpSp>
        <p:grpSp>
          <p:nvGrpSpPr>
            <p:cNvPr id="54" name="Group 53">
              <a:extLst>
                <a:ext uri="{FF2B5EF4-FFF2-40B4-BE49-F238E27FC236}">
                  <a16:creationId xmlns:a16="http://schemas.microsoft.com/office/drawing/2014/main" id="{FB4AA8C5-7811-414D-8EE1-7FA13DE36813}"/>
                </a:ext>
              </a:extLst>
            </p:cNvPr>
            <p:cNvGrpSpPr/>
            <p:nvPr/>
          </p:nvGrpSpPr>
          <p:grpSpPr>
            <a:xfrm>
              <a:off x="7576996" y="4744904"/>
              <a:ext cx="2772798" cy="852311"/>
              <a:chOff x="6703584" y="5374031"/>
              <a:chExt cx="4846717" cy="1489798"/>
            </a:xfrm>
          </p:grpSpPr>
          <p:grpSp>
            <p:nvGrpSpPr>
              <p:cNvPr id="55" name="Group 54">
                <a:extLst>
                  <a:ext uri="{FF2B5EF4-FFF2-40B4-BE49-F238E27FC236}">
                    <a16:creationId xmlns:a16="http://schemas.microsoft.com/office/drawing/2014/main" id="{95B547F1-CB01-4850-8508-7FEF89B1068A}"/>
                  </a:ext>
                </a:extLst>
              </p:cNvPr>
              <p:cNvGrpSpPr/>
              <p:nvPr/>
            </p:nvGrpSpPr>
            <p:grpSpPr>
              <a:xfrm>
                <a:off x="6703584" y="5374031"/>
                <a:ext cx="1489798" cy="1489798"/>
                <a:chOff x="1778282" y="4394344"/>
                <a:chExt cx="1489798" cy="1489798"/>
              </a:xfrm>
            </p:grpSpPr>
            <p:sp>
              <p:nvSpPr>
                <p:cNvPr id="62" name="Oval 61">
                  <a:extLst>
                    <a:ext uri="{FF2B5EF4-FFF2-40B4-BE49-F238E27FC236}">
                      <a16:creationId xmlns:a16="http://schemas.microsoft.com/office/drawing/2014/main" id="{5FA8AC7B-9A18-4910-8E21-8B491D0E1A0C}"/>
                    </a:ext>
                  </a:extLst>
                </p:cNvPr>
                <p:cNvSpPr/>
                <p:nvPr/>
              </p:nvSpPr>
              <p:spPr bwMode="auto">
                <a:xfrm>
                  <a:off x="1778282" y="4394344"/>
                  <a:ext cx="1489798" cy="1489798"/>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pic>
              <p:nvPicPr>
                <p:cNvPr id="63" name="Picture 62">
                  <a:extLst>
                    <a:ext uri="{FF2B5EF4-FFF2-40B4-BE49-F238E27FC236}">
                      <a16:creationId xmlns:a16="http://schemas.microsoft.com/office/drawing/2014/main" id="{325561EA-7041-40BD-9BA6-D9A121D06E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65983" y="4819278"/>
                  <a:ext cx="998122" cy="519024"/>
                </a:xfrm>
                <a:prstGeom prst="rect">
                  <a:avLst/>
                </a:prstGeom>
              </p:spPr>
            </p:pic>
          </p:grpSp>
          <p:grpSp>
            <p:nvGrpSpPr>
              <p:cNvPr id="56" name="Group 55">
                <a:extLst>
                  <a:ext uri="{FF2B5EF4-FFF2-40B4-BE49-F238E27FC236}">
                    <a16:creationId xmlns:a16="http://schemas.microsoft.com/office/drawing/2014/main" id="{F1C21A91-BD5E-4C1A-B14F-CF1B1FAE2B98}"/>
                  </a:ext>
                </a:extLst>
              </p:cNvPr>
              <p:cNvGrpSpPr/>
              <p:nvPr/>
            </p:nvGrpSpPr>
            <p:grpSpPr>
              <a:xfrm>
                <a:off x="8382044" y="5374031"/>
                <a:ext cx="1489798" cy="1489798"/>
                <a:chOff x="3385215" y="5851882"/>
                <a:chExt cx="1489798" cy="1489798"/>
              </a:xfrm>
            </p:grpSpPr>
            <p:sp>
              <p:nvSpPr>
                <p:cNvPr id="60" name="Oval 59">
                  <a:extLst>
                    <a:ext uri="{FF2B5EF4-FFF2-40B4-BE49-F238E27FC236}">
                      <a16:creationId xmlns:a16="http://schemas.microsoft.com/office/drawing/2014/main" id="{EA8D2BA4-F720-4FD5-BAFD-E25EC6058EB6}"/>
                    </a:ext>
                  </a:extLst>
                </p:cNvPr>
                <p:cNvSpPr/>
                <p:nvPr/>
              </p:nvSpPr>
              <p:spPr bwMode="auto">
                <a:xfrm>
                  <a:off x="3385215" y="5851882"/>
                  <a:ext cx="1489798" cy="1489798"/>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pic>
              <p:nvPicPr>
                <p:cNvPr id="61" name="Picture 60">
                  <a:extLst>
                    <a:ext uri="{FF2B5EF4-FFF2-40B4-BE49-F238E27FC236}">
                      <a16:creationId xmlns:a16="http://schemas.microsoft.com/office/drawing/2014/main" id="{AA0EB6A1-378A-4AA6-8F70-C6704DB20E8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64972" y="6009471"/>
                  <a:ext cx="981898" cy="1091706"/>
                </a:xfrm>
                <a:prstGeom prst="rect">
                  <a:avLst/>
                </a:prstGeom>
              </p:spPr>
            </p:pic>
          </p:grpSp>
          <p:grpSp>
            <p:nvGrpSpPr>
              <p:cNvPr id="57" name="Group 56">
                <a:extLst>
                  <a:ext uri="{FF2B5EF4-FFF2-40B4-BE49-F238E27FC236}">
                    <a16:creationId xmlns:a16="http://schemas.microsoft.com/office/drawing/2014/main" id="{0DF5C726-FA51-46F1-8731-43BC1666DC57}"/>
                  </a:ext>
                </a:extLst>
              </p:cNvPr>
              <p:cNvGrpSpPr/>
              <p:nvPr/>
            </p:nvGrpSpPr>
            <p:grpSpPr>
              <a:xfrm>
                <a:off x="10060503" y="5374031"/>
                <a:ext cx="1489798" cy="1489798"/>
                <a:chOff x="4670227" y="3898386"/>
                <a:chExt cx="1489798" cy="1489798"/>
              </a:xfrm>
            </p:grpSpPr>
            <p:sp>
              <p:nvSpPr>
                <p:cNvPr id="58" name="Oval 57">
                  <a:extLst>
                    <a:ext uri="{FF2B5EF4-FFF2-40B4-BE49-F238E27FC236}">
                      <a16:creationId xmlns:a16="http://schemas.microsoft.com/office/drawing/2014/main" id="{48EFC02D-D971-434B-9E76-078D676BFB0E}"/>
                    </a:ext>
                  </a:extLst>
                </p:cNvPr>
                <p:cNvSpPr/>
                <p:nvPr/>
              </p:nvSpPr>
              <p:spPr bwMode="auto">
                <a:xfrm>
                  <a:off x="4670227" y="3898386"/>
                  <a:ext cx="1489798" cy="1489798"/>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pic>
              <p:nvPicPr>
                <p:cNvPr id="59" name="Picture 58">
                  <a:extLst>
                    <a:ext uri="{FF2B5EF4-FFF2-40B4-BE49-F238E27FC236}">
                      <a16:creationId xmlns:a16="http://schemas.microsoft.com/office/drawing/2014/main" id="{031D9EF4-B909-433A-8134-C494C8B6CB3E}"/>
                    </a:ext>
                  </a:extLst>
                </p:cNvPr>
                <p:cNvPicPr>
                  <a:picLocks noChangeAspect="1"/>
                </p:cNvPicPr>
                <p:nvPr/>
              </p:nvPicPr>
              <p:blipFill>
                <a:blip r:embed="rId6"/>
                <a:stretch>
                  <a:fillRect/>
                </a:stretch>
              </p:blipFill>
              <p:spPr>
                <a:xfrm>
                  <a:off x="4762512" y="4275870"/>
                  <a:ext cx="1282622" cy="660172"/>
                </a:xfrm>
                <a:prstGeom prst="rect">
                  <a:avLst/>
                </a:prstGeom>
              </p:spPr>
            </p:pic>
          </p:grpSp>
        </p:grpSp>
      </p:grpSp>
    </p:spTree>
    <p:extLst>
      <p:ext uri="{BB962C8B-B14F-4D97-AF65-F5344CB8AC3E}">
        <p14:creationId xmlns:p14="http://schemas.microsoft.com/office/powerpoint/2010/main" val="533218514"/>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96E4A-57D7-4EA7-B862-0E283C64DF99}"/>
              </a:ext>
            </a:extLst>
          </p:cNvPr>
          <p:cNvSpPr>
            <a:spLocks noGrp="1"/>
          </p:cNvSpPr>
          <p:nvPr>
            <p:ph type="title"/>
          </p:nvPr>
        </p:nvSpPr>
        <p:spPr/>
        <p:txBody>
          <a:bodyPr/>
          <a:lstStyle/>
          <a:p>
            <a:r>
              <a:rPr lang="en-US" dirty="0"/>
              <a:t>Migration Technics</a:t>
            </a:r>
            <a:endParaRPr lang="en-IN" dirty="0"/>
          </a:p>
        </p:txBody>
      </p:sp>
    </p:spTree>
    <p:extLst>
      <p:ext uri="{BB962C8B-B14F-4D97-AF65-F5344CB8AC3E}">
        <p14:creationId xmlns:p14="http://schemas.microsoft.com/office/powerpoint/2010/main" val="958480991"/>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56908-D077-41F3-A36D-F8E75F2213E0}"/>
              </a:ext>
            </a:extLst>
          </p:cNvPr>
          <p:cNvSpPr>
            <a:spLocks noGrp="1"/>
          </p:cNvSpPr>
          <p:nvPr>
            <p:ph type="title"/>
          </p:nvPr>
        </p:nvSpPr>
        <p:spPr/>
        <p:txBody>
          <a:bodyPr/>
          <a:lstStyle/>
          <a:p>
            <a:r>
              <a:rPr lang="en-US" sz="4400" dirty="0"/>
              <a:t>Migration Approaches</a:t>
            </a:r>
          </a:p>
        </p:txBody>
      </p:sp>
      <p:sp>
        <p:nvSpPr>
          <p:cNvPr id="16" name="Flowchart: Process 15">
            <a:extLst>
              <a:ext uri="{FF2B5EF4-FFF2-40B4-BE49-F238E27FC236}">
                <a16:creationId xmlns:a16="http://schemas.microsoft.com/office/drawing/2014/main" id="{8CB514D3-A604-401E-B860-E732E61CCFCA}"/>
              </a:ext>
            </a:extLst>
          </p:cNvPr>
          <p:cNvSpPr/>
          <p:nvPr/>
        </p:nvSpPr>
        <p:spPr bwMode="auto">
          <a:xfrm>
            <a:off x="3336353" y="1322159"/>
            <a:ext cx="8634983" cy="1005840"/>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Backup the workload configuration, deploy new </a:t>
            </a:r>
            <a:r>
              <a:rPr lang="en-US" sz="1400" dirty="0" err="1">
                <a:solidFill>
                  <a:schemeClr val="tx2"/>
                </a:solidFill>
              </a:rPr>
              <a:t>VM</a:t>
            </a:r>
            <a:r>
              <a:rPr lang="en-US" sz="1400" dirty="0">
                <a:solidFill>
                  <a:schemeClr val="tx2"/>
                </a:solidFill>
              </a:rPr>
              <a:t> in Azure and restore the configuration</a:t>
            </a:r>
          </a:p>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Backup and restore the database</a:t>
            </a:r>
          </a:p>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Good for stateless workloads, clean installation using Azure Marketplace image</a:t>
            </a:r>
          </a:p>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Consider containers as an option instead of </a:t>
            </a:r>
            <a:r>
              <a:rPr lang="en-US" sz="1400" dirty="0" err="1">
                <a:solidFill>
                  <a:schemeClr val="tx2"/>
                </a:solidFill>
              </a:rPr>
              <a:t>VMs</a:t>
            </a:r>
            <a:endParaRPr lang="en-US" sz="1400" dirty="0">
              <a:solidFill>
                <a:schemeClr val="tx2"/>
              </a:solidFill>
            </a:endParaRPr>
          </a:p>
        </p:txBody>
      </p:sp>
      <p:sp>
        <p:nvSpPr>
          <p:cNvPr id="17" name="Flowchart: Process 16">
            <a:extLst>
              <a:ext uri="{FF2B5EF4-FFF2-40B4-BE49-F238E27FC236}">
                <a16:creationId xmlns:a16="http://schemas.microsoft.com/office/drawing/2014/main" id="{A453649A-738E-44BF-AF0B-F7A173FD37E4}"/>
              </a:ext>
            </a:extLst>
          </p:cNvPr>
          <p:cNvSpPr/>
          <p:nvPr/>
        </p:nvSpPr>
        <p:spPr bwMode="auto">
          <a:xfrm>
            <a:off x="465137" y="1322159"/>
            <a:ext cx="2871216" cy="1005840"/>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cs typeface="Segoe UI Semibold" panose="020B0702040204020203" pitchFamily="34" charset="0"/>
              </a:rPr>
              <a:t>Re-deploy</a:t>
            </a:r>
          </a:p>
        </p:txBody>
      </p:sp>
      <p:sp>
        <p:nvSpPr>
          <p:cNvPr id="19" name="Flowchart: Process 18">
            <a:extLst>
              <a:ext uri="{FF2B5EF4-FFF2-40B4-BE49-F238E27FC236}">
                <a16:creationId xmlns:a16="http://schemas.microsoft.com/office/drawing/2014/main" id="{94C51C3E-7B2C-4321-AA97-52E06E357B9F}"/>
              </a:ext>
            </a:extLst>
          </p:cNvPr>
          <p:cNvSpPr/>
          <p:nvPr/>
        </p:nvSpPr>
        <p:spPr bwMode="auto">
          <a:xfrm>
            <a:off x="3336353" y="2447912"/>
            <a:ext cx="8634983" cy="1005840"/>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Configure on-prem to Azure connectivity using S2S VPN or Express Route</a:t>
            </a:r>
          </a:p>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Deploy additional domain controllers in Azure</a:t>
            </a:r>
          </a:p>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Deploy additional nodes of the workload in Azure (e.g. heavy web apps and worker nodes)</a:t>
            </a:r>
          </a:p>
        </p:txBody>
      </p:sp>
      <p:sp>
        <p:nvSpPr>
          <p:cNvPr id="20" name="Flowchart: Process 19">
            <a:extLst>
              <a:ext uri="{FF2B5EF4-FFF2-40B4-BE49-F238E27FC236}">
                <a16:creationId xmlns:a16="http://schemas.microsoft.com/office/drawing/2014/main" id="{9D9AEA89-3D8F-485D-9FD7-9CA220E6C969}"/>
              </a:ext>
            </a:extLst>
          </p:cNvPr>
          <p:cNvSpPr/>
          <p:nvPr/>
        </p:nvSpPr>
        <p:spPr bwMode="auto">
          <a:xfrm>
            <a:off x="465137" y="2447912"/>
            <a:ext cx="2871216" cy="1005840"/>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cs typeface="Segoe UI Semibold" panose="020B0702040204020203" pitchFamily="34" charset="0"/>
              </a:rPr>
              <a:t>Workload-level Scale-out</a:t>
            </a:r>
          </a:p>
        </p:txBody>
      </p:sp>
      <p:sp>
        <p:nvSpPr>
          <p:cNvPr id="22" name="Flowchart: Process 21">
            <a:extLst>
              <a:ext uri="{FF2B5EF4-FFF2-40B4-BE49-F238E27FC236}">
                <a16:creationId xmlns:a16="http://schemas.microsoft.com/office/drawing/2014/main" id="{F5690B14-229F-49CF-B756-F677144A603C}"/>
              </a:ext>
            </a:extLst>
          </p:cNvPr>
          <p:cNvSpPr/>
          <p:nvPr/>
        </p:nvSpPr>
        <p:spPr bwMode="auto">
          <a:xfrm>
            <a:off x="3336353" y="3573666"/>
            <a:ext cx="8634983" cy="1005840"/>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Azure Site Recovery (ASR) as a recommended and free solution for migration to Azure at scale</a:t>
            </a:r>
          </a:p>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Deploy ASR agents on </a:t>
            </a:r>
            <a:r>
              <a:rPr lang="en-US" sz="1400" dirty="0" err="1">
                <a:solidFill>
                  <a:schemeClr val="tx2"/>
                </a:solidFill>
              </a:rPr>
              <a:t>VMs</a:t>
            </a:r>
            <a:r>
              <a:rPr lang="en-US" sz="1400" dirty="0">
                <a:solidFill>
                  <a:schemeClr val="tx2"/>
                </a:solidFill>
              </a:rPr>
              <a:t>, replicate to Azure, failover.</a:t>
            </a:r>
          </a:p>
        </p:txBody>
      </p:sp>
      <p:sp>
        <p:nvSpPr>
          <p:cNvPr id="23" name="Flowchart: Process 22">
            <a:extLst>
              <a:ext uri="{FF2B5EF4-FFF2-40B4-BE49-F238E27FC236}">
                <a16:creationId xmlns:a16="http://schemas.microsoft.com/office/drawing/2014/main" id="{292CAB6C-6A70-47B7-B958-3F21D848AAB6}"/>
              </a:ext>
            </a:extLst>
          </p:cNvPr>
          <p:cNvSpPr/>
          <p:nvPr/>
        </p:nvSpPr>
        <p:spPr bwMode="auto">
          <a:xfrm>
            <a:off x="465137" y="3573666"/>
            <a:ext cx="2871216" cy="1005840"/>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err="1">
                <a:solidFill>
                  <a:schemeClr val="bg1"/>
                </a:solidFill>
                <a:latin typeface="+mj-lt"/>
                <a:cs typeface="Segoe UI Semibold" panose="020B0702040204020203" pitchFamily="34" charset="0"/>
              </a:rPr>
              <a:t>VM</a:t>
            </a:r>
            <a:r>
              <a:rPr lang="en-US" sz="2400" dirty="0">
                <a:solidFill>
                  <a:schemeClr val="bg1"/>
                </a:solidFill>
                <a:latin typeface="+mj-lt"/>
                <a:cs typeface="Segoe UI Semibold" panose="020B0702040204020203" pitchFamily="34" charset="0"/>
              </a:rPr>
              <a:t> Lift &amp; Shift</a:t>
            </a:r>
          </a:p>
        </p:txBody>
      </p:sp>
      <p:sp>
        <p:nvSpPr>
          <p:cNvPr id="25" name="Flowchart: Process 24">
            <a:extLst>
              <a:ext uri="{FF2B5EF4-FFF2-40B4-BE49-F238E27FC236}">
                <a16:creationId xmlns:a16="http://schemas.microsoft.com/office/drawing/2014/main" id="{468E87F1-3835-450D-83FD-7D073E85BB6B}"/>
              </a:ext>
            </a:extLst>
          </p:cNvPr>
          <p:cNvSpPr/>
          <p:nvPr/>
        </p:nvSpPr>
        <p:spPr bwMode="auto">
          <a:xfrm>
            <a:off x="3336353" y="4699420"/>
            <a:ext cx="8634983" cy="1005840"/>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Using technologies like SQL Server </a:t>
            </a:r>
            <a:r>
              <a:rPr lang="en-US" sz="1400" dirty="0" err="1">
                <a:solidFill>
                  <a:schemeClr val="tx2"/>
                </a:solidFill>
              </a:rPr>
              <a:t>AlwaysOn</a:t>
            </a:r>
            <a:r>
              <a:rPr lang="en-US" sz="1400" dirty="0">
                <a:solidFill>
                  <a:schemeClr val="tx2"/>
                </a:solidFill>
              </a:rPr>
              <a:t> Availability Groups</a:t>
            </a:r>
          </a:p>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Azure Database Migration Service (DMS) for migrations to Azure SQL Database</a:t>
            </a:r>
          </a:p>
          <a:p>
            <a:pPr marL="182880" indent="-182880" defTabSz="932472" fontAlgn="base">
              <a:spcBef>
                <a:spcPts val="200"/>
              </a:spcBef>
              <a:spcAft>
                <a:spcPct val="0"/>
              </a:spcAft>
              <a:buFont typeface="Segoe UI" panose="020B0502040204020203" pitchFamily="34" charset="0"/>
              <a:buChar char="•"/>
            </a:pPr>
            <a:r>
              <a:rPr lang="en-US" sz="1400" dirty="0" err="1">
                <a:solidFill>
                  <a:schemeClr val="tx2"/>
                </a:solidFill>
              </a:rPr>
              <a:t>Attunity</a:t>
            </a:r>
            <a:r>
              <a:rPr lang="en-US" sz="1400" dirty="0">
                <a:solidFill>
                  <a:schemeClr val="tx2"/>
                </a:solidFill>
              </a:rPr>
              <a:t> Replication for Microsoft – free solution, extending the capabilities of DMS</a:t>
            </a:r>
          </a:p>
        </p:txBody>
      </p:sp>
      <p:sp>
        <p:nvSpPr>
          <p:cNvPr id="26" name="Flowchart: Process 25">
            <a:extLst>
              <a:ext uri="{FF2B5EF4-FFF2-40B4-BE49-F238E27FC236}">
                <a16:creationId xmlns:a16="http://schemas.microsoft.com/office/drawing/2014/main" id="{13370F9D-B157-4EA3-BF86-6468D744A0FB}"/>
              </a:ext>
            </a:extLst>
          </p:cNvPr>
          <p:cNvSpPr/>
          <p:nvPr/>
        </p:nvSpPr>
        <p:spPr bwMode="auto">
          <a:xfrm>
            <a:off x="465137" y="4699420"/>
            <a:ext cx="2871216" cy="1005840"/>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cs typeface="Segoe UI Semibold" panose="020B0702040204020203" pitchFamily="34" charset="0"/>
              </a:rPr>
              <a:t>Database-level migration</a:t>
            </a:r>
          </a:p>
        </p:txBody>
      </p:sp>
      <p:sp>
        <p:nvSpPr>
          <p:cNvPr id="28" name="Flowchart: Process 27">
            <a:extLst>
              <a:ext uri="{FF2B5EF4-FFF2-40B4-BE49-F238E27FC236}">
                <a16:creationId xmlns:a16="http://schemas.microsoft.com/office/drawing/2014/main" id="{E38C3700-DF1A-4515-A87C-AB788AEBBE8D}"/>
              </a:ext>
            </a:extLst>
          </p:cNvPr>
          <p:cNvSpPr/>
          <p:nvPr/>
        </p:nvSpPr>
        <p:spPr bwMode="auto">
          <a:xfrm>
            <a:off x="3336353" y="5825173"/>
            <a:ext cx="8634983" cy="1005840"/>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Azure File Sync or StorSimple Virtual Appliance to upload large amounts of data to Azure</a:t>
            </a:r>
          </a:p>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Disk import and Azure Databox</a:t>
            </a:r>
          </a:p>
        </p:txBody>
      </p:sp>
      <p:sp>
        <p:nvSpPr>
          <p:cNvPr id="29" name="Flowchart: Process 28">
            <a:extLst>
              <a:ext uri="{FF2B5EF4-FFF2-40B4-BE49-F238E27FC236}">
                <a16:creationId xmlns:a16="http://schemas.microsoft.com/office/drawing/2014/main" id="{550894C2-5383-4363-8BCB-B946A1389490}"/>
              </a:ext>
            </a:extLst>
          </p:cNvPr>
          <p:cNvSpPr/>
          <p:nvPr/>
        </p:nvSpPr>
        <p:spPr bwMode="auto">
          <a:xfrm>
            <a:off x="465137" y="5825173"/>
            <a:ext cx="2871216" cy="1005840"/>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cs typeface="Segoe UI Semibold" panose="020B0702040204020203" pitchFamily="34" charset="0"/>
              </a:rPr>
              <a:t>Large data migrations</a:t>
            </a:r>
          </a:p>
        </p:txBody>
      </p:sp>
    </p:spTree>
    <p:extLst>
      <p:ext uri="{BB962C8B-B14F-4D97-AF65-F5344CB8AC3E}">
        <p14:creationId xmlns:p14="http://schemas.microsoft.com/office/powerpoint/2010/main" val="3868532473"/>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31FFA5-760A-4675-A2D9-35D97BFE97F1}"/>
              </a:ext>
            </a:extLst>
          </p:cNvPr>
          <p:cNvSpPr>
            <a:spLocks noGrp="1"/>
          </p:cNvSpPr>
          <p:nvPr>
            <p:ph type="title"/>
          </p:nvPr>
        </p:nvSpPr>
        <p:spPr/>
        <p:txBody>
          <a:bodyPr/>
          <a:lstStyle/>
          <a:p>
            <a:r>
              <a:rPr lang="en-US" dirty="0"/>
              <a:t>Uploading large amounts of data to Azure</a:t>
            </a:r>
            <a:endParaRPr lang="en-IN" dirty="0"/>
          </a:p>
        </p:txBody>
      </p:sp>
      <p:sp>
        <p:nvSpPr>
          <p:cNvPr id="30" name="Rectangle 29">
            <a:extLst>
              <a:ext uri="{FF2B5EF4-FFF2-40B4-BE49-F238E27FC236}">
                <a16:creationId xmlns:a16="http://schemas.microsoft.com/office/drawing/2014/main" id="{71FC7BB0-8D85-4943-8727-70B0D25D8A1F}"/>
              </a:ext>
            </a:extLst>
          </p:cNvPr>
          <p:cNvSpPr/>
          <p:nvPr/>
        </p:nvSpPr>
        <p:spPr bwMode="auto">
          <a:xfrm>
            <a:off x="868101" y="2974695"/>
            <a:ext cx="2699222" cy="2286000"/>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Capacity: &lt;10TB</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Customer supplied disk</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USB/SATA Interface</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Ships in tamper resistant case</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High capacity with Super Transport</a:t>
            </a:r>
          </a:p>
        </p:txBody>
      </p:sp>
      <p:sp>
        <p:nvSpPr>
          <p:cNvPr id="31" name="Rectangle 30">
            <a:extLst>
              <a:ext uri="{FF2B5EF4-FFF2-40B4-BE49-F238E27FC236}">
                <a16:creationId xmlns:a16="http://schemas.microsoft.com/office/drawing/2014/main" id="{EDC6BF7A-E0E5-432F-9B2C-D34819B6CCA4}"/>
              </a:ext>
            </a:extLst>
          </p:cNvPr>
          <p:cNvSpPr/>
          <p:nvPr/>
        </p:nvSpPr>
        <p:spPr bwMode="auto">
          <a:xfrm>
            <a:off x="868101" y="2406869"/>
            <a:ext cx="2699222" cy="567824"/>
          </a:xfrm>
          <a:prstGeom prst="rect">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304">
              <a:defRPr/>
            </a:pPr>
            <a:r>
              <a:rPr lang="en-US" sz="1600" b="1">
                <a:solidFill>
                  <a:schemeClr val="bg1"/>
                </a:solidFill>
              </a:rPr>
              <a:t>Disk Import</a:t>
            </a:r>
            <a:endParaRPr lang="en-US" sz="1600" b="1" dirty="0">
              <a:solidFill>
                <a:schemeClr val="bg1"/>
              </a:solidFill>
            </a:endParaRPr>
          </a:p>
        </p:txBody>
      </p:sp>
      <p:sp>
        <p:nvSpPr>
          <p:cNvPr id="32" name="Rectangle 31">
            <a:extLst>
              <a:ext uri="{FF2B5EF4-FFF2-40B4-BE49-F238E27FC236}">
                <a16:creationId xmlns:a16="http://schemas.microsoft.com/office/drawing/2014/main" id="{F1AFBDC3-FC58-4FCA-941F-47AAE4FAEC07}"/>
              </a:ext>
            </a:extLst>
          </p:cNvPr>
          <p:cNvSpPr/>
          <p:nvPr/>
        </p:nvSpPr>
        <p:spPr bwMode="auto">
          <a:xfrm>
            <a:off x="3669440" y="2974695"/>
            <a:ext cx="2699222" cy="2286000"/>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Capacity: &lt;10TB</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Azure leased service</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Tamper resistant</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Low complexity - USB </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Low cost</a:t>
            </a:r>
          </a:p>
        </p:txBody>
      </p:sp>
      <p:sp>
        <p:nvSpPr>
          <p:cNvPr id="33" name="Rectangle 32">
            <a:extLst>
              <a:ext uri="{FF2B5EF4-FFF2-40B4-BE49-F238E27FC236}">
                <a16:creationId xmlns:a16="http://schemas.microsoft.com/office/drawing/2014/main" id="{DB002BC9-5B14-4C8E-9F01-2842D09290BD}"/>
              </a:ext>
            </a:extLst>
          </p:cNvPr>
          <p:cNvSpPr/>
          <p:nvPr/>
        </p:nvSpPr>
        <p:spPr bwMode="auto">
          <a:xfrm>
            <a:off x="3669440" y="2406869"/>
            <a:ext cx="2699222" cy="567824"/>
          </a:xfrm>
          <a:prstGeom prst="rect">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304">
              <a:defRPr/>
            </a:pPr>
            <a:r>
              <a:rPr lang="en-US" sz="1600" b="1">
                <a:solidFill>
                  <a:schemeClr val="bg1"/>
                </a:solidFill>
              </a:rPr>
              <a:t>Disk Rental</a:t>
            </a:r>
            <a:endParaRPr lang="en-US" sz="1600" b="1" dirty="0">
              <a:solidFill>
                <a:schemeClr val="bg1"/>
              </a:solidFill>
            </a:endParaRPr>
          </a:p>
        </p:txBody>
      </p:sp>
      <p:sp>
        <p:nvSpPr>
          <p:cNvPr id="34" name="Rectangle 33">
            <a:extLst>
              <a:ext uri="{FF2B5EF4-FFF2-40B4-BE49-F238E27FC236}">
                <a16:creationId xmlns:a16="http://schemas.microsoft.com/office/drawing/2014/main" id="{B6ABF28B-A792-4BC1-A961-5A17B3DA12DB}"/>
              </a:ext>
            </a:extLst>
          </p:cNvPr>
          <p:cNvSpPr/>
          <p:nvPr/>
        </p:nvSpPr>
        <p:spPr bwMode="auto">
          <a:xfrm>
            <a:off x="6470778" y="2974695"/>
            <a:ext cx="2699222" cy="2286000"/>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31775" indent="-231775"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Capacity: 100TB</a:t>
            </a:r>
          </a:p>
          <a:p>
            <a:pPr marL="231775" indent="-231775"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Human scale: &lt; 50 lbs.</a:t>
            </a:r>
          </a:p>
          <a:p>
            <a:pPr marL="231775" indent="-231775"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Ruggedized, tamper, water resistant</a:t>
            </a:r>
          </a:p>
          <a:p>
            <a:pPr marL="231775" indent="-231775"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SMB Interface</a:t>
            </a:r>
          </a:p>
          <a:p>
            <a:pPr marL="231775" indent="-231775"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Large Fleet Size</a:t>
            </a:r>
          </a:p>
          <a:p>
            <a:pPr marL="231775" indent="-231775"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Automated Ordering and Managed Service in Azure</a:t>
            </a:r>
          </a:p>
        </p:txBody>
      </p:sp>
      <p:sp>
        <p:nvSpPr>
          <p:cNvPr id="35" name="Rectangle 34">
            <a:extLst>
              <a:ext uri="{FF2B5EF4-FFF2-40B4-BE49-F238E27FC236}">
                <a16:creationId xmlns:a16="http://schemas.microsoft.com/office/drawing/2014/main" id="{36AC1C35-5935-49EF-A561-E7BAF5380A4F}"/>
              </a:ext>
            </a:extLst>
          </p:cNvPr>
          <p:cNvSpPr/>
          <p:nvPr/>
        </p:nvSpPr>
        <p:spPr bwMode="auto">
          <a:xfrm>
            <a:off x="6470778" y="2406869"/>
            <a:ext cx="2699222" cy="567824"/>
          </a:xfrm>
          <a:prstGeom prst="rect">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304">
              <a:defRPr/>
            </a:pPr>
            <a:r>
              <a:rPr lang="en-US" sz="1600" b="1">
                <a:solidFill>
                  <a:schemeClr val="bg1"/>
                </a:solidFill>
              </a:rPr>
              <a:t>Data Box</a:t>
            </a:r>
            <a:endParaRPr lang="en-US" sz="1600" b="1" dirty="0">
              <a:solidFill>
                <a:schemeClr val="bg1"/>
              </a:solidFill>
            </a:endParaRPr>
          </a:p>
        </p:txBody>
      </p:sp>
      <p:sp>
        <p:nvSpPr>
          <p:cNvPr id="36" name="Rectangle 35">
            <a:extLst>
              <a:ext uri="{FF2B5EF4-FFF2-40B4-BE49-F238E27FC236}">
                <a16:creationId xmlns:a16="http://schemas.microsoft.com/office/drawing/2014/main" id="{D4CD4D07-C1CB-4188-AE5E-CB4AC57FA7BC}"/>
              </a:ext>
            </a:extLst>
          </p:cNvPr>
          <p:cNvSpPr/>
          <p:nvPr/>
        </p:nvSpPr>
        <p:spPr bwMode="auto">
          <a:xfrm>
            <a:off x="9272116" y="2974695"/>
            <a:ext cx="2699222" cy="2286000"/>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Capacity: &lt;64TB</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Deploy on Hyper-V or </a:t>
            </a:r>
            <a:r>
              <a:rPr lang="en-US" sz="1400" dirty="0" err="1">
                <a:solidFill>
                  <a:srgbClr val="505050"/>
                </a:solidFill>
                <a:ea typeface="Segoe UI" pitchFamily="34" charset="0"/>
                <a:cs typeface="Segoe UI" pitchFamily="34" charset="0"/>
              </a:rPr>
              <a:t>vShere</a:t>
            </a:r>
            <a:r>
              <a:rPr lang="en-US" sz="1400" dirty="0">
                <a:solidFill>
                  <a:srgbClr val="505050"/>
                </a:solidFill>
                <a:ea typeface="Segoe UI" pitchFamily="34" charset="0"/>
                <a:cs typeface="Segoe UI" pitchFamily="34" charset="0"/>
              </a:rPr>
              <a:t> host on-prem</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Replicate data to Azure</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Extract replicated data</a:t>
            </a:r>
          </a:p>
        </p:txBody>
      </p:sp>
      <p:sp>
        <p:nvSpPr>
          <p:cNvPr id="37" name="Rectangle 36">
            <a:extLst>
              <a:ext uri="{FF2B5EF4-FFF2-40B4-BE49-F238E27FC236}">
                <a16:creationId xmlns:a16="http://schemas.microsoft.com/office/drawing/2014/main" id="{552E53A7-CA20-476F-9142-501FE3BF0B86}"/>
              </a:ext>
            </a:extLst>
          </p:cNvPr>
          <p:cNvSpPr/>
          <p:nvPr/>
        </p:nvSpPr>
        <p:spPr bwMode="auto">
          <a:xfrm>
            <a:off x="9272116" y="2406869"/>
            <a:ext cx="2699222" cy="567824"/>
          </a:xfrm>
          <a:prstGeom prst="rect">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304">
              <a:defRPr/>
            </a:pPr>
            <a:r>
              <a:rPr lang="en-US" sz="1600" b="1">
                <a:solidFill>
                  <a:schemeClr val="bg1"/>
                </a:solidFill>
              </a:rPr>
              <a:t>StorSimple Virtual Appliance</a:t>
            </a:r>
            <a:endParaRPr lang="en-US" sz="1600" b="1" dirty="0">
              <a:solidFill>
                <a:schemeClr val="bg1"/>
              </a:solidFill>
            </a:endParaRPr>
          </a:p>
        </p:txBody>
      </p:sp>
      <p:sp>
        <p:nvSpPr>
          <p:cNvPr id="38" name="Rectangle 37">
            <a:extLst>
              <a:ext uri="{FF2B5EF4-FFF2-40B4-BE49-F238E27FC236}">
                <a16:creationId xmlns:a16="http://schemas.microsoft.com/office/drawing/2014/main" id="{BBB0F6C8-5FED-41A9-8AE6-5B1D14C9F044}"/>
              </a:ext>
            </a:extLst>
          </p:cNvPr>
          <p:cNvSpPr/>
          <p:nvPr/>
        </p:nvSpPr>
        <p:spPr>
          <a:xfrm rot="16200000">
            <a:off x="32077" y="5858902"/>
            <a:ext cx="1285326" cy="28460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51304">
              <a:defRPr/>
            </a:pPr>
            <a:r>
              <a:rPr lang="en-US" sz="1400" b="1" dirty="0">
                <a:solidFill>
                  <a:schemeClr val="tx1"/>
                </a:solidFill>
                <a:latin typeface="Segoe UI" panose="020B0502040204020203" pitchFamily="34" charset="0"/>
                <a:cs typeface="Segoe UI" panose="020B0502040204020203" pitchFamily="34" charset="0"/>
              </a:rPr>
              <a:t>Availability</a:t>
            </a:r>
          </a:p>
        </p:txBody>
      </p:sp>
      <p:sp>
        <p:nvSpPr>
          <p:cNvPr id="39" name="Rectangle 38">
            <a:extLst>
              <a:ext uri="{FF2B5EF4-FFF2-40B4-BE49-F238E27FC236}">
                <a16:creationId xmlns:a16="http://schemas.microsoft.com/office/drawing/2014/main" id="{674808E3-0F9E-4BA8-939E-8B386CB91A2A}"/>
              </a:ext>
            </a:extLst>
          </p:cNvPr>
          <p:cNvSpPr/>
          <p:nvPr/>
        </p:nvSpPr>
        <p:spPr>
          <a:xfrm rot="16200000">
            <a:off x="-468261" y="3975391"/>
            <a:ext cx="2286001" cy="284605"/>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51304">
              <a:defRPr/>
            </a:pPr>
            <a:r>
              <a:rPr lang="en-US" sz="1400" b="1" dirty="0">
                <a:solidFill>
                  <a:schemeClr val="tx1"/>
                </a:solidFill>
                <a:latin typeface="Segoe UI" panose="020B0502040204020203" pitchFamily="34" charset="0"/>
                <a:cs typeface="Segoe UI" panose="020B0502040204020203" pitchFamily="34" charset="0"/>
              </a:rPr>
              <a:t>Specifications</a:t>
            </a:r>
          </a:p>
        </p:txBody>
      </p:sp>
      <p:sp>
        <p:nvSpPr>
          <p:cNvPr id="40" name="Rectangle 39">
            <a:extLst>
              <a:ext uri="{FF2B5EF4-FFF2-40B4-BE49-F238E27FC236}">
                <a16:creationId xmlns:a16="http://schemas.microsoft.com/office/drawing/2014/main" id="{5F967837-EB6F-4923-A8A3-4E362DC8210B}"/>
              </a:ext>
            </a:extLst>
          </p:cNvPr>
          <p:cNvSpPr/>
          <p:nvPr/>
        </p:nvSpPr>
        <p:spPr bwMode="auto">
          <a:xfrm>
            <a:off x="868101" y="1235074"/>
            <a:ext cx="2699222" cy="1077201"/>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dirty="0">
              <a:solidFill>
                <a:srgbClr val="505050"/>
              </a:solidFill>
              <a:ea typeface="Segoe UI" pitchFamily="34" charset="0"/>
              <a:cs typeface="Segoe UI" pitchFamily="34" charset="0"/>
            </a:endParaRPr>
          </a:p>
        </p:txBody>
      </p:sp>
      <p:sp>
        <p:nvSpPr>
          <p:cNvPr id="41" name="Rectangle 40">
            <a:extLst>
              <a:ext uri="{FF2B5EF4-FFF2-40B4-BE49-F238E27FC236}">
                <a16:creationId xmlns:a16="http://schemas.microsoft.com/office/drawing/2014/main" id="{2385541F-5226-4296-A78C-A617B8960190}"/>
              </a:ext>
            </a:extLst>
          </p:cNvPr>
          <p:cNvSpPr/>
          <p:nvPr/>
        </p:nvSpPr>
        <p:spPr bwMode="auto">
          <a:xfrm>
            <a:off x="3669440" y="1235074"/>
            <a:ext cx="2699222" cy="1077201"/>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dirty="0">
              <a:solidFill>
                <a:srgbClr val="505050"/>
              </a:solidFill>
              <a:ea typeface="Segoe UI" pitchFamily="34" charset="0"/>
              <a:cs typeface="Segoe UI" pitchFamily="34" charset="0"/>
            </a:endParaRPr>
          </a:p>
        </p:txBody>
      </p:sp>
      <p:sp>
        <p:nvSpPr>
          <p:cNvPr id="42" name="Rectangle 41">
            <a:extLst>
              <a:ext uri="{FF2B5EF4-FFF2-40B4-BE49-F238E27FC236}">
                <a16:creationId xmlns:a16="http://schemas.microsoft.com/office/drawing/2014/main" id="{31075F4F-DA0E-4235-BF8C-D38E2EA4BB81}"/>
              </a:ext>
            </a:extLst>
          </p:cNvPr>
          <p:cNvSpPr/>
          <p:nvPr/>
        </p:nvSpPr>
        <p:spPr bwMode="auto">
          <a:xfrm>
            <a:off x="6470778" y="1235074"/>
            <a:ext cx="2699222" cy="1077201"/>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dirty="0">
              <a:solidFill>
                <a:srgbClr val="505050"/>
              </a:solidFill>
              <a:ea typeface="Segoe UI" pitchFamily="34" charset="0"/>
              <a:cs typeface="Segoe UI" pitchFamily="34" charset="0"/>
            </a:endParaRPr>
          </a:p>
        </p:txBody>
      </p:sp>
      <p:sp>
        <p:nvSpPr>
          <p:cNvPr id="43" name="Rectangle 42">
            <a:extLst>
              <a:ext uri="{FF2B5EF4-FFF2-40B4-BE49-F238E27FC236}">
                <a16:creationId xmlns:a16="http://schemas.microsoft.com/office/drawing/2014/main" id="{09A38C55-84FE-423B-8020-CF98A2E129A7}"/>
              </a:ext>
            </a:extLst>
          </p:cNvPr>
          <p:cNvSpPr/>
          <p:nvPr/>
        </p:nvSpPr>
        <p:spPr bwMode="auto">
          <a:xfrm>
            <a:off x="9272116" y="1235074"/>
            <a:ext cx="2699222" cy="1077201"/>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dirty="0">
              <a:solidFill>
                <a:srgbClr val="505050"/>
              </a:solidFill>
              <a:ea typeface="Segoe UI" pitchFamily="34" charset="0"/>
              <a:cs typeface="Segoe UI" pitchFamily="34" charset="0"/>
            </a:endParaRPr>
          </a:p>
        </p:txBody>
      </p:sp>
      <p:sp>
        <p:nvSpPr>
          <p:cNvPr id="44" name="Rectangle 43">
            <a:extLst>
              <a:ext uri="{FF2B5EF4-FFF2-40B4-BE49-F238E27FC236}">
                <a16:creationId xmlns:a16="http://schemas.microsoft.com/office/drawing/2014/main" id="{7DAA7829-160C-4C52-A6AA-E226C04041E7}"/>
              </a:ext>
            </a:extLst>
          </p:cNvPr>
          <p:cNvSpPr/>
          <p:nvPr/>
        </p:nvSpPr>
        <p:spPr bwMode="auto">
          <a:xfrm>
            <a:off x="868101" y="5358542"/>
            <a:ext cx="2699222" cy="1285327"/>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ts val="200"/>
              </a:spcBef>
              <a:spcAft>
                <a:spcPts val="400"/>
              </a:spcAft>
            </a:pPr>
            <a:r>
              <a:rPr lang="en-US" sz="1400" dirty="0">
                <a:solidFill>
                  <a:srgbClr val="505050"/>
                </a:solidFill>
                <a:ea typeface="Segoe UI" pitchFamily="34" charset="0"/>
                <a:cs typeface="Segoe UI" pitchFamily="34" charset="0"/>
              </a:rPr>
              <a:t>Currently Available</a:t>
            </a:r>
          </a:p>
        </p:txBody>
      </p:sp>
      <p:sp>
        <p:nvSpPr>
          <p:cNvPr id="45" name="Rectangle 44">
            <a:extLst>
              <a:ext uri="{FF2B5EF4-FFF2-40B4-BE49-F238E27FC236}">
                <a16:creationId xmlns:a16="http://schemas.microsoft.com/office/drawing/2014/main" id="{9295A5ED-CA5F-4FB6-B575-D0A35F3C3305}"/>
              </a:ext>
            </a:extLst>
          </p:cNvPr>
          <p:cNvSpPr/>
          <p:nvPr/>
        </p:nvSpPr>
        <p:spPr bwMode="auto">
          <a:xfrm>
            <a:off x="3669440" y="5358542"/>
            <a:ext cx="2699222" cy="1285327"/>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ts val="200"/>
              </a:spcBef>
              <a:spcAft>
                <a:spcPts val="400"/>
              </a:spcAft>
            </a:pPr>
            <a:r>
              <a:rPr lang="en-US" sz="1400" dirty="0">
                <a:solidFill>
                  <a:srgbClr val="505050"/>
                </a:solidFill>
                <a:ea typeface="Segoe UI" pitchFamily="34" charset="0"/>
                <a:cs typeface="Segoe UI" pitchFamily="34" charset="0"/>
              </a:rPr>
              <a:t>Preview Mid-year ‘18</a:t>
            </a:r>
          </a:p>
        </p:txBody>
      </p:sp>
      <p:sp>
        <p:nvSpPr>
          <p:cNvPr id="46" name="Rectangle 45">
            <a:extLst>
              <a:ext uri="{FF2B5EF4-FFF2-40B4-BE49-F238E27FC236}">
                <a16:creationId xmlns:a16="http://schemas.microsoft.com/office/drawing/2014/main" id="{18B6E8A4-91F7-4506-8C8B-B6C6B55E4E92}"/>
              </a:ext>
            </a:extLst>
          </p:cNvPr>
          <p:cNvSpPr/>
          <p:nvPr/>
        </p:nvSpPr>
        <p:spPr bwMode="auto">
          <a:xfrm>
            <a:off x="6470778" y="5358542"/>
            <a:ext cx="2699222" cy="1285327"/>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ts val="200"/>
              </a:spcBef>
              <a:spcAft>
                <a:spcPts val="400"/>
              </a:spcAft>
            </a:pPr>
            <a:r>
              <a:rPr lang="en-US" sz="1400" dirty="0">
                <a:solidFill>
                  <a:srgbClr val="505050"/>
                </a:solidFill>
                <a:ea typeface="Segoe UI" pitchFamily="34" charset="0"/>
                <a:cs typeface="Segoe UI" pitchFamily="34" charset="0"/>
              </a:rPr>
              <a:t>Currently in Preview</a:t>
            </a:r>
          </a:p>
        </p:txBody>
      </p:sp>
      <p:sp>
        <p:nvSpPr>
          <p:cNvPr id="47" name="Rectangle 46">
            <a:extLst>
              <a:ext uri="{FF2B5EF4-FFF2-40B4-BE49-F238E27FC236}">
                <a16:creationId xmlns:a16="http://schemas.microsoft.com/office/drawing/2014/main" id="{18CEA35B-957B-45CC-8F63-17C0FA32A510}"/>
              </a:ext>
            </a:extLst>
          </p:cNvPr>
          <p:cNvSpPr/>
          <p:nvPr/>
        </p:nvSpPr>
        <p:spPr bwMode="auto">
          <a:xfrm>
            <a:off x="9272116" y="5358542"/>
            <a:ext cx="2699222" cy="1285327"/>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ts val="200"/>
              </a:spcBef>
              <a:spcAft>
                <a:spcPts val="400"/>
              </a:spcAft>
            </a:pPr>
            <a:r>
              <a:rPr lang="en-US" sz="1400" dirty="0">
                <a:solidFill>
                  <a:srgbClr val="505050"/>
                </a:solidFill>
                <a:ea typeface="Segoe UI" pitchFamily="34" charset="0"/>
                <a:cs typeface="Segoe UI" pitchFamily="34" charset="0"/>
              </a:rPr>
              <a:t>Currently Available</a:t>
            </a:r>
          </a:p>
        </p:txBody>
      </p:sp>
      <p:pic>
        <p:nvPicPr>
          <p:cNvPr id="48" name="Picture 4">
            <a:extLst>
              <a:ext uri="{FF2B5EF4-FFF2-40B4-BE49-F238E27FC236}">
                <a16:creationId xmlns:a16="http://schemas.microsoft.com/office/drawing/2014/main" id="{CDA55170-B5C1-4710-855A-F65DFBA11CCC}"/>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7402308" y="1316474"/>
            <a:ext cx="836162" cy="914400"/>
          </a:xfrm>
          <a:prstGeom prst="rect">
            <a:avLst/>
          </a:prstGeom>
          <a:extLst>
            <a:ext uri="{909E8E84-426E-40DD-AFC4-6F175D3DCCD1}">
              <a14:hiddenFill xmlns:a14="http://schemas.microsoft.com/office/drawing/2010/main">
                <a:solidFill>
                  <a:srgbClr val="FFFFFF"/>
                </a:solidFill>
              </a14:hiddenFill>
            </a:ext>
          </a:extLst>
        </p:spPr>
      </p:pic>
      <p:pic>
        <p:nvPicPr>
          <p:cNvPr id="49" name="Picture 48">
            <a:extLst>
              <a:ext uri="{FF2B5EF4-FFF2-40B4-BE49-F238E27FC236}">
                <a16:creationId xmlns:a16="http://schemas.microsoft.com/office/drawing/2014/main" id="{DF2E0F95-4BD3-4FCB-B82B-281255C19C1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60512" y="1316474"/>
            <a:ext cx="914400" cy="914400"/>
          </a:xfrm>
          <a:prstGeom prst="rect">
            <a:avLst/>
          </a:prstGeom>
        </p:spPr>
      </p:pic>
      <p:pic>
        <p:nvPicPr>
          <p:cNvPr id="50" name="Picture 49">
            <a:extLst>
              <a:ext uri="{FF2B5EF4-FFF2-40B4-BE49-F238E27FC236}">
                <a16:creationId xmlns:a16="http://schemas.microsoft.com/office/drawing/2014/main" id="{E26C5045-62C5-49CA-BC26-B53150589B2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34147" y="1316474"/>
            <a:ext cx="1569808" cy="914400"/>
          </a:xfrm>
          <a:prstGeom prst="rect">
            <a:avLst/>
          </a:prstGeom>
        </p:spPr>
      </p:pic>
      <p:pic>
        <p:nvPicPr>
          <p:cNvPr id="51" name="Picture 50">
            <a:extLst>
              <a:ext uri="{FF2B5EF4-FFF2-40B4-BE49-F238E27FC236}">
                <a16:creationId xmlns:a16="http://schemas.microsoft.com/office/drawing/2014/main" id="{0AEAB0ED-5B12-481A-A87B-232B76917772}"/>
              </a:ext>
            </a:extLst>
          </p:cNvPr>
          <p:cNvPicPr>
            <a:picLocks noChangeAspect="1"/>
          </p:cNvPicPr>
          <p:nvPr/>
        </p:nvPicPr>
        <p:blipFill>
          <a:blip r:embed="rId5">
            <a:clrChange>
              <a:clrFrom>
                <a:srgbClr val="000000"/>
              </a:clrFrom>
              <a:clrTo>
                <a:srgbClr val="000000">
                  <a:alpha val="0"/>
                </a:srgbClr>
              </a:clrTo>
            </a:clrChange>
            <a:extLst/>
          </a:blip>
          <a:stretch>
            <a:fillRect/>
          </a:stretch>
        </p:blipFill>
        <p:spPr>
          <a:xfrm>
            <a:off x="10125561" y="1316474"/>
            <a:ext cx="992332" cy="914400"/>
          </a:xfrm>
          <a:prstGeom prst="rect">
            <a:avLst/>
          </a:prstGeom>
        </p:spPr>
      </p:pic>
    </p:spTree>
    <p:extLst>
      <p:ext uri="{BB962C8B-B14F-4D97-AF65-F5344CB8AC3E}">
        <p14:creationId xmlns:p14="http://schemas.microsoft.com/office/powerpoint/2010/main" val="36844307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1000"/>
                                        <p:tgtEl>
                                          <p:spTgt spid="51"/>
                                        </p:tgtEl>
                                      </p:cBhvr>
                                    </p:animEffect>
                                    <p:anim calcmode="lin" valueType="num">
                                      <p:cBhvr>
                                        <p:cTn id="8" dur="1000" fill="hold"/>
                                        <p:tgtEl>
                                          <p:spTgt spid="51"/>
                                        </p:tgtEl>
                                        <p:attrNameLst>
                                          <p:attrName>ppt_x</p:attrName>
                                        </p:attrNameLst>
                                      </p:cBhvr>
                                      <p:tavLst>
                                        <p:tav tm="0">
                                          <p:val>
                                            <p:strVal val="#ppt_x"/>
                                          </p:val>
                                        </p:tav>
                                        <p:tav tm="100000">
                                          <p:val>
                                            <p:strVal val="#ppt_x"/>
                                          </p:val>
                                        </p:tav>
                                      </p:tavLst>
                                    </p:anim>
                                    <p:anim calcmode="lin" valueType="num">
                                      <p:cBhvr>
                                        <p:cTn id="9" dur="1000" fill="hold"/>
                                        <p:tgtEl>
                                          <p:spTgt spid="5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44179-6EDD-4395-8E90-FE3EEF9BA97F}"/>
              </a:ext>
            </a:extLst>
          </p:cNvPr>
          <p:cNvSpPr>
            <a:spLocks noGrp="1"/>
          </p:cNvSpPr>
          <p:nvPr>
            <p:ph type="title"/>
          </p:nvPr>
        </p:nvSpPr>
        <p:spPr/>
        <p:txBody>
          <a:bodyPr/>
          <a:lstStyle/>
          <a:p>
            <a:r>
              <a:rPr lang="en-US" dirty="0"/>
              <a:t>Migration Assessment</a:t>
            </a:r>
          </a:p>
        </p:txBody>
      </p:sp>
      <p:sp>
        <p:nvSpPr>
          <p:cNvPr id="3" name="Text Placeholder 2">
            <a:extLst>
              <a:ext uri="{FF2B5EF4-FFF2-40B4-BE49-F238E27FC236}">
                <a16:creationId xmlns:a16="http://schemas.microsoft.com/office/drawing/2014/main" id="{57E88827-54A2-4FAB-9CC9-85AB26F9F492}"/>
              </a:ext>
            </a:extLst>
          </p:cNvPr>
          <p:cNvSpPr>
            <a:spLocks noGrp="1"/>
          </p:cNvSpPr>
          <p:nvPr>
            <p:ph type="body" sz="quarter" idx="4294967295"/>
          </p:nvPr>
        </p:nvSpPr>
        <p:spPr>
          <a:xfrm>
            <a:off x="1935480" y="3265154"/>
            <a:ext cx="10035857" cy="3216265"/>
          </a:xfrm>
        </p:spPr>
        <p:txBody>
          <a:bodyPr lIns="0" rIns="0" bIns="0"/>
          <a:lstStyle/>
          <a:p>
            <a:pPr marL="0" lvl="1" indent="0">
              <a:lnSpc>
                <a:spcPct val="100000"/>
              </a:lnSpc>
              <a:spcBef>
                <a:spcPts val="100"/>
              </a:spcBef>
              <a:spcAft>
                <a:spcPts val="600"/>
              </a:spcAft>
              <a:buNone/>
            </a:pPr>
            <a:r>
              <a:rPr lang="en-US" sz="2800" dirty="0">
                <a:solidFill>
                  <a:schemeClr val="tx1"/>
                </a:solidFill>
              </a:rPr>
              <a:t>Steps</a:t>
            </a:r>
          </a:p>
          <a:p>
            <a:pPr marL="274320" lvl="1" indent="-274320">
              <a:lnSpc>
                <a:spcPct val="100000"/>
              </a:lnSpc>
              <a:spcBef>
                <a:spcPts val="100"/>
              </a:spcBef>
              <a:spcAft>
                <a:spcPts val="600"/>
              </a:spcAft>
              <a:buFont typeface="Arial" panose="020B0604020202020204" pitchFamily="34" charset="0"/>
              <a:buChar char="•"/>
            </a:pPr>
            <a:r>
              <a:rPr lang="en-US" sz="2000" dirty="0">
                <a:latin typeface="+mn-lt"/>
              </a:rPr>
              <a:t>Deploy </a:t>
            </a:r>
            <a:r>
              <a:rPr lang="en-US" sz="2000" dirty="0" err="1">
                <a:latin typeface="+mn-lt"/>
              </a:rPr>
              <a:t>Cloudamize</a:t>
            </a:r>
            <a:r>
              <a:rPr lang="en-US" sz="2000" dirty="0">
                <a:latin typeface="+mn-lt"/>
              </a:rPr>
              <a:t> in the source environment on all servers with migration potential</a:t>
            </a:r>
          </a:p>
          <a:p>
            <a:pPr marL="274320" lvl="1" indent="-274320">
              <a:lnSpc>
                <a:spcPct val="100000"/>
              </a:lnSpc>
              <a:spcBef>
                <a:spcPts val="100"/>
              </a:spcBef>
              <a:spcAft>
                <a:spcPts val="600"/>
              </a:spcAft>
              <a:buFont typeface="Arial" panose="020B0604020202020204" pitchFamily="34" charset="0"/>
              <a:buChar char="•"/>
            </a:pPr>
            <a:r>
              <a:rPr lang="en-US" sz="2000" dirty="0">
                <a:latin typeface="+mn-lt"/>
              </a:rPr>
              <a:t>Leave it for 2 weeks to collect data</a:t>
            </a:r>
          </a:p>
          <a:p>
            <a:pPr marL="274320" lvl="1" indent="-274320">
              <a:lnSpc>
                <a:spcPct val="100000"/>
              </a:lnSpc>
              <a:spcBef>
                <a:spcPts val="100"/>
              </a:spcBef>
              <a:spcAft>
                <a:spcPts val="600"/>
              </a:spcAft>
              <a:buFont typeface="Arial" panose="020B0604020202020204" pitchFamily="34" charset="0"/>
              <a:buChar char="•"/>
            </a:pPr>
            <a:r>
              <a:rPr lang="en-US" sz="2000" dirty="0">
                <a:latin typeface="+mn-lt"/>
              </a:rPr>
              <a:t>Cloudamize detects OSs and SQL Server editions, analyzes usage trends to recommend RIs and checks if ASR can be used for </a:t>
            </a:r>
            <a:r>
              <a:rPr lang="en-US" sz="2000" dirty="0" err="1">
                <a:latin typeface="+mn-lt"/>
              </a:rPr>
              <a:t>lift&amp;shift</a:t>
            </a:r>
            <a:r>
              <a:rPr lang="en-US" sz="2000" dirty="0">
                <a:latin typeface="+mn-lt"/>
              </a:rPr>
              <a:t> migration</a:t>
            </a:r>
          </a:p>
          <a:p>
            <a:pPr marL="274320" lvl="1" indent="-274320">
              <a:lnSpc>
                <a:spcPct val="100000"/>
              </a:lnSpc>
              <a:spcBef>
                <a:spcPts val="100"/>
              </a:spcBef>
              <a:spcAft>
                <a:spcPts val="600"/>
              </a:spcAft>
              <a:buFont typeface="Arial" panose="020B0604020202020204" pitchFamily="34" charset="0"/>
              <a:buChar char="•"/>
            </a:pPr>
            <a:r>
              <a:rPr lang="en-US" sz="2000" dirty="0">
                <a:latin typeface="+mn-lt"/>
              </a:rPr>
              <a:t>Use DMA to assess detected SQL Server workloads</a:t>
            </a:r>
          </a:p>
          <a:p>
            <a:pPr marL="274320" lvl="1" indent="-274320">
              <a:lnSpc>
                <a:spcPct val="100000"/>
              </a:lnSpc>
              <a:spcBef>
                <a:spcPts val="100"/>
              </a:spcBef>
              <a:spcAft>
                <a:spcPts val="600"/>
              </a:spcAft>
              <a:buFont typeface="Arial" panose="020B0604020202020204" pitchFamily="34" charset="0"/>
              <a:buChar char="•"/>
            </a:pPr>
            <a:r>
              <a:rPr lang="en-US" sz="2000" dirty="0">
                <a:latin typeface="+mn-lt"/>
              </a:rPr>
              <a:t>Detect non-SQL Server databases and select a migration approach manually</a:t>
            </a:r>
          </a:p>
          <a:p>
            <a:pPr marL="274320" lvl="1" indent="-274320">
              <a:lnSpc>
                <a:spcPct val="100000"/>
              </a:lnSpc>
              <a:spcBef>
                <a:spcPts val="100"/>
              </a:spcBef>
              <a:spcAft>
                <a:spcPts val="600"/>
              </a:spcAft>
              <a:buFont typeface="Arial" panose="020B0604020202020204" pitchFamily="34" charset="0"/>
              <a:buChar char="•"/>
            </a:pPr>
            <a:r>
              <a:rPr lang="en-US" sz="2000" dirty="0">
                <a:latin typeface="+mn-lt"/>
              </a:rPr>
              <a:t>Build reports and prepare offers for each customer</a:t>
            </a:r>
          </a:p>
        </p:txBody>
      </p:sp>
      <p:grpSp>
        <p:nvGrpSpPr>
          <p:cNvPr id="19" name="Group 18">
            <a:extLst>
              <a:ext uri="{FF2B5EF4-FFF2-40B4-BE49-F238E27FC236}">
                <a16:creationId xmlns:a16="http://schemas.microsoft.com/office/drawing/2014/main" id="{43047E83-991C-4FE3-B880-B8B060DF85C9}"/>
              </a:ext>
            </a:extLst>
          </p:cNvPr>
          <p:cNvGrpSpPr/>
          <p:nvPr/>
        </p:nvGrpSpPr>
        <p:grpSpPr>
          <a:xfrm>
            <a:off x="343218" y="1193019"/>
            <a:ext cx="1470342" cy="1470342"/>
            <a:chOff x="343218" y="1193019"/>
            <a:chExt cx="1470342" cy="1470342"/>
          </a:xfrm>
        </p:grpSpPr>
        <p:sp>
          <p:nvSpPr>
            <p:cNvPr id="20" name="Oval 19">
              <a:extLst>
                <a:ext uri="{FF2B5EF4-FFF2-40B4-BE49-F238E27FC236}">
                  <a16:creationId xmlns:a16="http://schemas.microsoft.com/office/drawing/2014/main" id="{D401B50E-F76F-4FA7-9D8C-06BCEB62C265}"/>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21" name="Arc 20">
              <a:extLst>
                <a:ext uri="{FF2B5EF4-FFF2-40B4-BE49-F238E27FC236}">
                  <a16:creationId xmlns:a16="http://schemas.microsoft.com/office/drawing/2014/main" id="{DBB052CC-0AF5-4959-BAF7-2186A6C29332}"/>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22" name="Rectangle 21">
            <a:extLst>
              <a:ext uri="{FF2B5EF4-FFF2-40B4-BE49-F238E27FC236}">
                <a16:creationId xmlns:a16="http://schemas.microsoft.com/office/drawing/2014/main" id="{F215DAB0-358A-499A-9B39-DF1A55A80922}"/>
              </a:ext>
            </a:extLst>
          </p:cNvPr>
          <p:cNvSpPr/>
          <p:nvPr/>
        </p:nvSpPr>
        <p:spPr>
          <a:xfrm>
            <a:off x="1935480" y="1451137"/>
            <a:ext cx="10035858" cy="861774"/>
          </a:xfrm>
          <a:prstGeom prst="rect">
            <a:avLst/>
          </a:prstGeom>
        </p:spPr>
        <p:txBody>
          <a:bodyPr wrap="square" lIns="0" tIns="0" rIns="0" bIns="0">
            <a:spAutoFit/>
          </a:bodyPr>
          <a:lstStyle/>
          <a:p>
            <a:r>
              <a:rPr lang="en-US" sz="2800" dirty="0">
                <a:latin typeface="+mj-lt"/>
              </a:rPr>
              <a:t>Purpose of migration assessment – build a detailed migration plan and present it to customers</a:t>
            </a:r>
            <a:endParaRPr lang="en-IN" sz="2800" dirty="0">
              <a:latin typeface="+mj-lt"/>
            </a:endParaRPr>
          </a:p>
        </p:txBody>
      </p:sp>
      <p:cxnSp>
        <p:nvCxnSpPr>
          <p:cNvPr id="28" name="Straight Connector 27">
            <a:extLst>
              <a:ext uri="{FF2B5EF4-FFF2-40B4-BE49-F238E27FC236}">
                <a16:creationId xmlns:a16="http://schemas.microsoft.com/office/drawing/2014/main" id="{C330885D-6C7F-4746-8F7C-C16BBC1E554B}"/>
              </a:ext>
            </a:extLst>
          </p:cNvPr>
          <p:cNvCxnSpPr>
            <a:cxnSpLocks/>
          </p:cNvCxnSpPr>
          <p:nvPr/>
        </p:nvCxnSpPr>
        <p:spPr>
          <a:xfrm>
            <a:off x="1935480" y="2835199"/>
            <a:ext cx="10035857"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847E0EEE-E088-4FD2-AB8C-2851D628C662}"/>
              </a:ext>
            </a:extLst>
          </p:cNvPr>
          <p:cNvGrpSpPr/>
          <p:nvPr/>
        </p:nvGrpSpPr>
        <p:grpSpPr>
          <a:xfrm>
            <a:off x="343218" y="2971394"/>
            <a:ext cx="1470342" cy="1470342"/>
            <a:chOff x="343218" y="2937006"/>
            <a:chExt cx="1470342" cy="1470342"/>
          </a:xfrm>
        </p:grpSpPr>
        <p:sp>
          <p:nvSpPr>
            <p:cNvPr id="30" name="Oval 29">
              <a:extLst>
                <a:ext uri="{FF2B5EF4-FFF2-40B4-BE49-F238E27FC236}">
                  <a16:creationId xmlns:a16="http://schemas.microsoft.com/office/drawing/2014/main" id="{342D05AA-E582-4DF0-9FA3-6334545EB7D3}"/>
                </a:ext>
              </a:extLst>
            </p:cNvPr>
            <p:cNvSpPr/>
            <p:nvPr/>
          </p:nvSpPr>
          <p:spPr bwMode="auto">
            <a:xfrm>
              <a:off x="465138" y="3058929"/>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31" name="Arc 30">
              <a:extLst>
                <a:ext uri="{FF2B5EF4-FFF2-40B4-BE49-F238E27FC236}">
                  <a16:creationId xmlns:a16="http://schemas.microsoft.com/office/drawing/2014/main" id="{60882385-142A-4B5C-AED9-93EC4413C833}"/>
                </a:ext>
              </a:extLst>
            </p:cNvPr>
            <p:cNvSpPr/>
            <p:nvPr/>
          </p:nvSpPr>
          <p:spPr>
            <a:xfrm flipH="1">
              <a:off x="343218" y="2937006"/>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34" name="Rectangle 110">
            <a:extLst>
              <a:ext uri="{FF2B5EF4-FFF2-40B4-BE49-F238E27FC236}">
                <a16:creationId xmlns:a16="http://schemas.microsoft.com/office/drawing/2014/main" id="{23F5D31B-F068-478E-B294-C690CDA88A22}"/>
              </a:ext>
            </a:extLst>
          </p:cNvPr>
          <p:cNvSpPr/>
          <p:nvPr/>
        </p:nvSpPr>
        <p:spPr>
          <a:xfrm>
            <a:off x="669677" y="3405148"/>
            <a:ext cx="817424" cy="525432"/>
          </a:xfrm>
          <a:custGeom>
            <a:avLst/>
            <a:gdLst/>
            <a:ahLst/>
            <a:cxnLst/>
            <a:rect l="l" t="t" r="r" b="b"/>
            <a:pathLst>
              <a:path w="1849310" h="1188720">
                <a:moveTo>
                  <a:pt x="307975" y="1119028"/>
                </a:moveTo>
                <a:lnTo>
                  <a:pt x="376079" y="1119028"/>
                </a:lnTo>
                <a:lnTo>
                  <a:pt x="376079" y="1187132"/>
                </a:lnTo>
                <a:lnTo>
                  <a:pt x="307975" y="1187132"/>
                </a:lnTo>
                <a:close/>
                <a:moveTo>
                  <a:pt x="556134" y="1050924"/>
                </a:moveTo>
                <a:lnTo>
                  <a:pt x="624238" y="1050924"/>
                </a:lnTo>
                <a:lnTo>
                  <a:pt x="624238" y="1187132"/>
                </a:lnTo>
                <a:lnTo>
                  <a:pt x="419926" y="1187132"/>
                </a:lnTo>
                <a:lnTo>
                  <a:pt x="419926" y="1119028"/>
                </a:lnTo>
                <a:lnTo>
                  <a:pt x="488030" y="1119028"/>
                </a:lnTo>
                <a:lnTo>
                  <a:pt x="556134" y="1119028"/>
                </a:lnTo>
                <a:close/>
                <a:moveTo>
                  <a:pt x="203200" y="1050924"/>
                </a:moveTo>
                <a:lnTo>
                  <a:pt x="271304" y="1050924"/>
                </a:lnTo>
                <a:lnTo>
                  <a:pt x="271304" y="1119028"/>
                </a:lnTo>
                <a:lnTo>
                  <a:pt x="203200" y="1119028"/>
                </a:lnTo>
                <a:close/>
                <a:moveTo>
                  <a:pt x="488030" y="982820"/>
                </a:moveTo>
                <a:lnTo>
                  <a:pt x="556134" y="982820"/>
                </a:lnTo>
                <a:lnTo>
                  <a:pt x="556134" y="1050924"/>
                </a:lnTo>
                <a:lnTo>
                  <a:pt x="488030" y="1050924"/>
                </a:lnTo>
                <a:close/>
                <a:moveTo>
                  <a:pt x="307975" y="982820"/>
                </a:moveTo>
                <a:lnTo>
                  <a:pt x="376079" y="982820"/>
                </a:lnTo>
                <a:lnTo>
                  <a:pt x="376079" y="1050924"/>
                </a:lnTo>
                <a:lnTo>
                  <a:pt x="307975" y="1050924"/>
                </a:lnTo>
                <a:close/>
                <a:moveTo>
                  <a:pt x="0" y="982820"/>
                </a:moveTo>
                <a:lnTo>
                  <a:pt x="68104" y="982820"/>
                </a:lnTo>
                <a:lnTo>
                  <a:pt x="68104" y="1050924"/>
                </a:lnTo>
                <a:lnTo>
                  <a:pt x="0" y="1050924"/>
                </a:lnTo>
                <a:close/>
                <a:moveTo>
                  <a:pt x="556134" y="914716"/>
                </a:moveTo>
                <a:lnTo>
                  <a:pt x="624238" y="914716"/>
                </a:lnTo>
                <a:lnTo>
                  <a:pt x="624238" y="982820"/>
                </a:lnTo>
                <a:lnTo>
                  <a:pt x="556134" y="982820"/>
                </a:lnTo>
                <a:close/>
                <a:moveTo>
                  <a:pt x="405214" y="817245"/>
                </a:moveTo>
                <a:lnTo>
                  <a:pt x="473318" y="817245"/>
                </a:lnTo>
                <a:lnTo>
                  <a:pt x="473318" y="885349"/>
                </a:lnTo>
                <a:lnTo>
                  <a:pt x="405214" y="885349"/>
                </a:lnTo>
                <a:close/>
                <a:moveTo>
                  <a:pt x="1114268" y="815354"/>
                </a:moveTo>
                <a:lnTo>
                  <a:pt x="1114268" y="1188720"/>
                </a:lnTo>
                <a:lnTo>
                  <a:pt x="913100" y="1188720"/>
                </a:lnTo>
                <a:lnTo>
                  <a:pt x="913100" y="917151"/>
                </a:lnTo>
                <a:close/>
                <a:moveTo>
                  <a:pt x="135096" y="772795"/>
                </a:moveTo>
                <a:lnTo>
                  <a:pt x="203200" y="772795"/>
                </a:lnTo>
                <a:lnTo>
                  <a:pt x="203200" y="840899"/>
                </a:lnTo>
                <a:lnTo>
                  <a:pt x="135096" y="840899"/>
                </a:lnTo>
                <a:close/>
                <a:moveTo>
                  <a:pt x="668085" y="731520"/>
                </a:moveTo>
                <a:lnTo>
                  <a:pt x="801149" y="731520"/>
                </a:lnTo>
                <a:lnTo>
                  <a:pt x="801149" y="799624"/>
                </a:lnTo>
                <a:lnTo>
                  <a:pt x="869253" y="799624"/>
                </a:lnTo>
                <a:lnTo>
                  <a:pt x="869253" y="836858"/>
                </a:lnTo>
                <a:lnTo>
                  <a:pt x="669618" y="937879"/>
                </a:lnTo>
                <a:lnTo>
                  <a:pt x="710904" y="1019468"/>
                </a:lnTo>
                <a:lnTo>
                  <a:pt x="869253" y="939338"/>
                </a:lnTo>
                <a:lnTo>
                  <a:pt x="869253" y="1188720"/>
                </a:lnTo>
                <a:lnTo>
                  <a:pt x="668085" y="1188720"/>
                </a:lnTo>
                <a:close/>
                <a:moveTo>
                  <a:pt x="1359283" y="691369"/>
                </a:moveTo>
                <a:lnTo>
                  <a:pt x="1359283" y="1188720"/>
                </a:lnTo>
                <a:lnTo>
                  <a:pt x="1158115" y="1188720"/>
                </a:lnTo>
                <a:lnTo>
                  <a:pt x="1158115" y="793166"/>
                </a:lnTo>
                <a:close/>
                <a:moveTo>
                  <a:pt x="801149" y="663416"/>
                </a:moveTo>
                <a:lnTo>
                  <a:pt x="869253" y="663416"/>
                </a:lnTo>
                <a:lnTo>
                  <a:pt x="869253" y="731520"/>
                </a:lnTo>
                <a:lnTo>
                  <a:pt x="801149" y="731520"/>
                </a:lnTo>
                <a:close/>
                <a:moveTo>
                  <a:pt x="1604298" y="567384"/>
                </a:moveTo>
                <a:lnTo>
                  <a:pt x="1604298" y="1188720"/>
                </a:lnTo>
                <a:lnTo>
                  <a:pt x="1403130" y="1188720"/>
                </a:lnTo>
                <a:lnTo>
                  <a:pt x="1403130" y="669181"/>
                </a:lnTo>
                <a:close/>
                <a:moveTo>
                  <a:pt x="913100" y="548640"/>
                </a:moveTo>
                <a:lnTo>
                  <a:pt x="1114268" y="548640"/>
                </a:lnTo>
                <a:lnTo>
                  <a:pt x="1114268" y="712873"/>
                </a:lnTo>
                <a:lnTo>
                  <a:pt x="913100" y="814670"/>
                </a:lnTo>
                <a:close/>
                <a:moveTo>
                  <a:pt x="249408" y="466647"/>
                </a:moveTo>
                <a:lnTo>
                  <a:pt x="317512" y="466647"/>
                </a:lnTo>
                <a:lnTo>
                  <a:pt x="317512" y="534751"/>
                </a:lnTo>
                <a:lnTo>
                  <a:pt x="249408" y="534751"/>
                </a:lnTo>
                <a:close/>
                <a:moveTo>
                  <a:pt x="1158115" y="365760"/>
                </a:moveTo>
                <a:lnTo>
                  <a:pt x="1359283" y="365760"/>
                </a:lnTo>
                <a:lnTo>
                  <a:pt x="1359283" y="588888"/>
                </a:lnTo>
                <a:lnTo>
                  <a:pt x="1158115" y="690685"/>
                </a:lnTo>
                <a:close/>
                <a:moveTo>
                  <a:pt x="1403130" y="182880"/>
                </a:moveTo>
                <a:lnTo>
                  <a:pt x="1604298" y="182880"/>
                </a:lnTo>
                <a:lnTo>
                  <a:pt x="1604298" y="464903"/>
                </a:lnTo>
                <a:lnTo>
                  <a:pt x="1403130" y="566700"/>
                </a:lnTo>
                <a:close/>
                <a:moveTo>
                  <a:pt x="1648142" y="0"/>
                </a:moveTo>
                <a:lnTo>
                  <a:pt x="1849310" y="0"/>
                </a:lnTo>
                <a:lnTo>
                  <a:pt x="1849310" y="1188720"/>
                </a:lnTo>
                <a:lnTo>
                  <a:pt x="1648142" y="1188720"/>
                </a:lnTo>
                <a:lnTo>
                  <a:pt x="1648142" y="545198"/>
                </a:lnTo>
                <a:lnTo>
                  <a:pt x="1771558" y="482746"/>
                </a:lnTo>
                <a:lnTo>
                  <a:pt x="1792201" y="523540"/>
                </a:lnTo>
                <a:lnTo>
                  <a:pt x="1832503" y="400665"/>
                </a:lnTo>
                <a:lnTo>
                  <a:pt x="1709628" y="360363"/>
                </a:lnTo>
                <a:lnTo>
                  <a:pt x="1730271" y="401157"/>
                </a:lnTo>
                <a:lnTo>
                  <a:pt x="1648142" y="44271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39" name="Freeform 22">
            <a:extLst>
              <a:ext uri="{FF2B5EF4-FFF2-40B4-BE49-F238E27FC236}">
                <a16:creationId xmlns:a16="http://schemas.microsoft.com/office/drawing/2014/main" id="{72C69D24-8B4D-4BA0-8E92-7E810E818470}"/>
              </a:ext>
            </a:extLst>
          </p:cNvPr>
          <p:cNvSpPr>
            <a:spLocks noEditPoints="1"/>
          </p:cNvSpPr>
          <p:nvPr/>
        </p:nvSpPr>
        <p:spPr bwMode="black">
          <a:xfrm>
            <a:off x="681406" y="1531311"/>
            <a:ext cx="793966" cy="793759"/>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marL="0" marR="0" lvl="0" indent="0" algn="l" defTabSz="914363"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74305743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CE899-0009-4274-82DE-76FBBA6137A4}"/>
              </a:ext>
            </a:extLst>
          </p:cNvPr>
          <p:cNvSpPr>
            <a:spLocks noGrp="1"/>
          </p:cNvSpPr>
          <p:nvPr>
            <p:ph type="title"/>
          </p:nvPr>
        </p:nvSpPr>
        <p:spPr/>
        <p:txBody>
          <a:bodyPr/>
          <a:lstStyle/>
          <a:p>
            <a:r>
              <a:rPr lang="en-US"/>
              <a:t>Demo: Azure Calculator for CSP Partners</a:t>
            </a:r>
            <a:endParaRPr lang="en-IN" dirty="0"/>
          </a:p>
        </p:txBody>
      </p:sp>
    </p:spTree>
    <p:extLst>
      <p:ext uri="{BB962C8B-B14F-4D97-AF65-F5344CB8AC3E}">
        <p14:creationId xmlns:p14="http://schemas.microsoft.com/office/powerpoint/2010/main" val="1515024130"/>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140199-9766-440C-9673-EC917A4D5D6B}"/>
              </a:ext>
            </a:extLst>
          </p:cNvPr>
          <p:cNvSpPr>
            <a:spLocks noGrp="1"/>
          </p:cNvSpPr>
          <p:nvPr>
            <p:ph type="title"/>
          </p:nvPr>
        </p:nvSpPr>
        <p:spPr/>
        <p:txBody>
          <a:bodyPr/>
          <a:lstStyle/>
          <a:p>
            <a:r>
              <a:rPr lang="en-US" dirty="0" err="1"/>
              <a:t>VM</a:t>
            </a:r>
            <a:r>
              <a:rPr lang="en-US" dirty="0"/>
              <a:t> assessment with </a:t>
            </a:r>
            <a:r>
              <a:rPr lang="en-US" dirty="0" err="1"/>
              <a:t>Cloudamize</a:t>
            </a:r>
            <a:endParaRPr lang="en-US" dirty="0"/>
          </a:p>
        </p:txBody>
      </p:sp>
      <p:sp>
        <p:nvSpPr>
          <p:cNvPr id="26" name="Rectangle 25">
            <a:extLst>
              <a:ext uri="{FF2B5EF4-FFF2-40B4-BE49-F238E27FC236}">
                <a16:creationId xmlns:a16="http://schemas.microsoft.com/office/drawing/2014/main" id="{057D7B6C-0EF8-4996-B45E-A16EB0C6FCAF}"/>
              </a:ext>
            </a:extLst>
          </p:cNvPr>
          <p:cNvSpPr/>
          <p:nvPr/>
        </p:nvSpPr>
        <p:spPr>
          <a:xfrm>
            <a:off x="920801" y="1450163"/>
            <a:ext cx="11050537" cy="369332"/>
          </a:xfrm>
          <a:prstGeom prst="rect">
            <a:avLst/>
          </a:prstGeom>
        </p:spPr>
        <p:txBody>
          <a:bodyPr wrap="square" lIns="0" tIns="0" rIns="0" bIns="0">
            <a:spAutoFit/>
          </a:bodyPr>
          <a:lstStyle/>
          <a:p>
            <a:r>
              <a:rPr lang="en-US" sz="2400" dirty="0">
                <a:solidFill>
                  <a:schemeClr val="tx2"/>
                </a:solidFill>
                <a:latin typeface="+mj-lt"/>
              </a:rPr>
              <a:t>SaaS solution for cloud migration discovery &amp; assessment</a:t>
            </a:r>
          </a:p>
        </p:txBody>
      </p:sp>
      <p:sp>
        <p:nvSpPr>
          <p:cNvPr id="28" name="Rectangle 27">
            <a:extLst>
              <a:ext uri="{FF2B5EF4-FFF2-40B4-BE49-F238E27FC236}">
                <a16:creationId xmlns:a16="http://schemas.microsoft.com/office/drawing/2014/main" id="{EA861F2A-14D7-420F-8A1C-D30C21822E38}"/>
              </a:ext>
            </a:extLst>
          </p:cNvPr>
          <p:cNvSpPr/>
          <p:nvPr/>
        </p:nvSpPr>
        <p:spPr>
          <a:xfrm>
            <a:off x="920801" y="2229905"/>
            <a:ext cx="11050537" cy="369332"/>
          </a:xfrm>
          <a:prstGeom prst="rect">
            <a:avLst/>
          </a:prstGeom>
        </p:spPr>
        <p:txBody>
          <a:bodyPr wrap="square" lIns="0" tIns="0" rIns="0" bIns="0">
            <a:spAutoFit/>
          </a:bodyPr>
          <a:lstStyle/>
          <a:p>
            <a:r>
              <a:rPr lang="en-US" sz="2400" dirty="0">
                <a:solidFill>
                  <a:schemeClr val="tx2"/>
                </a:solidFill>
                <a:latin typeface="+mj-lt"/>
              </a:rPr>
              <a:t>Supports VMWare 5.0+, Hyper-V 2008 R2+ and non-virtualized servers</a:t>
            </a:r>
          </a:p>
        </p:txBody>
      </p:sp>
      <p:sp>
        <p:nvSpPr>
          <p:cNvPr id="32" name="Arrow: Bent 31">
            <a:extLst>
              <a:ext uri="{FF2B5EF4-FFF2-40B4-BE49-F238E27FC236}">
                <a16:creationId xmlns:a16="http://schemas.microsoft.com/office/drawing/2014/main" id="{0DC91ECB-BC50-4788-BCEF-CAEBC0AF1A34}"/>
              </a:ext>
            </a:extLst>
          </p:cNvPr>
          <p:cNvSpPr/>
          <p:nvPr/>
        </p:nvSpPr>
        <p:spPr bwMode="auto">
          <a:xfrm rot="5400000">
            <a:off x="-2002348" y="3316361"/>
            <a:ext cx="4715894" cy="711200"/>
          </a:xfrm>
          <a:prstGeom prst="bentArrow">
            <a:avLst>
              <a:gd name="adj1" fmla="val 0"/>
              <a:gd name="adj2" fmla="val 0"/>
              <a:gd name="adj3" fmla="val 0"/>
              <a:gd name="adj4" fmla="val 33036"/>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a:extLst>
              <a:ext uri="{FF2B5EF4-FFF2-40B4-BE49-F238E27FC236}">
                <a16:creationId xmlns:a16="http://schemas.microsoft.com/office/drawing/2014/main" id="{ACAED49F-E5B7-4A4E-9375-F679BDFCD8CC}"/>
              </a:ext>
            </a:extLst>
          </p:cNvPr>
          <p:cNvSpPr/>
          <p:nvPr/>
        </p:nvSpPr>
        <p:spPr>
          <a:xfrm>
            <a:off x="920801" y="3009647"/>
            <a:ext cx="11050537" cy="369332"/>
          </a:xfrm>
          <a:prstGeom prst="rect">
            <a:avLst/>
          </a:prstGeom>
        </p:spPr>
        <p:txBody>
          <a:bodyPr wrap="square" lIns="0" tIns="0" rIns="0" bIns="0">
            <a:spAutoFit/>
          </a:bodyPr>
          <a:lstStyle/>
          <a:p>
            <a:r>
              <a:rPr lang="en-US" sz="2400" dirty="0" err="1">
                <a:solidFill>
                  <a:schemeClr val="tx2"/>
                </a:solidFill>
                <a:latin typeface="+mj-lt"/>
              </a:rPr>
              <a:t>VMs</a:t>
            </a:r>
            <a:r>
              <a:rPr lang="en-US" sz="2400" dirty="0">
                <a:solidFill>
                  <a:schemeClr val="tx2"/>
                </a:solidFill>
                <a:latin typeface="+mj-lt"/>
              </a:rPr>
              <a:t> running on exotic hypervisors can be treated as non-virtualized servers</a:t>
            </a:r>
          </a:p>
        </p:txBody>
      </p:sp>
      <p:sp>
        <p:nvSpPr>
          <p:cNvPr id="37" name="Rectangle 36">
            <a:extLst>
              <a:ext uri="{FF2B5EF4-FFF2-40B4-BE49-F238E27FC236}">
                <a16:creationId xmlns:a16="http://schemas.microsoft.com/office/drawing/2014/main" id="{2A47442F-CD58-4E18-9AF9-A6B33D4D1404}"/>
              </a:ext>
            </a:extLst>
          </p:cNvPr>
          <p:cNvSpPr/>
          <p:nvPr/>
        </p:nvSpPr>
        <p:spPr>
          <a:xfrm>
            <a:off x="920801" y="3789389"/>
            <a:ext cx="11050537" cy="369332"/>
          </a:xfrm>
          <a:prstGeom prst="rect">
            <a:avLst/>
          </a:prstGeom>
        </p:spPr>
        <p:txBody>
          <a:bodyPr wrap="square" lIns="0" tIns="0" rIns="0" bIns="0">
            <a:spAutoFit/>
          </a:bodyPr>
          <a:lstStyle/>
          <a:p>
            <a:r>
              <a:rPr lang="en-US" sz="2400" dirty="0">
                <a:solidFill>
                  <a:schemeClr val="tx2"/>
                </a:solidFill>
                <a:latin typeface="+mj-lt"/>
              </a:rPr>
              <a:t>Hypervisor lever assessment for </a:t>
            </a:r>
            <a:r>
              <a:rPr lang="en-US" sz="2400" dirty="0" err="1">
                <a:solidFill>
                  <a:schemeClr val="tx2"/>
                </a:solidFill>
                <a:latin typeface="+mj-lt"/>
              </a:rPr>
              <a:t>Vmware</a:t>
            </a:r>
            <a:r>
              <a:rPr lang="en-US" sz="2400" dirty="0">
                <a:solidFill>
                  <a:schemeClr val="tx2"/>
                </a:solidFill>
                <a:latin typeface="+mj-lt"/>
              </a:rPr>
              <a:t> – no need to touch tenant </a:t>
            </a:r>
            <a:r>
              <a:rPr lang="en-US" sz="2400" dirty="0" err="1">
                <a:solidFill>
                  <a:schemeClr val="tx2"/>
                </a:solidFill>
                <a:latin typeface="+mj-lt"/>
              </a:rPr>
              <a:t>VMs</a:t>
            </a:r>
            <a:endParaRPr lang="en-US" sz="2400" dirty="0">
              <a:solidFill>
                <a:schemeClr val="tx2"/>
              </a:solidFill>
              <a:latin typeface="+mj-lt"/>
            </a:endParaRPr>
          </a:p>
        </p:txBody>
      </p:sp>
      <p:sp>
        <p:nvSpPr>
          <p:cNvPr id="39" name="Rectangle 38">
            <a:extLst>
              <a:ext uri="{FF2B5EF4-FFF2-40B4-BE49-F238E27FC236}">
                <a16:creationId xmlns:a16="http://schemas.microsoft.com/office/drawing/2014/main" id="{2E55E032-366F-4DC6-AB49-9E7D422220A7}"/>
              </a:ext>
            </a:extLst>
          </p:cNvPr>
          <p:cNvSpPr/>
          <p:nvPr/>
        </p:nvSpPr>
        <p:spPr>
          <a:xfrm>
            <a:off x="920801" y="4569131"/>
            <a:ext cx="11050537" cy="369332"/>
          </a:xfrm>
          <a:prstGeom prst="rect">
            <a:avLst/>
          </a:prstGeom>
        </p:spPr>
        <p:txBody>
          <a:bodyPr wrap="square" lIns="0" tIns="0" rIns="0" bIns="0">
            <a:spAutoFit/>
          </a:bodyPr>
          <a:lstStyle/>
          <a:p>
            <a:r>
              <a:rPr lang="en-US" sz="2400" dirty="0">
                <a:solidFill>
                  <a:schemeClr val="tx2"/>
                </a:solidFill>
                <a:latin typeface="+mj-lt"/>
              </a:rPr>
              <a:t>Agent-based or agent-less deployment options.</a:t>
            </a:r>
          </a:p>
        </p:txBody>
      </p:sp>
      <p:sp>
        <p:nvSpPr>
          <p:cNvPr id="41" name="Rectangle 40">
            <a:extLst>
              <a:ext uri="{FF2B5EF4-FFF2-40B4-BE49-F238E27FC236}">
                <a16:creationId xmlns:a16="http://schemas.microsoft.com/office/drawing/2014/main" id="{B1F19B42-39A6-4FDC-B401-14BCF05B4307}"/>
              </a:ext>
            </a:extLst>
          </p:cNvPr>
          <p:cNvSpPr/>
          <p:nvPr/>
        </p:nvSpPr>
        <p:spPr>
          <a:xfrm>
            <a:off x="920801" y="5348868"/>
            <a:ext cx="11050537" cy="369332"/>
          </a:xfrm>
          <a:prstGeom prst="rect">
            <a:avLst/>
          </a:prstGeom>
        </p:spPr>
        <p:txBody>
          <a:bodyPr wrap="square" lIns="0" tIns="0" rIns="0" bIns="0">
            <a:spAutoFit/>
          </a:bodyPr>
          <a:lstStyle/>
          <a:p>
            <a:r>
              <a:rPr lang="en-US" sz="2400" dirty="0">
                <a:solidFill>
                  <a:schemeClr val="tx2"/>
                </a:solidFill>
                <a:latin typeface="+mj-lt"/>
              </a:rPr>
              <a:t>Needs 14 days to collect data and build reports</a:t>
            </a:r>
          </a:p>
        </p:txBody>
      </p:sp>
      <p:sp>
        <p:nvSpPr>
          <p:cNvPr id="43" name="Rectangle 42">
            <a:extLst>
              <a:ext uri="{FF2B5EF4-FFF2-40B4-BE49-F238E27FC236}">
                <a16:creationId xmlns:a16="http://schemas.microsoft.com/office/drawing/2014/main" id="{7169B831-778A-4211-925D-69EF7C041B4B}"/>
              </a:ext>
            </a:extLst>
          </p:cNvPr>
          <p:cNvSpPr/>
          <p:nvPr/>
        </p:nvSpPr>
        <p:spPr>
          <a:xfrm>
            <a:off x="1" y="6029906"/>
            <a:ext cx="12436474" cy="964619"/>
          </a:xfrm>
          <a:prstGeom prst="rect">
            <a:avLst/>
          </a:prstGeom>
          <a:solidFill>
            <a:schemeClr val="bg1">
              <a:lumMod val="95000"/>
            </a:schemeClr>
          </a:solidFill>
        </p:spPr>
        <p:txBody>
          <a:bodyPr wrap="square" lIns="91440" tIns="0" rIns="0" bIns="0" anchor="ctr">
            <a:noAutofit/>
          </a:bodyPr>
          <a:lstStyle/>
          <a:p>
            <a:pPr algn="ctr"/>
            <a:r>
              <a:rPr lang="en-US" sz="2200" dirty="0">
                <a:solidFill>
                  <a:schemeClr val="tx2"/>
                </a:solidFill>
                <a:latin typeface="+mj-lt"/>
              </a:rPr>
              <a:t>To get </a:t>
            </a:r>
            <a:r>
              <a:rPr lang="en-US" sz="2200" dirty="0" err="1">
                <a:solidFill>
                  <a:schemeClr val="tx2"/>
                </a:solidFill>
                <a:latin typeface="+mj-lt"/>
              </a:rPr>
              <a:t>Cloudamize</a:t>
            </a:r>
            <a:r>
              <a:rPr lang="en-US" sz="2200" dirty="0">
                <a:solidFill>
                  <a:schemeClr val="tx2"/>
                </a:solidFill>
                <a:latin typeface="+mj-lt"/>
              </a:rPr>
              <a:t> licenses for free – Send a request to </a:t>
            </a:r>
            <a:r>
              <a:rPr lang="en-US" sz="2200" u="sng" dirty="0">
                <a:solidFill>
                  <a:schemeClr val="bg2"/>
                </a:solidFill>
                <a:latin typeface="+mj-lt"/>
                <a:hlinkClick r:id="rId2"/>
              </a:rPr>
              <a:t>dcmsupport@microsoft.com</a:t>
            </a:r>
            <a:br>
              <a:rPr lang="en-US" sz="2200" u="sng" dirty="0">
                <a:solidFill>
                  <a:schemeClr val="bg2"/>
                </a:solidFill>
                <a:latin typeface="+mj-lt"/>
              </a:rPr>
            </a:br>
            <a:r>
              <a:rPr lang="en-US" sz="2200" dirty="0">
                <a:solidFill>
                  <a:schemeClr val="tx2"/>
                </a:solidFill>
                <a:latin typeface="+mj-lt"/>
              </a:rPr>
              <a:t>That’s $40/VM value, available to DCM partners free of charge</a:t>
            </a:r>
          </a:p>
        </p:txBody>
      </p:sp>
      <p:cxnSp>
        <p:nvCxnSpPr>
          <p:cNvPr id="47" name="Straight Connector 46">
            <a:extLst>
              <a:ext uri="{FF2B5EF4-FFF2-40B4-BE49-F238E27FC236}">
                <a16:creationId xmlns:a16="http://schemas.microsoft.com/office/drawing/2014/main" id="{273A74ED-F55D-4BF2-A529-954AEF0A6B8F}"/>
              </a:ext>
            </a:extLst>
          </p:cNvPr>
          <p:cNvCxnSpPr>
            <a:cxnSpLocks/>
          </p:cNvCxnSpPr>
          <p:nvPr/>
        </p:nvCxnSpPr>
        <p:spPr>
          <a:xfrm>
            <a:off x="920801" y="2024700"/>
            <a:ext cx="11154011"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77160F1-B461-423C-B6E7-5BA34E5FFA8B}"/>
              </a:ext>
            </a:extLst>
          </p:cNvPr>
          <p:cNvCxnSpPr>
            <a:cxnSpLocks/>
          </p:cNvCxnSpPr>
          <p:nvPr/>
        </p:nvCxnSpPr>
        <p:spPr>
          <a:xfrm>
            <a:off x="920801" y="2804442"/>
            <a:ext cx="11154011"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5D3A303-E74E-42BF-9889-78DC35522CDC}"/>
              </a:ext>
            </a:extLst>
          </p:cNvPr>
          <p:cNvCxnSpPr>
            <a:cxnSpLocks/>
          </p:cNvCxnSpPr>
          <p:nvPr/>
        </p:nvCxnSpPr>
        <p:spPr>
          <a:xfrm>
            <a:off x="920801" y="3584184"/>
            <a:ext cx="11154011"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8E0E40F-4C2B-49A9-B149-EA23B0ADC762}"/>
              </a:ext>
            </a:extLst>
          </p:cNvPr>
          <p:cNvCxnSpPr>
            <a:cxnSpLocks/>
          </p:cNvCxnSpPr>
          <p:nvPr/>
        </p:nvCxnSpPr>
        <p:spPr>
          <a:xfrm>
            <a:off x="920801" y="4363926"/>
            <a:ext cx="11154011"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56A43A1-F86E-4AE4-9EC0-2E5E5FE45935}"/>
              </a:ext>
            </a:extLst>
          </p:cNvPr>
          <p:cNvCxnSpPr>
            <a:cxnSpLocks/>
          </p:cNvCxnSpPr>
          <p:nvPr/>
        </p:nvCxnSpPr>
        <p:spPr>
          <a:xfrm>
            <a:off x="920801" y="5143668"/>
            <a:ext cx="11154011"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Flowchart: Connector 55">
            <a:extLst>
              <a:ext uri="{FF2B5EF4-FFF2-40B4-BE49-F238E27FC236}">
                <a16:creationId xmlns:a16="http://schemas.microsoft.com/office/drawing/2014/main" id="{85734206-82BC-44FD-8AFF-74C4EB45CC6E}"/>
              </a:ext>
            </a:extLst>
          </p:cNvPr>
          <p:cNvSpPr/>
          <p:nvPr/>
        </p:nvSpPr>
        <p:spPr bwMode="auto">
          <a:xfrm>
            <a:off x="605287" y="1543389"/>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Flowchart: Connector 56">
            <a:extLst>
              <a:ext uri="{FF2B5EF4-FFF2-40B4-BE49-F238E27FC236}">
                <a16:creationId xmlns:a16="http://schemas.microsoft.com/office/drawing/2014/main" id="{8E5E61EB-9B65-4083-B329-46181421619D}"/>
              </a:ext>
            </a:extLst>
          </p:cNvPr>
          <p:cNvSpPr/>
          <p:nvPr/>
        </p:nvSpPr>
        <p:spPr bwMode="auto">
          <a:xfrm>
            <a:off x="605287" y="2323130"/>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Flowchart: Connector 57">
            <a:extLst>
              <a:ext uri="{FF2B5EF4-FFF2-40B4-BE49-F238E27FC236}">
                <a16:creationId xmlns:a16="http://schemas.microsoft.com/office/drawing/2014/main" id="{72FCB252-CD88-4B87-B056-A24327D7ABC2}"/>
              </a:ext>
            </a:extLst>
          </p:cNvPr>
          <p:cNvSpPr/>
          <p:nvPr/>
        </p:nvSpPr>
        <p:spPr bwMode="auto">
          <a:xfrm>
            <a:off x="605287" y="3102871"/>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Flowchart: Connector 58">
            <a:extLst>
              <a:ext uri="{FF2B5EF4-FFF2-40B4-BE49-F238E27FC236}">
                <a16:creationId xmlns:a16="http://schemas.microsoft.com/office/drawing/2014/main" id="{EA3F516F-C372-4539-A33F-C80A4E3FB77E}"/>
              </a:ext>
            </a:extLst>
          </p:cNvPr>
          <p:cNvSpPr/>
          <p:nvPr/>
        </p:nvSpPr>
        <p:spPr bwMode="auto">
          <a:xfrm>
            <a:off x="605287" y="3882612"/>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Flowchart: Connector 59">
            <a:extLst>
              <a:ext uri="{FF2B5EF4-FFF2-40B4-BE49-F238E27FC236}">
                <a16:creationId xmlns:a16="http://schemas.microsoft.com/office/drawing/2014/main" id="{0DCC1B32-EB62-491D-9D6B-E61637ABB262}"/>
              </a:ext>
            </a:extLst>
          </p:cNvPr>
          <p:cNvSpPr/>
          <p:nvPr/>
        </p:nvSpPr>
        <p:spPr bwMode="auto">
          <a:xfrm>
            <a:off x="605287" y="4662353"/>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Flowchart: Connector 60">
            <a:extLst>
              <a:ext uri="{FF2B5EF4-FFF2-40B4-BE49-F238E27FC236}">
                <a16:creationId xmlns:a16="http://schemas.microsoft.com/office/drawing/2014/main" id="{3A5C063B-9716-4CB5-9225-D738D3D799E7}"/>
              </a:ext>
            </a:extLst>
          </p:cNvPr>
          <p:cNvSpPr/>
          <p:nvPr/>
        </p:nvSpPr>
        <p:spPr bwMode="auto">
          <a:xfrm>
            <a:off x="605287" y="5442094"/>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04968333"/>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23B54-933D-461C-8320-14F8E1FF4812}"/>
              </a:ext>
            </a:extLst>
          </p:cNvPr>
          <p:cNvSpPr>
            <a:spLocks noGrp="1"/>
          </p:cNvSpPr>
          <p:nvPr>
            <p:ph type="title"/>
          </p:nvPr>
        </p:nvSpPr>
        <p:spPr/>
        <p:txBody>
          <a:bodyPr/>
          <a:lstStyle/>
          <a:p>
            <a:r>
              <a:rPr lang="en-US" sz="4400" dirty="0"/>
              <a:t>Database Assessment With DMA</a:t>
            </a:r>
          </a:p>
        </p:txBody>
      </p:sp>
      <p:cxnSp>
        <p:nvCxnSpPr>
          <p:cNvPr id="29" name="Straight Connector 28">
            <a:extLst>
              <a:ext uri="{FF2B5EF4-FFF2-40B4-BE49-F238E27FC236}">
                <a16:creationId xmlns:a16="http://schemas.microsoft.com/office/drawing/2014/main" id="{64BBFBF2-2271-436D-A8F7-9FF53C2B9304}"/>
              </a:ext>
            </a:extLst>
          </p:cNvPr>
          <p:cNvCxnSpPr>
            <a:cxnSpLocks/>
          </p:cNvCxnSpPr>
          <p:nvPr/>
        </p:nvCxnSpPr>
        <p:spPr>
          <a:xfrm>
            <a:off x="2285370" y="3975654"/>
            <a:ext cx="968596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3CCAAD9F-57F5-4C2A-A9CB-14AB8067A002}"/>
              </a:ext>
            </a:extLst>
          </p:cNvPr>
          <p:cNvGrpSpPr/>
          <p:nvPr/>
        </p:nvGrpSpPr>
        <p:grpSpPr>
          <a:xfrm>
            <a:off x="469301" y="2054934"/>
            <a:ext cx="1470342" cy="1470342"/>
            <a:chOff x="343218" y="1193019"/>
            <a:chExt cx="1470342" cy="1470342"/>
          </a:xfrm>
        </p:grpSpPr>
        <p:sp>
          <p:nvSpPr>
            <p:cNvPr id="44" name="Oval 43">
              <a:extLst>
                <a:ext uri="{FF2B5EF4-FFF2-40B4-BE49-F238E27FC236}">
                  <a16:creationId xmlns:a16="http://schemas.microsoft.com/office/drawing/2014/main" id="{1C47395E-DB16-4FA7-9459-4C8168708A7E}"/>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45" name="Arc 44">
              <a:extLst>
                <a:ext uri="{FF2B5EF4-FFF2-40B4-BE49-F238E27FC236}">
                  <a16:creationId xmlns:a16="http://schemas.microsoft.com/office/drawing/2014/main" id="{3B8BD487-838A-4AB5-8EA4-33CEAEBFF40B}"/>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grpSp>
        <p:nvGrpSpPr>
          <p:cNvPr id="46" name="Group 45">
            <a:extLst>
              <a:ext uri="{FF2B5EF4-FFF2-40B4-BE49-F238E27FC236}">
                <a16:creationId xmlns:a16="http://schemas.microsoft.com/office/drawing/2014/main" id="{488A8943-B2D2-4571-ABBC-C6F98EBF2CD0}"/>
              </a:ext>
            </a:extLst>
          </p:cNvPr>
          <p:cNvGrpSpPr/>
          <p:nvPr/>
        </p:nvGrpSpPr>
        <p:grpSpPr>
          <a:xfrm>
            <a:off x="465138" y="4195199"/>
            <a:ext cx="1470342" cy="1470342"/>
            <a:chOff x="343218" y="2937006"/>
            <a:chExt cx="1470342" cy="1470342"/>
          </a:xfrm>
        </p:grpSpPr>
        <p:sp>
          <p:nvSpPr>
            <p:cNvPr id="47" name="Oval 46">
              <a:extLst>
                <a:ext uri="{FF2B5EF4-FFF2-40B4-BE49-F238E27FC236}">
                  <a16:creationId xmlns:a16="http://schemas.microsoft.com/office/drawing/2014/main" id="{86456EA4-9C40-49A4-9FD0-7753025EE977}"/>
                </a:ext>
              </a:extLst>
            </p:cNvPr>
            <p:cNvSpPr/>
            <p:nvPr/>
          </p:nvSpPr>
          <p:spPr bwMode="auto">
            <a:xfrm>
              <a:off x="465138" y="3058929"/>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48" name="Arc 47">
              <a:extLst>
                <a:ext uri="{FF2B5EF4-FFF2-40B4-BE49-F238E27FC236}">
                  <a16:creationId xmlns:a16="http://schemas.microsoft.com/office/drawing/2014/main" id="{66A6855C-8F39-41A3-8B51-850A468779B6}"/>
                </a:ext>
              </a:extLst>
            </p:cNvPr>
            <p:cNvSpPr/>
            <p:nvPr/>
          </p:nvSpPr>
          <p:spPr>
            <a:xfrm flipH="1">
              <a:off x="343218" y="2937006"/>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49" name="Text Placeholder 2">
            <a:extLst>
              <a:ext uri="{FF2B5EF4-FFF2-40B4-BE49-F238E27FC236}">
                <a16:creationId xmlns:a16="http://schemas.microsoft.com/office/drawing/2014/main" id="{89159BFD-AF9D-44CF-9E13-ACBD09004F4D}"/>
              </a:ext>
            </a:extLst>
          </p:cNvPr>
          <p:cNvSpPr txBox="1">
            <a:spLocks/>
          </p:cNvSpPr>
          <p:nvPr/>
        </p:nvSpPr>
        <p:spPr>
          <a:xfrm>
            <a:off x="2289533" y="2097608"/>
            <a:ext cx="9681863" cy="1384995"/>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3000" dirty="0">
                <a:solidFill>
                  <a:schemeClr val="tx2"/>
                </a:solidFill>
              </a:rPr>
              <a:t>Microsoft Database Migration Assistant (DMA) is a free tool to analyze SQL Server DB compatibility with SQL Server 2017 and Azure SQL Database</a:t>
            </a:r>
          </a:p>
        </p:txBody>
      </p:sp>
      <p:sp>
        <p:nvSpPr>
          <p:cNvPr id="50" name="Text Placeholder 2">
            <a:extLst>
              <a:ext uri="{FF2B5EF4-FFF2-40B4-BE49-F238E27FC236}">
                <a16:creationId xmlns:a16="http://schemas.microsoft.com/office/drawing/2014/main" id="{6FDBC00D-7D7D-48DB-81D3-7869ECE07B2C}"/>
              </a:ext>
            </a:extLst>
          </p:cNvPr>
          <p:cNvSpPr txBox="1">
            <a:spLocks/>
          </p:cNvSpPr>
          <p:nvPr/>
        </p:nvSpPr>
        <p:spPr>
          <a:xfrm>
            <a:off x="2285370" y="4468705"/>
            <a:ext cx="9685967" cy="923330"/>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3000" dirty="0">
                <a:solidFill>
                  <a:schemeClr val="tx2"/>
                </a:solidFill>
              </a:rPr>
              <a:t>Can analyze if database can be moved to Azure </a:t>
            </a:r>
            <a:r>
              <a:rPr lang="en-US" sz="3000" dirty="0" err="1">
                <a:solidFill>
                  <a:schemeClr val="tx2"/>
                </a:solidFill>
              </a:rPr>
              <a:t>SQB</a:t>
            </a:r>
            <a:r>
              <a:rPr lang="en-US" sz="3000" dirty="0">
                <a:solidFill>
                  <a:schemeClr val="tx2"/>
                </a:solidFill>
              </a:rPr>
              <a:t> Database (PaaS or Managed Instance)</a:t>
            </a:r>
          </a:p>
        </p:txBody>
      </p:sp>
      <p:sp>
        <p:nvSpPr>
          <p:cNvPr id="55" name="Freeform 8">
            <a:extLst>
              <a:ext uri="{FF2B5EF4-FFF2-40B4-BE49-F238E27FC236}">
                <a16:creationId xmlns:a16="http://schemas.microsoft.com/office/drawing/2014/main" id="{8338E403-BE48-4CBB-AEAC-E79B92DE44B8}"/>
              </a:ext>
            </a:extLst>
          </p:cNvPr>
          <p:cNvSpPr>
            <a:spLocks noEditPoints="1"/>
          </p:cNvSpPr>
          <p:nvPr/>
        </p:nvSpPr>
        <p:spPr bwMode="black">
          <a:xfrm>
            <a:off x="790614" y="4520782"/>
            <a:ext cx="819390" cy="819176"/>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nvGrpSpPr>
          <p:cNvPr id="56" name="Group 55">
            <a:extLst>
              <a:ext uri="{FF2B5EF4-FFF2-40B4-BE49-F238E27FC236}">
                <a16:creationId xmlns:a16="http://schemas.microsoft.com/office/drawing/2014/main" id="{BACD9B6C-0448-4BD5-8CE5-16EC929AD082}"/>
              </a:ext>
            </a:extLst>
          </p:cNvPr>
          <p:cNvGrpSpPr/>
          <p:nvPr/>
        </p:nvGrpSpPr>
        <p:grpSpPr>
          <a:xfrm>
            <a:off x="786241" y="2514287"/>
            <a:ext cx="836462" cy="551637"/>
            <a:chOff x="9269721" y="4310322"/>
            <a:chExt cx="2268161" cy="1495827"/>
          </a:xfrm>
          <a:solidFill>
            <a:schemeClr val="bg1"/>
          </a:solidFill>
        </p:grpSpPr>
        <p:sp>
          <p:nvSpPr>
            <p:cNvPr id="57" name="Freeform 2191">
              <a:extLst>
                <a:ext uri="{FF2B5EF4-FFF2-40B4-BE49-F238E27FC236}">
                  <a16:creationId xmlns:a16="http://schemas.microsoft.com/office/drawing/2014/main" id="{F27E58AF-4C45-4D9B-B085-20F56A045174}"/>
                </a:ext>
              </a:extLst>
            </p:cNvPr>
            <p:cNvSpPr>
              <a:spLocks noEditPoints="1"/>
            </p:cNvSpPr>
            <p:nvPr/>
          </p:nvSpPr>
          <p:spPr bwMode="auto">
            <a:xfrm>
              <a:off x="10090153" y="4310322"/>
              <a:ext cx="1447729" cy="1453933"/>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grpFill/>
            <a:ln w="9525">
              <a:noFill/>
              <a:round/>
              <a:headEnd/>
              <a:tailEnd/>
            </a:ln>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2013">
              <a:extLst>
                <a:ext uri="{FF2B5EF4-FFF2-40B4-BE49-F238E27FC236}">
                  <a16:creationId xmlns:a16="http://schemas.microsoft.com/office/drawing/2014/main" id="{71FB15FA-D255-402B-8B34-4A5C571E9770}"/>
                </a:ext>
              </a:extLst>
            </p:cNvPr>
            <p:cNvSpPr>
              <a:spLocks/>
            </p:cNvSpPr>
            <p:nvPr/>
          </p:nvSpPr>
          <p:spPr bwMode="auto">
            <a:xfrm>
              <a:off x="9628875" y="4509609"/>
              <a:ext cx="461278" cy="1290408"/>
            </a:xfrm>
            <a:custGeom>
              <a:avLst/>
              <a:gdLst>
                <a:gd name="T0" fmla="*/ 315 w 317"/>
                <a:gd name="T1" fmla="*/ 139 h 886"/>
                <a:gd name="T2" fmla="*/ 310 w 317"/>
                <a:gd name="T3" fmla="*/ 113 h 886"/>
                <a:gd name="T4" fmla="*/ 302 w 317"/>
                <a:gd name="T5" fmla="*/ 88 h 886"/>
                <a:gd name="T6" fmla="*/ 290 w 317"/>
                <a:gd name="T7" fmla="*/ 66 h 886"/>
                <a:gd name="T8" fmla="*/ 274 w 317"/>
                <a:gd name="T9" fmla="*/ 45 h 886"/>
                <a:gd name="T10" fmla="*/ 256 w 317"/>
                <a:gd name="T11" fmla="*/ 28 h 886"/>
                <a:gd name="T12" fmla="*/ 235 w 317"/>
                <a:gd name="T13" fmla="*/ 14 h 886"/>
                <a:gd name="T14" fmla="*/ 212 w 317"/>
                <a:gd name="T15" fmla="*/ 3 h 886"/>
                <a:gd name="T16" fmla="*/ 200 w 317"/>
                <a:gd name="T17" fmla="*/ 141 h 886"/>
                <a:gd name="T18" fmla="*/ 140 w 317"/>
                <a:gd name="T19" fmla="*/ 164 h 886"/>
                <a:gd name="T20" fmla="*/ 117 w 317"/>
                <a:gd name="T21" fmla="*/ 0 h 886"/>
                <a:gd name="T22" fmla="*/ 92 w 317"/>
                <a:gd name="T23" fmla="*/ 10 h 886"/>
                <a:gd name="T24" fmla="*/ 70 w 317"/>
                <a:gd name="T25" fmla="*/ 20 h 886"/>
                <a:gd name="T26" fmla="*/ 50 w 317"/>
                <a:gd name="T27" fmla="*/ 38 h 886"/>
                <a:gd name="T28" fmla="*/ 33 w 317"/>
                <a:gd name="T29" fmla="*/ 55 h 886"/>
                <a:gd name="T30" fmla="*/ 19 w 317"/>
                <a:gd name="T31" fmla="*/ 77 h 886"/>
                <a:gd name="T32" fmla="*/ 9 w 317"/>
                <a:gd name="T33" fmla="*/ 100 h 886"/>
                <a:gd name="T34" fmla="*/ 1 w 317"/>
                <a:gd name="T35" fmla="*/ 125 h 886"/>
                <a:gd name="T36" fmla="*/ 0 w 317"/>
                <a:gd name="T37" fmla="*/ 153 h 886"/>
                <a:gd name="T38" fmla="*/ 0 w 317"/>
                <a:gd name="T39" fmla="*/ 155 h 886"/>
                <a:gd name="T40" fmla="*/ 0 w 317"/>
                <a:gd name="T41" fmla="*/ 169 h 886"/>
                <a:gd name="T42" fmla="*/ 4 w 317"/>
                <a:gd name="T43" fmla="*/ 191 h 886"/>
                <a:gd name="T44" fmla="*/ 11 w 317"/>
                <a:gd name="T45" fmla="*/ 213 h 886"/>
                <a:gd name="T46" fmla="*/ 20 w 317"/>
                <a:gd name="T47" fmla="*/ 233 h 886"/>
                <a:gd name="T48" fmla="*/ 33 w 317"/>
                <a:gd name="T49" fmla="*/ 250 h 886"/>
                <a:gd name="T50" fmla="*/ 48 w 317"/>
                <a:gd name="T51" fmla="*/ 267 h 886"/>
                <a:gd name="T52" fmla="*/ 64 w 317"/>
                <a:gd name="T53" fmla="*/ 281 h 886"/>
                <a:gd name="T54" fmla="*/ 84 w 317"/>
                <a:gd name="T55" fmla="*/ 292 h 886"/>
                <a:gd name="T56" fmla="*/ 93 w 317"/>
                <a:gd name="T57" fmla="*/ 825 h 886"/>
                <a:gd name="T58" fmla="*/ 95 w 317"/>
                <a:gd name="T59" fmla="*/ 837 h 886"/>
                <a:gd name="T60" fmla="*/ 98 w 317"/>
                <a:gd name="T61" fmla="*/ 848 h 886"/>
                <a:gd name="T62" fmla="*/ 104 w 317"/>
                <a:gd name="T63" fmla="*/ 859 h 886"/>
                <a:gd name="T64" fmla="*/ 114 w 317"/>
                <a:gd name="T65" fmla="*/ 868 h 886"/>
                <a:gd name="T66" fmla="*/ 123 w 317"/>
                <a:gd name="T67" fmla="*/ 875 h 886"/>
                <a:gd name="T68" fmla="*/ 134 w 317"/>
                <a:gd name="T69" fmla="*/ 881 h 886"/>
                <a:gd name="T70" fmla="*/ 145 w 317"/>
                <a:gd name="T71" fmla="*/ 884 h 886"/>
                <a:gd name="T72" fmla="*/ 159 w 317"/>
                <a:gd name="T73" fmla="*/ 886 h 886"/>
                <a:gd name="T74" fmla="*/ 170 w 317"/>
                <a:gd name="T75" fmla="*/ 884 h 886"/>
                <a:gd name="T76" fmla="*/ 182 w 317"/>
                <a:gd name="T77" fmla="*/ 881 h 886"/>
                <a:gd name="T78" fmla="*/ 193 w 317"/>
                <a:gd name="T79" fmla="*/ 875 h 886"/>
                <a:gd name="T80" fmla="*/ 203 w 317"/>
                <a:gd name="T81" fmla="*/ 868 h 886"/>
                <a:gd name="T82" fmla="*/ 210 w 317"/>
                <a:gd name="T83" fmla="*/ 859 h 886"/>
                <a:gd name="T84" fmla="*/ 217 w 317"/>
                <a:gd name="T85" fmla="*/ 848 h 886"/>
                <a:gd name="T86" fmla="*/ 221 w 317"/>
                <a:gd name="T87" fmla="*/ 837 h 886"/>
                <a:gd name="T88" fmla="*/ 223 w 317"/>
                <a:gd name="T89" fmla="*/ 825 h 886"/>
                <a:gd name="T90" fmla="*/ 232 w 317"/>
                <a:gd name="T91" fmla="*/ 292 h 886"/>
                <a:gd name="T92" fmla="*/ 251 w 317"/>
                <a:gd name="T93" fmla="*/ 281 h 886"/>
                <a:gd name="T94" fmla="*/ 268 w 317"/>
                <a:gd name="T95" fmla="*/ 267 h 886"/>
                <a:gd name="T96" fmla="*/ 282 w 317"/>
                <a:gd name="T97" fmla="*/ 250 h 886"/>
                <a:gd name="T98" fmla="*/ 295 w 317"/>
                <a:gd name="T99" fmla="*/ 233 h 886"/>
                <a:gd name="T100" fmla="*/ 306 w 317"/>
                <a:gd name="T101" fmla="*/ 213 h 886"/>
                <a:gd name="T102" fmla="*/ 312 w 317"/>
                <a:gd name="T103" fmla="*/ 191 h 886"/>
                <a:gd name="T104" fmla="*/ 315 w 317"/>
                <a:gd name="T105" fmla="*/ 169 h 886"/>
                <a:gd name="T106" fmla="*/ 317 w 317"/>
                <a:gd name="T107" fmla="*/ 155 h 886"/>
                <a:gd name="T108" fmla="*/ 317 w 317"/>
                <a:gd name="T109" fmla="*/ 15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7" h="886">
                  <a:moveTo>
                    <a:pt x="317" y="153"/>
                  </a:moveTo>
                  <a:lnTo>
                    <a:pt x="315" y="139"/>
                  </a:lnTo>
                  <a:lnTo>
                    <a:pt x="313" y="125"/>
                  </a:lnTo>
                  <a:lnTo>
                    <a:pt x="310" y="113"/>
                  </a:lnTo>
                  <a:lnTo>
                    <a:pt x="307" y="100"/>
                  </a:lnTo>
                  <a:lnTo>
                    <a:pt x="302" y="88"/>
                  </a:lnTo>
                  <a:lnTo>
                    <a:pt x="296" y="77"/>
                  </a:lnTo>
                  <a:lnTo>
                    <a:pt x="290" y="66"/>
                  </a:lnTo>
                  <a:lnTo>
                    <a:pt x="282" y="55"/>
                  </a:lnTo>
                  <a:lnTo>
                    <a:pt x="274" y="45"/>
                  </a:lnTo>
                  <a:lnTo>
                    <a:pt x="265" y="38"/>
                  </a:lnTo>
                  <a:lnTo>
                    <a:pt x="256" y="28"/>
                  </a:lnTo>
                  <a:lnTo>
                    <a:pt x="246" y="20"/>
                  </a:lnTo>
                  <a:lnTo>
                    <a:pt x="235" y="14"/>
                  </a:lnTo>
                  <a:lnTo>
                    <a:pt x="223" y="10"/>
                  </a:lnTo>
                  <a:lnTo>
                    <a:pt x="212" y="3"/>
                  </a:lnTo>
                  <a:lnTo>
                    <a:pt x="200" y="0"/>
                  </a:lnTo>
                  <a:lnTo>
                    <a:pt x="200" y="141"/>
                  </a:lnTo>
                  <a:lnTo>
                    <a:pt x="176" y="164"/>
                  </a:lnTo>
                  <a:lnTo>
                    <a:pt x="140" y="164"/>
                  </a:lnTo>
                  <a:lnTo>
                    <a:pt x="117" y="141"/>
                  </a:lnTo>
                  <a:lnTo>
                    <a:pt x="117" y="0"/>
                  </a:lnTo>
                  <a:lnTo>
                    <a:pt x="104" y="3"/>
                  </a:lnTo>
                  <a:lnTo>
                    <a:pt x="92" y="10"/>
                  </a:lnTo>
                  <a:lnTo>
                    <a:pt x="81" y="14"/>
                  </a:lnTo>
                  <a:lnTo>
                    <a:pt x="70" y="20"/>
                  </a:lnTo>
                  <a:lnTo>
                    <a:pt x="61" y="28"/>
                  </a:lnTo>
                  <a:lnTo>
                    <a:pt x="50" y="38"/>
                  </a:lnTo>
                  <a:lnTo>
                    <a:pt x="42" y="45"/>
                  </a:lnTo>
                  <a:lnTo>
                    <a:pt x="33" y="55"/>
                  </a:lnTo>
                  <a:lnTo>
                    <a:pt x="26" y="66"/>
                  </a:lnTo>
                  <a:lnTo>
                    <a:pt x="19" y="77"/>
                  </a:lnTo>
                  <a:lnTo>
                    <a:pt x="14" y="88"/>
                  </a:lnTo>
                  <a:lnTo>
                    <a:pt x="9" y="100"/>
                  </a:lnTo>
                  <a:lnTo>
                    <a:pt x="4" y="113"/>
                  </a:lnTo>
                  <a:lnTo>
                    <a:pt x="1" y="125"/>
                  </a:lnTo>
                  <a:lnTo>
                    <a:pt x="0" y="139"/>
                  </a:lnTo>
                  <a:lnTo>
                    <a:pt x="0" y="153"/>
                  </a:lnTo>
                  <a:lnTo>
                    <a:pt x="0" y="153"/>
                  </a:lnTo>
                  <a:lnTo>
                    <a:pt x="0" y="155"/>
                  </a:lnTo>
                  <a:lnTo>
                    <a:pt x="0" y="156"/>
                  </a:lnTo>
                  <a:lnTo>
                    <a:pt x="0" y="169"/>
                  </a:lnTo>
                  <a:lnTo>
                    <a:pt x="1" y="180"/>
                  </a:lnTo>
                  <a:lnTo>
                    <a:pt x="4" y="191"/>
                  </a:lnTo>
                  <a:lnTo>
                    <a:pt x="6" y="202"/>
                  </a:lnTo>
                  <a:lnTo>
                    <a:pt x="11" y="213"/>
                  </a:lnTo>
                  <a:lnTo>
                    <a:pt x="15" y="222"/>
                  </a:lnTo>
                  <a:lnTo>
                    <a:pt x="20" y="233"/>
                  </a:lnTo>
                  <a:lnTo>
                    <a:pt x="26" y="242"/>
                  </a:lnTo>
                  <a:lnTo>
                    <a:pt x="33" y="250"/>
                  </a:lnTo>
                  <a:lnTo>
                    <a:pt x="40" y="259"/>
                  </a:lnTo>
                  <a:lnTo>
                    <a:pt x="48" y="267"/>
                  </a:lnTo>
                  <a:lnTo>
                    <a:pt x="56" y="275"/>
                  </a:lnTo>
                  <a:lnTo>
                    <a:pt x="64" y="281"/>
                  </a:lnTo>
                  <a:lnTo>
                    <a:pt x="73" y="288"/>
                  </a:lnTo>
                  <a:lnTo>
                    <a:pt x="84" y="292"/>
                  </a:lnTo>
                  <a:lnTo>
                    <a:pt x="93" y="298"/>
                  </a:lnTo>
                  <a:lnTo>
                    <a:pt x="93" y="825"/>
                  </a:lnTo>
                  <a:lnTo>
                    <a:pt x="93" y="831"/>
                  </a:lnTo>
                  <a:lnTo>
                    <a:pt x="95" y="837"/>
                  </a:lnTo>
                  <a:lnTo>
                    <a:pt x="97" y="842"/>
                  </a:lnTo>
                  <a:lnTo>
                    <a:pt x="98" y="848"/>
                  </a:lnTo>
                  <a:lnTo>
                    <a:pt x="101" y="853"/>
                  </a:lnTo>
                  <a:lnTo>
                    <a:pt x="104" y="859"/>
                  </a:lnTo>
                  <a:lnTo>
                    <a:pt x="109" y="864"/>
                  </a:lnTo>
                  <a:lnTo>
                    <a:pt x="114" y="868"/>
                  </a:lnTo>
                  <a:lnTo>
                    <a:pt x="118" y="872"/>
                  </a:lnTo>
                  <a:lnTo>
                    <a:pt x="123" y="875"/>
                  </a:lnTo>
                  <a:lnTo>
                    <a:pt x="128" y="878"/>
                  </a:lnTo>
                  <a:lnTo>
                    <a:pt x="134" y="881"/>
                  </a:lnTo>
                  <a:lnTo>
                    <a:pt x="140" y="882"/>
                  </a:lnTo>
                  <a:lnTo>
                    <a:pt x="145" y="884"/>
                  </a:lnTo>
                  <a:lnTo>
                    <a:pt x="151" y="886"/>
                  </a:lnTo>
                  <a:lnTo>
                    <a:pt x="159" y="886"/>
                  </a:lnTo>
                  <a:lnTo>
                    <a:pt x="165" y="886"/>
                  </a:lnTo>
                  <a:lnTo>
                    <a:pt x="170" y="884"/>
                  </a:lnTo>
                  <a:lnTo>
                    <a:pt x="176" y="882"/>
                  </a:lnTo>
                  <a:lnTo>
                    <a:pt x="182" y="881"/>
                  </a:lnTo>
                  <a:lnTo>
                    <a:pt x="189" y="878"/>
                  </a:lnTo>
                  <a:lnTo>
                    <a:pt x="193" y="875"/>
                  </a:lnTo>
                  <a:lnTo>
                    <a:pt x="198" y="872"/>
                  </a:lnTo>
                  <a:lnTo>
                    <a:pt x="203" y="868"/>
                  </a:lnTo>
                  <a:lnTo>
                    <a:pt x="207" y="864"/>
                  </a:lnTo>
                  <a:lnTo>
                    <a:pt x="210" y="859"/>
                  </a:lnTo>
                  <a:lnTo>
                    <a:pt x="214" y="853"/>
                  </a:lnTo>
                  <a:lnTo>
                    <a:pt x="217" y="848"/>
                  </a:lnTo>
                  <a:lnTo>
                    <a:pt x="220" y="842"/>
                  </a:lnTo>
                  <a:lnTo>
                    <a:pt x="221" y="837"/>
                  </a:lnTo>
                  <a:lnTo>
                    <a:pt x="221" y="831"/>
                  </a:lnTo>
                  <a:lnTo>
                    <a:pt x="223" y="825"/>
                  </a:lnTo>
                  <a:lnTo>
                    <a:pt x="223" y="298"/>
                  </a:lnTo>
                  <a:lnTo>
                    <a:pt x="232" y="292"/>
                  </a:lnTo>
                  <a:lnTo>
                    <a:pt x="242" y="288"/>
                  </a:lnTo>
                  <a:lnTo>
                    <a:pt x="251" y="281"/>
                  </a:lnTo>
                  <a:lnTo>
                    <a:pt x="260" y="275"/>
                  </a:lnTo>
                  <a:lnTo>
                    <a:pt x="268" y="267"/>
                  </a:lnTo>
                  <a:lnTo>
                    <a:pt x="276" y="259"/>
                  </a:lnTo>
                  <a:lnTo>
                    <a:pt x="282" y="250"/>
                  </a:lnTo>
                  <a:lnTo>
                    <a:pt x="290" y="242"/>
                  </a:lnTo>
                  <a:lnTo>
                    <a:pt x="295" y="233"/>
                  </a:lnTo>
                  <a:lnTo>
                    <a:pt x="301" y="222"/>
                  </a:lnTo>
                  <a:lnTo>
                    <a:pt x="306" y="213"/>
                  </a:lnTo>
                  <a:lnTo>
                    <a:pt x="309" y="202"/>
                  </a:lnTo>
                  <a:lnTo>
                    <a:pt x="312" y="191"/>
                  </a:lnTo>
                  <a:lnTo>
                    <a:pt x="313" y="180"/>
                  </a:lnTo>
                  <a:lnTo>
                    <a:pt x="315" y="169"/>
                  </a:lnTo>
                  <a:lnTo>
                    <a:pt x="317" y="156"/>
                  </a:lnTo>
                  <a:lnTo>
                    <a:pt x="317" y="155"/>
                  </a:lnTo>
                  <a:lnTo>
                    <a:pt x="317" y="153"/>
                  </a:lnTo>
                  <a:lnTo>
                    <a:pt x="317" y="153"/>
                  </a:lnTo>
                  <a:lnTo>
                    <a:pt x="317" y="153"/>
                  </a:lnTo>
                  <a:close/>
                </a:path>
              </a:pathLst>
            </a:custGeom>
            <a:grpFill/>
            <a:ln w="9525">
              <a:noFill/>
              <a:round/>
              <a:headEnd/>
              <a:tailEnd/>
            </a:ln>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2016">
              <a:extLst>
                <a:ext uri="{FF2B5EF4-FFF2-40B4-BE49-F238E27FC236}">
                  <a16:creationId xmlns:a16="http://schemas.microsoft.com/office/drawing/2014/main" id="{9D44E999-C062-41E4-9F6A-030B54C20A5D}"/>
                </a:ext>
              </a:extLst>
            </p:cNvPr>
            <p:cNvSpPr>
              <a:spLocks/>
            </p:cNvSpPr>
            <p:nvPr/>
          </p:nvSpPr>
          <p:spPr bwMode="auto">
            <a:xfrm>
              <a:off x="9269721" y="5295234"/>
              <a:ext cx="289028" cy="324066"/>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grpFill/>
            <a:ln w="9525">
              <a:noFill/>
              <a:round/>
              <a:headEnd/>
              <a:tailEnd/>
            </a:ln>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2017">
              <a:extLst>
                <a:ext uri="{FF2B5EF4-FFF2-40B4-BE49-F238E27FC236}">
                  <a16:creationId xmlns:a16="http://schemas.microsoft.com/office/drawing/2014/main" id="{03E1B612-5110-4245-90B7-88E9B53CC28F}"/>
                </a:ext>
              </a:extLst>
            </p:cNvPr>
            <p:cNvSpPr>
              <a:spLocks/>
            </p:cNvSpPr>
            <p:nvPr/>
          </p:nvSpPr>
          <p:spPr bwMode="auto">
            <a:xfrm>
              <a:off x="9269721" y="5657253"/>
              <a:ext cx="289028" cy="148896"/>
            </a:xfrm>
            <a:custGeom>
              <a:avLst/>
              <a:gdLst>
                <a:gd name="T0" fmla="*/ 0 w 198"/>
                <a:gd name="T1" fmla="*/ 10 h 102"/>
                <a:gd name="T2" fmla="*/ 0 w 198"/>
                <a:gd name="T3" fmla="*/ 28 h 102"/>
                <a:gd name="T4" fmla="*/ 0 w 198"/>
                <a:gd name="T5" fmla="*/ 38 h 102"/>
                <a:gd name="T6" fmla="*/ 1 w 198"/>
                <a:gd name="T7" fmla="*/ 46 h 102"/>
                <a:gd name="T8" fmla="*/ 3 w 198"/>
                <a:gd name="T9" fmla="*/ 53 h 102"/>
                <a:gd name="T10" fmla="*/ 4 w 198"/>
                <a:gd name="T11" fmla="*/ 61 h 102"/>
                <a:gd name="T12" fmla="*/ 8 w 198"/>
                <a:gd name="T13" fmla="*/ 69 h 102"/>
                <a:gd name="T14" fmla="*/ 12 w 198"/>
                <a:gd name="T15" fmla="*/ 75 h 102"/>
                <a:gd name="T16" fmla="*/ 17 w 198"/>
                <a:gd name="T17" fmla="*/ 81 h 102"/>
                <a:gd name="T18" fmla="*/ 23 w 198"/>
                <a:gd name="T19" fmla="*/ 86 h 102"/>
                <a:gd name="T20" fmla="*/ 31 w 198"/>
                <a:gd name="T21" fmla="*/ 91 h 102"/>
                <a:gd name="T22" fmla="*/ 36 w 198"/>
                <a:gd name="T23" fmla="*/ 92 h 102"/>
                <a:gd name="T24" fmla="*/ 42 w 198"/>
                <a:gd name="T25" fmla="*/ 94 h 102"/>
                <a:gd name="T26" fmla="*/ 47 w 198"/>
                <a:gd name="T27" fmla="*/ 95 h 102"/>
                <a:gd name="T28" fmla="*/ 53 w 198"/>
                <a:gd name="T29" fmla="*/ 97 h 102"/>
                <a:gd name="T30" fmla="*/ 59 w 198"/>
                <a:gd name="T31" fmla="*/ 99 h 102"/>
                <a:gd name="T32" fmla="*/ 65 w 198"/>
                <a:gd name="T33" fmla="*/ 100 h 102"/>
                <a:gd name="T34" fmla="*/ 73 w 198"/>
                <a:gd name="T35" fmla="*/ 100 h 102"/>
                <a:gd name="T36" fmla="*/ 81 w 198"/>
                <a:gd name="T37" fmla="*/ 102 h 102"/>
                <a:gd name="T38" fmla="*/ 89 w 198"/>
                <a:gd name="T39" fmla="*/ 102 h 102"/>
                <a:gd name="T40" fmla="*/ 98 w 198"/>
                <a:gd name="T41" fmla="*/ 102 h 102"/>
                <a:gd name="T42" fmla="*/ 106 w 198"/>
                <a:gd name="T43" fmla="*/ 102 h 102"/>
                <a:gd name="T44" fmla="*/ 115 w 198"/>
                <a:gd name="T45" fmla="*/ 102 h 102"/>
                <a:gd name="T46" fmla="*/ 123 w 198"/>
                <a:gd name="T47" fmla="*/ 100 h 102"/>
                <a:gd name="T48" fmla="*/ 131 w 198"/>
                <a:gd name="T49" fmla="*/ 100 h 102"/>
                <a:gd name="T50" fmla="*/ 137 w 198"/>
                <a:gd name="T51" fmla="*/ 99 h 102"/>
                <a:gd name="T52" fmla="*/ 143 w 198"/>
                <a:gd name="T53" fmla="*/ 97 h 102"/>
                <a:gd name="T54" fmla="*/ 150 w 198"/>
                <a:gd name="T55" fmla="*/ 95 h 102"/>
                <a:gd name="T56" fmla="*/ 156 w 198"/>
                <a:gd name="T57" fmla="*/ 94 h 102"/>
                <a:gd name="T58" fmla="*/ 161 w 198"/>
                <a:gd name="T59" fmla="*/ 92 h 102"/>
                <a:gd name="T60" fmla="*/ 165 w 198"/>
                <a:gd name="T61" fmla="*/ 91 h 102"/>
                <a:gd name="T62" fmla="*/ 170 w 198"/>
                <a:gd name="T63" fmla="*/ 89 h 102"/>
                <a:gd name="T64" fmla="*/ 173 w 198"/>
                <a:gd name="T65" fmla="*/ 86 h 102"/>
                <a:gd name="T66" fmla="*/ 181 w 198"/>
                <a:gd name="T67" fmla="*/ 81 h 102"/>
                <a:gd name="T68" fmla="*/ 185 w 198"/>
                <a:gd name="T69" fmla="*/ 75 h 102"/>
                <a:gd name="T70" fmla="*/ 190 w 198"/>
                <a:gd name="T71" fmla="*/ 69 h 102"/>
                <a:gd name="T72" fmla="*/ 193 w 198"/>
                <a:gd name="T73" fmla="*/ 61 h 102"/>
                <a:gd name="T74" fmla="*/ 195 w 198"/>
                <a:gd name="T75" fmla="*/ 53 h 102"/>
                <a:gd name="T76" fmla="*/ 196 w 198"/>
                <a:gd name="T77" fmla="*/ 46 h 102"/>
                <a:gd name="T78" fmla="*/ 198 w 198"/>
                <a:gd name="T79" fmla="*/ 38 h 102"/>
                <a:gd name="T80" fmla="*/ 198 w 198"/>
                <a:gd name="T81" fmla="*/ 28 h 102"/>
                <a:gd name="T82" fmla="*/ 198 w 198"/>
                <a:gd name="T83" fmla="*/ 10 h 102"/>
                <a:gd name="T84" fmla="*/ 198 w 198"/>
                <a:gd name="T85" fmla="*/ 10 h 102"/>
                <a:gd name="T86" fmla="*/ 198 w 198"/>
                <a:gd name="T87" fmla="*/ 0 h 102"/>
                <a:gd name="T88" fmla="*/ 0 w 198"/>
                <a:gd name="T89" fmla="*/ 0 h 102"/>
                <a:gd name="T90" fmla="*/ 0 w 198"/>
                <a:gd name="T91" fmla="*/ 10 h 102"/>
                <a:gd name="T92" fmla="*/ 0 w 198"/>
                <a:gd name="T93" fmla="*/ 1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02">
                  <a:moveTo>
                    <a:pt x="0" y="10"/>
                  </a:moveTo>
                  <a:lnTo>
                    <a:pt x="0" y="28"/>
                  </a:lnTo>
                  <a:lnTo>
                    <a:pt x="0" y="38"/>
                  </a:lnTo>
                  <a:lnTo>
                    <a:pt x="1" y="46"/>
                  </a:lnTo>
                  <a:lnTo>
                    <a:pt x="3" y="53"/>
                  </a:lnTo>
                  <a:lnTo>
                    <a:pt x="4" y="61"/>
                  </a:lnTo>
                  <a:lnTo>
                    <a:pt x="8" y="69"/>
                  </a:lnTo>
                  <a:lnTo>
                    <a:pt x="12" y="75"/>
                  </a:lnTo>
                  <a:lnTo>
                    <a:pt x="17" y="81"/>
                  </a:lnTo>
                  <a:lnTo>
                    <a:pt x="23" y="86"/>
                  </a:lnTo>
                  <a:lnTo>
                    <a:pt x="31" y="91"/>
                  </a:lnTo>
                  <a:lnTo>
                    <a:pt x="36" y="92"/>
                  </a:lnTo>
                  <a:lnTo>
                    <a:pt x="42" y="94"/>
                  </a:lnTo>
                  <a:lnTo>
                    <a:pt x="47" y="95"/>
                  </a:lnTo>
                  <a:lnTo>
                    <a:pt x="53" y="97"/>
                  </a:lnTo>
                  <a:lnTo>
                    <a:pt x="59" y="99"/>
                  </a:lnTo>
                  <a:lnTo>
                    <a:pt x="65" y="100"/>
                  </a:lnTo>
                  <a:lnTo>
                    <a:pt x="73" y="100"/>
                  </a:lnTo>
                  <a:lnTo>
                    <a:pt x="81" y="102"/>
                  </a:lnTo>
                  <a:lnTo>
                    <a:pt x="89" y="102"/>
                  </a:lnTo>
                  <a:lnTo>
                    <a:pt x="98" y="102"/>
                  </a:lnTo>
                  <a:lnTo>
                    <a:pt x="106" y="102"/>
                  </a:lnTo>
                  <a:lnTo>
                    <a:pt x="115" y="102"/>
                  </a:lnTo>
                  <a:lnTo>
                    <a:pt x="123" y="100"/>
                  </a:lnTo>
                  <a:lnTo>
                    <a:pt x="131" y="100"/>
                  </a:lnTo>
                  <a:lnTo>
                    <a:pt x="137" y="99"/>
                  </a:lnTo>
                  <a:lnTo>
                    <a:pt x="143" y="97"/>
                  </a:lnTo>
                  <a:lnTo>
                    <a:pt x="150" y="95"/>
                  </a:lnTo>
                  <a:lnTo>
                    <a:pt x="156" y="94"/>
                  </a:lnTo>
                  <a:lnTo>
                    <a:pt x="161" y="92"/>
                  </a:lnTo>
                  <a:lnTo>
                    <a:pt x="165" y="91"/>
                  </a:lnTo>
                  <a:lnTo>
                    <a:pt x="170" y="89"/>
                  </a:lnTo>
                  <a:lnTo>
                    <a:pt x="173" y="86"/>
                  </a:lnTo>
                  <a:lnTo>
                    <a:pt x="181" y="81"/>
                  </a:lnTo>
                  <a:lnTo>
                    <a:pt x="185" y="75"/>
                  </a:lnTo>
                  <a:lnTo>
                    <a:pt x="190" y="69"/>
                  </a:lnTo>
                  <a:lnTo>
                    <a:pt x="193" y="61"/>
                  </a:lnTo>
                  <a:lnTo>
                    <a:pt x="195" y="53"/>
                  </a:lnTo>
                  <a:lnTo>
                    <a:pt x="196" y="46"/>
                  </a:lnTo>
                  <a:lnTo>
                    <a:pt x="198" y="38"/>
                  </a:lnTo>
                  <a:lnTo>
                    <a:pt x="198" y="28"/>
                  </a:lnTo>
                  <a:lnTo>
                    <a:pt x="198" y="10"/>
                  </a:lnTo>
                  <a:lnTo>
                    <a:pt x="198" y="10"/>
                  </a:lnTo>
                  <a:lnTo>
                    <a:pt x="198" y="0"/>
                  </a:lnTo>
                  <a:lnTo>
                    <a:pt x="0" y="0"/>
                  </a:lnTo>
                  <a:lnTo>
                    <a:pt x="0" y="10"/>
                  </a:lnTo>
                  <a:lnTo>
                    <a:pt x="0" y="10"/>
                  </a:lnTo>
                  <a:close/>
                </a:path>
              </a:pathLst>
            </a:custGeom>
            <a:grpFill/>
            <a:ln w="9525">
              <a:noFill/>
              <a:round/>
              <a:headEnd/>
              <a:tailEnd/>
            </a:ln>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2018">
              <a:extLst>
                <a:ext uri="{FF2B5EF4-FFF2-40B4-BE49-F238E27FC236}">
                  <a16:creationId xmlns:a16="http://schemas.microsoft.com/office/drawing/2014/main" id="{5743DFA7-6EEE-4803-ACEC-7E9769095D49}"/>
                </a:ext>
              </a:extLst>
            </p:cNvPr>
            <p:cNvSpPr>
              <a:spLocks/>
            </p:cNvSpPr>
            <p:nvPr/>
          </p:nvSpPr>
          <p:spPr bwMode="auto">
            <a:xfrm>
              <a:off x="9269721" y="4542000"/>
              <a:ext cx="289028" cy="718200"/>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grpFill/>
            <a:ln w="9525">
              <a:noFill/>
              <a:round/>
              <a:headEnd/>
              <a:tailEnd/>
            </a:ln>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896972285"/>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70D38-9FC0-49E0-BE88-44CEFDFE94AE}"/>
              </a:ext>
            </a:extLst>
          </p:cNvPr>
          <p:cNvSpPr>
            <a:spLocks noGrp="1"/>
          </p:cNvSpPr>
          <p:nvPr>
            <p:ph type="title"/>
          </p:nvPr>
        </p:nvSpPr>
        <p:spPr>
          <a:xfrm>
            <a:off x="274639" y="295276"/>
            <a:ext cx="11889564" cy="820092"/>
          </a:xfrm>
        </p:spPr>
        <p:txBody>
          <a:bodyPr/>
          <a:lstStyle/>
          <a:p>
            <a:r>
              <a:rPr lang="en-US" sz="4400" dirty="0"/>
              <a:t>Building V2 of the Migration Plan</a:t>
            </a:r>
          </a:p>
        </p:txBody>
      </p:sp>
      <p:sp>
        <p:nvSpPr>
          <p:cNvPr id="74" name="Rectangle 73">
            <a:extLst>
              <a:ext uri="{FF2B5EF4-FFF2-40B4-BE49-F238E27FC236}">
                <a16:creationId xmlns:a16="http://schemas.microsoft.com/office/drawing/2014/main" id="{8F86F30F-154A-47EF-B702-787A776964D7}"/>
              </a:ext>
            </a:extLst>
          </p:cNvPr>
          <p:cNvSpPr/>
          <p:nvPr/>
        </p:nvSpPr>
        <p:spPr>
          <a:xfrm>
            <a:off x="347209" y="1347082"/>
            <a:ext cx="4171335" cy="707886"/>
          </a:xfrm>
          <a:prstGeom prst="rect">
            <a:avLst/>
          </a:prstGeom>
        </p:spPr>
        <p:txBody>
          <a:bodyPr wrap="none">
            <a:spAutoFit/>
          </a:bodyPr>
          <a:lstStyle/>
          <a:p>
            <a:r>
              <a:rPr lang="en-US" sz="4000" dirty="0">
                <a:latin typeface="+mj-lt"/>
              </a:rPr>
              <a:t>For each customer</a:t>
            </a:r>
          </a:p>
        </p:txBody>
      </p:sp>
      <p:grpSp>
        <p:nvGrpSpPr>
          <p:cNvPr id="93" name="Group 92">
            <a:extLst>
              <a:ext uri="{FF2B5EF4-FFF2-40B4-BE49-F238E27FC236}">
                <a16:creationId xmlns:a16="http://schemas.microsoft.com/office/drawing/2014/main" id="{14CBFC7E-54DE-4807-B3B3-F7A9D96347B2}"/>
              </a:ext>
            </a:extLst>
          </p:cNvPr>
          <p:cNvGrpSpPr/>
          <p:nvPr/>
        </p:nvGrpSpPr>
        <p:grpSpPr>
          <a:xfrm>
            <a:off x="469301" y="2252008"/>
            <a:ext cx="11502095" cy="974488"/>
            <a:chOff x="469301" y="2252008"/>
            <a:chExt cx="11502095" cy="974488"/>
          </a:xfrm>
        </p:grpSpPr>
        <p:grpSp>
          <p:nvGrpSpPr>
            <p:cNvPr id="75" name="Group 74">
              <a:extLst>
                <a:ext uri="{FF2B5EF4-FFF2-40B4-BE49-F238E27FC236}">
                  <a16:creationId xmlns:a16="http://schemas.microsoft.com/office/drawing/2014/main" id="{836A502C-4D43-45BE-8C61-7282EC53F33C}"/>
                </a:ext>
              </a:extLst>
            </p:cNvPr>
            <p:cNvGrpSpPr/>
            <p:nvPr/>
          </p:nvGrpSpPr>
          <p:grpSpPr>
            <a:xfrm>
              <a:off x="469301" y="2252008"/>
              <a:ext cx="974488" cy="974488"/>
              <a:chOff x="343218" y="1193019"/>
              <a:chExt cx="1470342" cy="1470342"/>
            </a:xfrm>
          </p:grpSpPr>
          <p:sp>
            <p:nvSpPr>
              <p:cNvPr id="76" name="Oval 75">
                <a:extLst>
                  <a:ext uri="{FF2B5EF4-FFF2-40B4-BE49-F238E27FC236}">
                    <a16:creationId xmlns:a16="http://schemas.microsoft.com/office/drawing/2014/main" id="{12A5A48E-69DA-4D09-B82E-0A2E8D534C8D}"/>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1</a:t>
                </a:r>
                <a:endParaRPr lang="en-IN" sz="2400" b="1" dirty="0" err="1">
                  <a:solidFill>
                    <a:schemeClr val="bg1"/>
                  </a:solidFill>
                  <a:ea typeface="Segoe UI" pitchFamily="34" charset="0"/>
                  <a:cs typeface="Segoe UI" pitchFamily="34" charset="0"/>
                </a:endParaRPr>
              </a:p>
            </p:txBody>
          </p:sp>
          <p:sp>
            <p:nvSpPr>
              <p:cNvPr id="77" name="Arc 76">
                <a:extLst>
                  <a:ext uri="{FF2B5EF4-FFF2-40B4-BE49-F238E27FC236}">
                    <a16:creationId xmlns:a16="http://schemas.microsoft.com/office/drawing/2014/main" id="{D083FB54-2301-4926-AEFD-2DEA0767EA7E}"/>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81" name="Text Placeholder 2">
              <a:extLst>
                <a:ext uri="{FF2B5EF4-FFF2-40B4-BE49-F238E27FC236}">
                  <a16:creationId xmlns:a16="http://schemas.microsoft.com/office/drawing/2014/main" id="{F4AC4610-954B-484A-8063-31FDD2AEFF12}"/>
                </a:ext>
              </a:extLst>
            </p:cNvPr>
            <p:cNvSpPr txBox="1">
              <a:spLocks/>
            </p:cNvSpPr>
            <p:nvPr/>
          </p:nvSpPr>
          <p:spPr>
            <a:xfrm>
              <a:off x="1684421" y="2493031"/>
              <a:ext cx="10286975" cy="492443"/>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3200" dirty="0">
                  <a:solidFill>
                    <a:schemeClr val="tx2"/>
                  </a:solidFill>
                </a:rPr>
                <a:t>Calculate the cloud cost and compare it with current cost</a:t>
              </a:r>
            </a:p>
          </p:txBody>
        </p:sp>
      </p:grpSp>
      <p:grpSp>
        <p:nvGrpSpPr>
          <p:cNvPr id="95" name="Group 94">
            <a:extLst>
              <a:ext uri="{FF2B5EF4-FFF2-40B4-BE49-F238E27FC236}">
                <a16:creationId xmlns:a16="http://schemas.microsoft.com/office/drawing/2014/main" id="{F5E7DF3D-B54A-47CD-B69F-12CE43BF55A4}"/>
              </a:ext>
            </a:extLst>
          </p:cNvPr>
          <p:cNvGrpSpPr/>
          <p:nvPr/>
        </p:nvGrpSpPr>
        <p:grpSpPr>
          <a:xfrm>
            <a:off x="469301" y="4815923"/>
            <a:ext cx="11502095" cy="974488"/>
            <a:chOff x="469301" y="4815923"/>
            <a:chExt cx="11502095" cy="974488"/>
          </a:xfrm>
        </p:grpSpPr>
        <p:grpSp>
          <p:nvGrpSpPr>
            <p:cNvPr id="86" name="Group 85">
              <a:extLst>
                <a:ext uri="{FF2B5EF4-FFF2-40B4-BE49-F238E27FC236}">
                  <a16:creationId xmlns:a16="http://schemas.microsoft.com/office/drawing/2014/main" id="{F84751E2-C2E1-4215-8192-2ED5E562EB28}"/>
                </a:ext>
              </a:extLst>
            </p:cNvPr>
            <p:cNvGrpSpPr/>
            <p:nvPr/>
          </p:nvGrpSpPr>
          <p:grpSpPr>
            <a:xfrm>
              <a:off x="469301" y="4815923"/>
              <a:ext cx="974488" cy="974488"/>
              <a:chOff x="343218" y="1193019"/>
              <a:chExt cx="1470342" cy="1470342"/>
            </a:xfrm>
          </p:grpSpPr>
          <p:sp>
            <p:nvSpPr>
              <p:cNvPr id="87" name="Oval 86">
                <a:extLst>
                  <a:ext uri="{FF2B5EF4-FFF2-40B4-BE49-F238E27FC236}">
                    <a16:creationId xmlns:a16="http://schemas.microsoft.com/office/drawing/2014/main" id="{E43CB0C0-FBEC-471D-86FC-3427E36E6020}"/>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3</a:t>
                </a:r>
                <a:endParaRPr lang="en-IN" sz="2400" b="1" dirty="0" err="1">
                  <a:solidFill>
                    <a:schemeClr val="bg1"/>
                  </a:solidFill>
                  <a:ea typeface="Segoe UI" pitchFamily="34" charset="0"/>
                  <a:cs typeface="Segoe UI" pitchFamily="34" charset="0"/>
                </a:endParaRPr>
              </a:p>
            </p:txBody>
          </p:sp>
          <p:sp>
            <p:nvSpPr>
              <p:cNvPr id="88" name="Arc 87">
                <a:extLst>
                  <a:ext uri="{FF2B5EF4-FFF2-40B4-BE49-F238E27FC236}">
                    <a16:creationId xmlns:a16="http://schemas.microsoft.com/office/drawing/2014/main" id="{8EFE8F1D-DA30-41CF-82D3-D439342C125E}"/>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89" name="Text Placeholder 2">
              <a:extLst>
                <a:ext uri="{FF2B5EF4-FFF2-40B4-BE49-F238E27FC236}">
                  <a16:creationId xmlns:a16="http://schemas.microsoft.com/office/drawing/2014/main" id="{215655E0-B346-4803-8785-F7369B4D3EB9}"/>
                </a:ext>
              </a:extLst>
            </p:cNvPr>
            <p:cNvSpPr txBox="1">
              <a:spLocks/>
            </p:cNvSpPr>
            <p:nvPr/>
          </p:nvSpPr>
          <p:spPr>
            <a:xfrm>
              <a:off x="1684421" y="5056946"/>
              <a:ext cx="10286975" cy="492443"/>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3200" dirty="0">
                  <a:solidFill>
                    <a:schemeClr val="tx2"/>
                  </a:solidFill>
                </a:rPr>
                <a:t>Present offer to customer</a:t>
              </a:r>
            </a:p>
          </p:txBody>
        </p:sp>
      </p:grpSp>
      <p:grpSp>
        <p:nvGrpSpPr>
          <p:cNvPr id="94" name="Group 93">
            <a:extLst>
              <a:ext uri="{FF2B5EF4-FFF2-40B4-BE49-F238E27FC236}">
                <a16:creationId xmlns:a16="http://schemas.microsoft.com/office/drawing/2014/main" id="{C55B23F1-B8F2-49D1-9637-B2F83017B562}"/>
              </a:ext>
            </a:extLst>
          </p:cNvPr>
          <p:cNvGrpSpPr/>
          <p:nvPr/>
        </p:nvGrpSpPr>
        <p:grpSpPr>
          <a:xfrm>
            <a:off x="465381" y="3532006"/>
            <a:ext cx="11506015" cy="978408"/>
            <a:chOff x="465381" y="3532006"/>
            <a:chExt cx="11506015" cy="978408"/>
          </a:xfrm>
        </p:grpSpPr>
        <p:sp>
          <p:nvSpPr>
            <p:cNvPr id="85" name="Text Placeholder 2">
              <a:extLst>
                <a:ext uri="{FF2B5EF4-FFF2-40B4-BE49-F238E27FC236}">
                  <a16:creationId xmlns:a16="http://schemas.microsoft.com/office/drawing/2014/main" id="{C7376C0F-D347-4531-BDAC-00679799691B}"/>
                </a:ext>
              </a:extLst>
            </p:cNvPr>
            <p:cNvSpPr txBox="1">
              <a:spLocks/>
            </p:cNvSpPr>
            <p:nvPr/>
          </p:nvSpPr>
          <p:spPr>
            <a:xfrm>
              <a:off x="1684421" y="3774988"/>
              <a:ext cx="10286975" cy="492443"/>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3200" dirty="0">
                  <a:solidFill>
                    <a:schemeClr val="tx2"/>
                  </a:solidFill>
                </a:rPr>
                <a:t>Choose how to migrate </a:t>
              </a:r>
              <a:r>
                <a:rPr lang="en-US" sz="3200" dirty="0" err="1">
                  <a:solidFill>
                    <a:schemeClr val="tx2"/>
                  </a:solidFill>
                </a:rPr>
                <a:t>VMs</a:t>
              </a:r>
              <a:r>
                <a:rPr lang="en-US" sz="3200" dirty="0">
                  <a:solidFill>
                    <a:schemeClr val="tx2"/>
                  </a:solidFill>
                </a:rPr>
                <a:t> and databases</a:t>
              </a:r>
            </a:p>
          </p:txBody>
        </p:sp>
        <p:grpSp>
          <p:nvGrpSpPr>
            <p:cNvPr id="90" name="Group 89">
              <a:extLst>
                <a:ext uri="{FF2B5EF4-FFF2-40B4-BE49-F238E27FC236}">
                  <a16:creationId xmlns:a16="http://schemas.microsoft.com/office/drawing/2014/main" id="{36E0C1C1-63EA-494E-BA52-0A45E9DCD898}"/>
                </a:ext>
              </a:extLst>
            </p:cNvPr>
            <p:cNvGrpSpPr/>
            <p:nvPr/>
          </p:nvGrpSpPr>
          <p:grpSpPr>
            <a:xfrm>
              <a:off x="465381" y="3532006"/>
              <a:ext cx="978408" cy="978408"/>
              <a:chOff x="343218" y="2937006"/>
              <a:chExt cx="1470342" cy="1470342"/>
            </a:xfrm>
          </p:grpSpPr>
          <p:sp>
            <p:nvSpPr>
              <p:cNvPr id="91" name="Oval 90">
                <a:extLst>
                  <a:ext uri="{FF2B5EF4-FFF2-40B4-BE49-F238E27FC236}">
                    <a16:creationId xmlns:a16="http://schemas.microsoft.com/office/drawing/2014/main" id="{DF91B28A-88BB-4ECD-AB53-DCC88DC4E27C}"/>
                  </a:ext>
                </a:extLst>
              </p:cNvPr>
              <p:cNvSpPr/>
              <p:nvPr/>
            </p:nvSpPr>
            <p:spPr bwMode="auto">
              <a:xfrm>
                <a:off x="465138" y="3058929"/>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2</a:t>
                </a:r>
                <a:endParaRPr lang="en-IN" sz="2400" b="1" dirty="0" err="1">
                  <a:solidFill>
                    <a:schemeClr val="bg1"/>
                  </a:solidFill>
                  <a:ea typeface="Segoe UI" pitchFamily="34" charset="0"/>
                  <a:cs typeface="Segoe UI" pitchFamily="34" charset="0"/>
                </a:endParaRPr>
              </a:p>
            </p:txBody>
          </p:sp>
          <p:sp>
            <p:nvSpPr>
              <p:cNvPr id="92" name="Arc 91">
                <a:extLst>
                  <a:ext uri="{FF2B5EF4-FFF2-40B4-BE49-F238E27FC236}">
                    <a16:creationId xmlns:a16="http://schemas.microsoft.com/office/drawing/2014/main" id="{141EB8CB-BA03-42DA-BE75-91FC925D0909}"/>
                  </a:ext>
                </a:extLst>
              </p:cNvPr>
              <p:cNvSpPr/>
              <p:nvPr/>
            </p:nvSpPr>
            <p:spPr>
              <a:xfrm flipH="1">
                <a:off x="343218" y="2937006"/>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grpSp>
      <p:cxnSp>
        <p:nvCxnSpPr>
          <p:cNvPr id="4" name="Straight Connector 3">
            <a:extLst>
              <a:ext uri="{FF2B5EF4-FFF2-40B4-BE49-F238E27FC236}">
                <a16:creationId xmlns:a16="http://schemas.microsoft.com/office/drawing/2014/main" id="{B4DE3010-E8B2-4C0C-9064-17C0B0E80079}"/>
              </a:ext>
            </a:extLst>
          </p:cNvPr>
          <p:cNvCxnSpPr/>
          <p:nvPr/>
        </p:nvCxnSpPr>
        <p:spPr>
          <a:xfrm>
            <a:off x="1794076" y="3497262"/>
            <a:ext cx="10035251"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B52D30D-4935-4E82-A6CC-89604590BA9C}"/>
              </a:ext>
            </a:extLst>
          </p:cNvPr>
          <p:cNvCxnSpPr/>
          <p:nvPr/>
        </p:nvCxnSpPr>
        <p:spPr>
          <a:xfrm>
            <a:off x="1794076" y="4654730"/>
            <a:ext cx="10035251"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6310846"/>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70D38-9FC0-49E0-BE88-44CEFDFE94AE}"/>
              </a:ext>
            </a:extLst>
          </p:cNvPr>
          <p:cNvSpPr>
            <a:spLocks noGrp="1"/>
          </p:cNvSpPr>
          <p:nvPr>
            <p:ph type="title"/>
          </p:nvPr>
        </p:nvSpPr>
        <p:spPr/>
        <p:txBody>
          <a:bodyPr/>
          <a:lstStyle/>
          <a:p>
            <a:r>
              <a:rPr lang="en-US" sz="4400" dirty="0"/>
              <a:t>Execute the Migration Plan</a:t>
            </a:r>
          </a:p>
        </p:txBody>
      </p:sp>
      <p:cxnSp>
        <p:nvCxnSpPr>
          <p:cNvPr id="40" name="Straight Connector 39">
            <a:extLst>
              <a:ext uri="{FF2B5EF4-FFF2-40B4-BE49-F238E27FC236}">
                <a16:creationId xmlns:a16="http://schemas.microsoft.com/office/drawing/2014/main" id="{D76AA156-F48A-49B9-B6A5-7A8BD92EB1EE}"/>
              </a:ext>
            </a:extLst>
          </p:cNvPr>
          <p:cNvCxnSpPr>
            <a:cxnSpLocks/>
            <a:endCxn id="43" idx="4"/>
          </p:cNvCxnSpPr>
          <p:nvPr/>
        </p:nvCxnSpPr>
        <p:spPr>
          <a:xfrm flipV="1">
            <a:off x="737144" y="1830569"/>
            <a:ext cx="0" cy="5163956"/>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3C28CA65-EABA-4891-935F-6A86FD079A52}"/>
              </a:ext>
            </a:extLst>
          </p:cNvPr>
          <p:cNvGrpSpPr/>
          <p:nvPr/>
        </p:nvGrpSpPr>
        <p:grpSpPr>
          <a:xfrm>
            <a:off x="415108" y="1236528"/>
            <a:ext cx="644072" cy="644072"/>
            <a:chOff x="415108" y="1236528"/>
            <a:chExt cx="644072" cy="644072"/>
          </a:xfrm>
        </p:grpSpPr>
        <p:sp>
          <p:nvSpPr>
            <p:cNvPr id="42" name="Arc 41">
              <a:extLst>
                <a:ext uri="{FF2B5EF4-FFF2-40B4-BE49-F238E27FC236}">
                  <a16:creationId xmlns:a16="http://schemas.microsoft.com/office/drawing/2014/main" id="{14B497F6-DBF7-40F3-B2F7-55A4E824B98F}"/>
                </a:ext>
              </a:extLst>
            </p:cNvPr>
            <p:cNvSpPr/>
            <p:nvPr/>
          </p:nvSpPr>
          <p:spPr>
            <a:xfrm>
              <a:off x="415108" y="12365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43" name="Oval 42">
              <a:extLst>
                <a:ext uri="{FF2B5EF4-FFF2-40B4-BE49-F238E27FC236}">
                  <a16:creationId xmlns:a16="http://schemas.microsoft.com/office/drawing/2014/main" id="{6DB7D60F-D614-47C3-AB03-E15EEA854A0F}"/>
                </a:ext>
              </a:extLst>
            </p:cNvPr>
            <p:cNvSpPr/>
            <p:nvPr/>
          </p:nvSpPr>
          <p:spPr bwMode="auto">
            <a:xfrm>
              <a:off x="465138" y="128655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1</a:t>
              </a:r>
              <a:endParaRPr lang="en-IN" sz="2400" b="1" dirty="0" err="1">
                <a:solidFill>
                  <a:schemeClr val="bg1"/>
                </a:solidFill>
                <a:ea typeface="Segoe UI" pitchFamily="34" charset="0"/>
                <a:cs typeface="Segoe UI" pitchFamily="34" charset="0"/>
              </a:endParaRPr>
            </a:p>
          </p:txBody>
        </p:sp>
      </p:grpSp>
      <p:grpSp>
        <p:nvGrpSpPr>
          <p:cNvPr id="44" name="Group 43">
            <a:extLst>
              <a:ext uri="{FF2B5EF4-FFF2-40B4-BE49-F238E27FC236}">
                <a16:creationId xmlns:a16="http://schemas.microsoft.com/office/drawing/2014/main" id="{F9C617F5-6D51-47BD-925A-2C2A3B9C9D90}"/>
              </a:ext>
            </a:extLst>
          </p:cNvPr>
          <p:cNvGrpSpPr/>
          <p:nvPr/>
        </p:nvGrpSpPr>
        <p:grpSpPr>
          <a:xfrm>
            <a:off x="415108" y="2179150"/>
            <a:ext cx="644072" cy="644072"/>
            <a:chOff x="415108" y="2036628"/>
            <a:chExt cx="644072" cy="644072"/>
          </a:xfrm>
        </p:grpSpPr>
        <p:sp>
          <p:nvSpPr>
            <p:cNvPr id="45" name="Arc 44">
              <a:extLst>
                <a:ext uri="{FF2B5EF4-FFF2-40B4-BE49-F238E27FC236}">
                  <a16:creationId xmlns:a16="http://schemas.microsoft.com/office/drawing/2014/main" id="{FAD55603-DC18-4199-9E72-69EDD54E1A6E}"/>
                </a:ext>
              </a:extLst>
            </p:cNvPr>
            <p:cNvSpPr/>
            <p:nvPr/>
          </p:nvSpPr>
          <p:spPr>
            <a:xfrm flipH="1">
              <a:off x="415108" y="20366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46" name="Oval 45">
              <a:extLst>
                <a:ext uri="{FF2B5EF4-FFF2-40B4-BE49-F238E27FC236}">
                  <a16:creationId xmlns:a16="http://schemas.microsoft.com/office/drawing/2014/main" id="{C02DE7ED-0C5D-476A-9845-A37B17A4D2C3}"/>
                </a:ext>
              </a:extLst>
            </p:cNvPr>
            <p:cNvSpPr/>
            <p:nvPr/>
          </p:nvSpPr>
          <p:spPr bwMode="auto">
            <a:xfrm>
              <a:off x="465138" y="208723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2</a:t>
              </a:r>
              <a:endParaRPr lang="en-IN" sz="2400" b="1" dirty="0" err="1">
                <a:solidFill>
                  <a:schemeClr val="bg1"/>
                </a:solidFill>
                <a:ea typeface="Segoe UI" pitchFamily="34" charset="0"/>
                <a:cs typeface="Segoe UI" pitchFamily="34" charset="0"/>
              </a:endParaRPr>
            </a:p>
          </p:txBody>
        </p:sp>
      </p:grpSp>
      <p:grpSp>
        <p:nvGrpSpPr>
          <p:cNvPr id="47" name="Group 46">
            <a:extLst>
              <a:ext uri="{FF2B5EF4-FFF2-40B4-BE49-F238E27FC236}">
                <a16:creationId xmlns:a16="http://schemas.microsoft.com/office/drawing/2014/main" id="{624EBF69-2E86-4F4D-91CA-91E3429C1D6F}"/>
              </a:ext>
            </a:extLst>
          </p:cNvPr>
          <p:cNvGrpSpPr/>
          <p:nvPr/>
        </p:nvGrpSpPr>
        <p:grpSpPr>
          <a:xfrm>
            <a:off x="415108" y="3121772"/>
            <a:ext cx="644072" cy="644072"/>
            <a:chOff x="415108" y="2836728"/>
            <a:chExt cx="644072" cy="644072"/>
          </a:xfrm>
        </p:grpSpPr>
        <p:sp>
          <p:nvSpPr>
            <p:cNvPr id="48" name="Arc 47">
              <a:extLst>
                <a:ext uri="{FF2B5EF4-FFF2-40B4-BE49-F238E27FC236}">
                  <a16:creationId xmlns:a16="http://schemas.microsoft.com/office/drawing/2014/main" id="{ADD8DFF6-464A-4821-863F-62FB924C8B17}"/>
                </a:ext>
              </a:extLst>
            </p:cNvPr>
            <p:cNvSpPr/>
            <p:nvPr/>
          </p:nvSpPr>
          <p:spPr>
            <a:xfrm>
              <a:off x="415108" y="28367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49" name="Oval 48">
              <a:extLst>
                <a:ext uri="{FF2B5EF4-FFF2-40B4-BE49-F238E27FC236}">
                  <a16:creationId xmlns:a16="http://schemas.microsoft.com/office/drawing/2014/main" id="{A04E9193-F000-448E-A3FB-83366E4098F6}"/>
                </a:ext>
              </a:extLst>
            </p:cNvPr>
            <p:cNvSpPr/>
            <p:nvPr/>
          </p:nvSpPr>
          <p:spPr bwMode="auto">
            <a:xfrm>
              <a:off x="465138" y="288790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3</a:t>
              </a:r>
              <a:endParaRPr lang="en-IN" sz="2400" b="1" dirty="0" err="1">
                <a:solidFill>
                  <a:schemeClr val="bg1"/>
                </a:solidFill>
                <a:ea typeface="Segoe UI" pitchFamily="34" charset="0"/>
                <a:cs typeface="Segoe UI" pitchFamily="34" charset="0"/>
              </a:endParaRPr>
            </a:p>
          </p:txBody>
        </p:sp>
      </p:grpSp>
      <p:grpSp>
        <p:nvGrpSpPr>
          <p:cNvPr id="50" name="Group 49">
            <a:extLst>
              <a:ext uri="{FF2B5EF4-FFF2-40B4-BE49-F238E27FC236}">
                <a16:creationId xmlns:a16="http://schemas.microsoft.com/office/drawing/2014/main" id="{FDD4A28C-446F-4BCD-9839-F3E353C239B8}"/>
              </a:ext>
            </a:extLst>
          </p:cNvPr>
          <p:cNvGrpSpPr/>
          <p:nvPr/>
        </p:nvGrpSpPr>
        <p:grpSpPr>
          <a:xfrm>
            <a:off x="415108" y="4064394"/>
            <a:ext cx="644072" cy="644072"/>
            <a:chOff x="415108" y="3636828"/>
            <a:chExt cx="644072" cy="644072"/>
          </a:xfrm>
        </p:grpSpPr>
        <p:sp>
          <p:nvSpPr>
            <p:cNvPr id="51" name="Arc 50">
              <a:extLst>
                <a:ext uri="{FF2B5EF4-FFF2-40B4-BE49-F238E27FC236}">
                  <a16:creationId xmlns:a16="http://schemas.microsoft.com/office/drawing/2014/main" id="{CDCBE2E8-8BC4-4F0D-9A96-F175168720E9}"/>
                </a:ext>
              </a:extLst>
            </p:cNvPr>
            <p:cNvSpPr/>
            <p:nvPr/>
          </p:nvSpPr>
          <p:spPr>
            <a:xfrm flipH="1">
              <a:off x="415108" y="36368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52" name="Oval 51">
              <a:extLst>
                <a:ext uri="{FF2B5EF4-FFF2-40B4-BE49-F238E27FC236}">
                  <a16:creationId xmlns:a16="http://schemas.microsoft.com/office/drawing/2014/main" id="{5B9957D4-09BC-439D-90D3-3F235B2CDEB4}"/>
                </a:ext>
              </a:extLst>
            </p:cNvPr>
            <p:cNvSpPr/>
            <p:nvPr/>
          </p:nvSpPr>
          <p:spPr bwMode="auto">
            <a:xfrm>
              <a:off x="465138" y="368858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4</a:t>
              </a:r>
              <a:endParaRPr lang="en-IN" sz="2400" b="1" dirty="0" err="1">
                <a:solidFill>
                  <a:schemeClr val="bg1"/>
                </a:solidFill>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44EA98F6-D084-4C19-8068-66B121E8CF47}"/>
              </a:ext>
            </a:extLst>
          </p:cNvPr>
          <p:cNvGrpSpPr/>
          <p:nvPr/>
        </p:nvGrpSpPr>
        <p:grpSpPr>
          <a:xfrm>
            <a:off x="415108" y="5007016"/>
            <a:ext cx="644072" cy="644072"/>
            <a:chOff x="415108" y="4436928"/>
            <a:chExt cx="644072" cy="644072"/>
          </a:xfrm>
        </p:grpSpPr>
        <p:sp>
          <p:nvSpPr>
            <p:cNvPr id="54" name="Arc 53">
              <a:extLst>
                <a:ext uri="{FF2B5EF4-FFF2-40B4-BE49-F238E27FC236}">
                  <a16:creationId xmlns:a16="http://schemas.microsoft.com/office/drawing/2014/main" id="{48F26A7A-3953-4B9C-8AA7-B25D113E5372}"/>
                </a:ext>
              </a:extLst>
            </p:cNvPr>
            <p:cNvSpPr/>
            <p:nvPr/>
          </p:nvSpPr>
          <p:spPr>
            <a:xfrm>
              <a:off x="415108" y="44369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55" name="Oval 54">
              <a:extLst>
                <a:ext uri="{FF2B5EF4-FFF2-40B4-BE49-F238E27FC236}">
                  <a16:creationId xmlns:a16="http://schemas.microsoft.com/office/drawing/2014/main" id="{08A76DD5-486D-4715-BF22-8F4454423208}"/>
                </a:ext>
              </a:extLst>
            </p:cNvPr>
            <p:cNvSpPr/>
            <p:nvPr/>
          </p:nvSpPr>
          <p:spPr bwMode="auto">
            <a:xfrm>
              <a:off x="465138" y="448925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5</a:t>
              </a:r>
              <a:endParaRPr lang="en-IN" sz="2400" b="1" dirty="0" err="1">
                <a:solidFill>
                  <a:schemeClr val="bg1"/>
                </a:solidFill>
                <a:ea typeface="Segoe UI" pitchFamily="34" charset="0"/>
                <a:cs typeface="Segoe UI" pitchFamily="34" charset="0"/>
              </a:endParaRPr>
            </a:p>
          </p:txBody>
        </p:sp>
      </p:grpSp>
      <p:grpSp>
        <p:nvGrpSpPr>
          <p:cNvPr id="56" name="Group 55">
            <a:extLst>
              <a:ext uri="{FF2B5EF4-FFF2-40B4-BE49-F238E27FC236}">
                <a16:creationId xmlns:a16="http://schemas.microsoft.com/office/drawing/2014/main" id="{AFCF7596-91AC-4FB0-ABB0-0C57A50EF955}"/>
              </a:ext>
            </a:extLst>
          </p:cNvPr>
          <p:cNvGrpSpPr/>
          <p:nvPr/>
        </p:nvGrpSpPr>
        <p:grpSpPr>
          <a:xfrm>
            <a:off x="415108" y="5949640"/>
            <a:ext cx="644072" cy="644072"/>
            <a:chOff x="415108" y="5237028"/>
            <a:chExt cx="644072" cy="644072"/>
          </a:xfrm>
        </p:grpSpPr>
        <p:sp>
          <p:nvSpPr>
            <p:cNvPr id="57" name="Arc 56">
              <a:extLst>
                <a:ext uri="{FF2B5EF4-FFF2-40B4-BE49-F238E27FC236}">
                  <a16:creationId xmlns:a16="http://schemas.microsoft.com/office/drawing/2014/main" id="{0CF8E273-9652-4564-A48F-DB36445D9AD4}"/>
                </a:ext>
              </a:extLst>
            </p:cNvPr>
            <p:cNvSpPr/>
            <p:nvPr/>
          </p:nvSpPr>
          <p:spPr>
            <a:xfrm flipH="1">
              <a:off x="415108" y="52370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58" name="Oval 57">
              <a:extLst>
                <a:ext uri="{FF2B5EF4-FFF2-40B4-BE49-F238E27FC236}">
                  <a16:creationId xmlns:a16="http://schemas.microsoft.com/office/drawing/2014/main" id="{2B5DB95F-DF2A-4F11-91A4-CC77A9B12CF4}"/>
                </a:ext>
              </a:extLst>
            </p:cNvPr>
            <p:cNvSpPr/>
            <p:nvPr/>
          </p:nvSpPr>
          <p:spPr bwMode="auto">
            <a:xfrm>
              <a:off x="465138" y="528993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6</a:t>
              </a:r>
              <a:endParaRPr lang="en-IN" sz="2400" b="1" dirty="0" err="1">
                <a:solidFill>
                  <a:schemeClr val="bg1"/>
                </a:solidFill>
                <a:ea typeface="Segoe UI" pitchFamily="34" charset="0"/>
                <a:cs typeface="Segoe UI" pitchFamily="34" charset="0"/>
              </a:endParaRPr>
            </a:p>
          </p:txBody>
        </p:sp>
      </p:grpSp>
      <p:sp>
        <p:nvSpPr>
          <p:cNvPr id="59" name="Rectangle 58">
            <a:extLst>
              <a:ext uri="{FF2B5EF4-FFF2-40B4-BE49-F238E27FC236}">
                <a16:creationId xmlns:a16="http://schemas.microsoft.com/office/drawing/2014/main" id="{3CB79AD8-28E2-4128-8431-3A655253FCBE}"/>
              </a:ext>
            </a:extLst>
          </p:cNvPr>
          <p:cNvSpPr/>
          <p:nvPr/>
        </p:nvSpPr>
        <p:spPr>
          <a:xfrm>
            <a:off x="1257524" y="1336965"/>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spcBef>
                <a:spcPct val="0"/>
              </a:spcBef>
              <a:spcAft>
                <a:spcPct val="35000"/>
              </a:spcAft>
            </a:pPr>
            <a:r>
              <a:rPr lang="en-US" sz="2800" dirty="0">
                <a:solidFill>
                  <a:schemeClr val="accent1"/>
                </a:solidFill>
                <a:latin typeface="+mj-lt"/>
              </a:rPr>
              <a:t>Create Customer accounts in Partner Center</a:t>
            </a:r>
          </a:p>
        </p:txBody>
      </p:sp>
      <p:sp>
        <p:nvSpPr>
          <p:cNvPr id="60" name="Rectangle 59">
            <a:extLst>
              <a:ext uri="{FF2B5EF4-FFF2-40B4-BE49-F238E27FC236}">
                <a16:creationId xmlns:a16="http://schemas.microsoft.com/office/drawing/2014/main" id="{B806A642-7589-4694-97B0-0950C40790F1}"/>
              </a:ext>
            </a:extLst>
          </p:cNvPr>
          <p:cNvSpPr/>
          <p:nvPr/>
        </p:nvSpPr>
        <p:spPr>
          <a:xfrm>
            <a:off x="1257524" y="2279587"/>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spcBef>
                <a:spcPct val="0"/>
              </a:spcBef>
              <a:spcAft>
                <a:spcPct val="35000"/>
              </a:spcAft>
            </a:pPr>
            <a:r>
              <a:rPr lang="en-US" sz="2800" dirty="0">
                <a:solidFill>
                  <a:schemeClr val="accent1"/>
                </a:solidFill>
                <a:latin typeface="+mj-lt"/>
              </a:rPr>
              <a:t>Create Azure subscriptions, </a:t>
            </a:r>
            <a:r>
              <a:rPr lang="en-US" sz="2800" dirty="0" err="1">
                <a:solidFill>
                  <a:schemeClr val="accent1"/>
                </a:solidFill>
                <a:latin typeface="+mj-lt"/>
              </a:rPr>
              <a:t>vNets</a:t>
            </a:r>
            <a:r>
              <a:rPr lang="en-US" sz="2800" dirty="0">
                <a:solidFill>
                  <a:schemeClr val="accent1"/>
                </a:solidFill>
                <a:latin typeface="+mj-lt"/>
              </a:rPr>
              <a:t> and establish site-to-site connectivity</a:t>
            </a:r>
          </a:p>
        </p:txBody>
      </p:sp>
      <p:sp>
        <p:nvSpPr>
          <p:cNvPr id="61" name="Rectangle 60">
            <a:extLst>
              <a:ext uri="{FF2B5EF4-FFF2-40B4-BE49-F238E27FC236}">
                <a16:creationId xmlns:a16="http://schemas.microsoft.com/office/drawing/2014/main" id="{3A59B6A2-B0ED-4CE8-8750-A093F6CC6B30}"/>
              </a:ext>
            </a:extLst>
          </p:cNvPr>
          <p:cNvSpPr/>
          <p:nvPr/>
        </p:nvSpPr>
        <p:spPr>
          <a:xfrm>
            <a:off x="1257524" y="3017249"/>
            <a:ext cx="10771688" cy="88639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spcBef>
                <a:spcPct val="0"/>
              </a:spcBef>
              <a:spcAft>
                <a:spcPct val="35000"/>
              </a:spcAft>
            </a:pPr>
            <a:r>
              <a:rPr lang="en-US" sz="2800" dirty="0">
                <a:solidFill>
                  <a:schemeClr val="accent1"/>
                </a:solidFill>
                <a:latin typeface="+mj-lt"/>
              </a:rPr>
              <a:t>Deploy ASR</a:t>
            </a:r>
          </a:p>
        </p:txBody>
      </p:sp>
      <p:sp>
        <p:nvSpPr>
          <p:cNvPr id="62" name="Rectangle 61">
            <a:extLst>
              <a:ext uri="{FF2B5EF4-FFF2-40B4-BE49-F238E27FC236}">
                <a16:creationId xmlns:a16="http://schemas.microsoft.com/office/drawing/2014/main" id="{3329F80D-3B86-4BE9-BF01-ED80AB33AD09}"/>
              </a:ext>
            </a:extLst>
          </p:cNvPr>
          <p:cNvSpPr/>
          <p:nvPr/>
        </p:nvSpPr>
        <p:spPr>
          <a:xfrm>
            <a:off x="1257524" y="4164831"/>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spcBef>
                <a:spcPct val="0"/>
              </a:spcBef>
              <a:spcAft>
                <a:spcPct val="35000"/>
              </a:spcAft>
            </a:pPr>
            <a:r>
              <a:rPr lang="en-US" sz="2800" dirty="0">
                <a:solidFill>
                  <a:schemeClr val="accent1"/>
                </a:solidFill>
                <a:latin typeface="+mj-lt"/>
              </a:rPr>
              <a:t>Deploy DMS</a:t>
            </a:r>
          </a:p>
        </p:txBody>
      </p:sp>
      <p:sp>
        <p:nvSpPr>
          <p:cNvPr id="63" name="Rectangle 62">
            <a:extLst>
              <a:ext uri="{FF2B5EF4-FFF2-40B4-BE49-F238E27FC236}">
                <a16:creationId xmlns:a16="http://schemas.microsoft.com/office/drawing/2014/main" id="{4DFBA037-7F8D-4C86-840F-98BBC6DC8DEB}"/>
              </a:ext>
            </a:extLst>
          </p:cNvPr>
          <p:cNvSpPr/>
          <p:nvPr/>
        </p:nvSpPr>
        <p:spPr>
          <a:xfrm>
            <a:off x="1257524" y="5107453"/>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spcBef>
                <a:spcPct val="0"/>
              </a:spcBef>
              <a:spcAft>
                <a:spcPct val="35000"/>
              </a:spcAft>
            </a:pPr>
            <a:r>
              <a:rPr lang="en-US" sz="2800" dirty="0">
                <a:solidFill>
                  <a:schemeClr val="accent1"/>
                </a:solidFill>
                <a:latin typeface="+mj-lt"/>
              </a:rPr>
              <a:t>Migrate workload by workload</a:t>
            </a:r>
          </a:p>
        </p:txBody>
      </p:sp>
      <p:sp>
        <p:nvSpPr>
          <p:cNvPr id="64" name="Rectangle 63">
            <a:extLst>
              <a:ext uri="{FF2B5EF4-FFF2-40B4-BE49-F238E27FC236}">
                <a16:creationId xmlns:a16="http://schemas.microsoft.com/office/drawing/2014/main" id="{C8315316-97D5-4A46-8AAC-77627F887F99}"/>
              </a:ext>
            </a:extLst>
          </p:cNvPr>
          <p:cNvSpPr/>
          <p:nvPr/>
        </p:nvSpPr>
        <p:spPr>
          <a:xfrm>
            <a:off x="1257524" y="5882329"/>
            <a:ext cx="10771688" cy="88639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spcBef>
                <a:spcPct val="0"/>
              </a:spcBef>
              <a:spcAft>
                <a:spcPct val="35000"/>
              </a:spcAft>
            </a:pPr>
            <a:r>
              <a:rPr lang="en-US" sz="2800" dirty="0">
                <a:solidFill>
                  <a:schemeClr val="accent1"/>
                </a:solidFill>
                <a:latin typeface="+mj-lt"/>
              </a:rPr>
              <a:t>Implement Azure Advisor recommendations to optimize workloads </a:t>
            </a:r>
            <a:br>
              <a:rPr lang="en-US" sz="2800" dirty="0">
                <a:solidFill>
                  <a:schemeClr val="accent1"/>
                </a:solidFill>
                <a:latin typeface="+mj-lt"/>
              </a:rPr>
            </a:br>
            <a:r>
              <a:rPr lang="en-US" sz="2800" dirty="0">
                <a:solidFill>
                  <a:schemeClr val="accent1"/>
                </a:solidFill>
                <a:latin typeface="+mj-lt"/>
              </a:rPr>
              <a:t>for Azure</a:t>
            </a:r>
          </a:p>
        </p:txBody>
      </p:sp>
      <p:cxnSp>
        <p:nvCxnSpPr>
          <p:cNvPr id="65" name="Straight Connector 64">
            <a:extLst>
              <a:ext uri="{FF2B5EF4-FFF2-40B4-BE49-F238E27FC236}">
                <a16:creationId xmlns:a16="http://schemas.microsoft.com/office/drawing/2014/main" id="{3B1FD4BF-BDAF-465C-A14C-68BF04C7BBF1}"/>
              </a:ext>
            </a:extLst>
          </p:cNvPr>
          <p:cNvCxnSpPr>
            <a:cxnSpLocks/>
            <a:endCxn id="42" idx="0"/>
          </p:cNvCxnSpPr>
          <p:nvPr/>
        </p:nvCxnSpPr>
        <p:spPr>
          <a:xfrm>
            <a:off x="0" y="1236528"/>
            <a:ext cx="73714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6047D207-E5B8-40D6-B9AF-229AC60C53D5}"/>
              </a:ext>
            </a:extLst>
          </p:cNvPr>
          <p:cNvCxnSpPr/>
          <p:nvPr/>
        </p:nvCxnSpPr>
        <p:spPr>
          <a:xfrm>
            <a:off x="1257524" y="2029875"/>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5BBBD46-23ED-483B-BF17-5986A9109D6F}"/>
              </a:ext>
            </a:extLst>
          </p:cNvPr>
          <p:cNvCxnSpPr/>
          <p:nvPr/>
        </p:nvCxnSpPr>
        <p:spPr>
          <a:xfrm>
            <a:off x="1257524" y="2972497"/>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35E6577-693A-43D6-8E9C-C002F764E539}"/>
              </a:ext>
            </a:extLst>
          </p:cNvPr>
          <p:cNvCxnSpPr/>
          <p:nvPr/>
        </p:nvCxnSpPr>
        <p:spPr>
          <a:xfrm>
            <a:off x="1257524" y="3915119"/>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5D544B4-6AEE-4F0E-8019-16187A513D01}"/>
              </a:ext>
            </a:extLst>
          </p:cNvPr>
          <p:cNvCxnSpPr/>
          <p:nvPr/>
        </p:nvCxnSpPr>
        <p:spPr>
          <a:xfrm>
            <a:off x="1257524" y="4857741"/>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034FFD-AD07-4A87-8906-FCF0F1B72EE5}"/>
              </a:ext>
            </a:extLst>
          </p:cNvPr>
          <p:cNvCxnSpPr/>
          <p:nvPr/>
        </p:nvCxnSpPr>
        <p:spPr>
          <a:xfrm>
            <a:off x="1257524" y="5800363"/>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5743533"/>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C3A21-D2E7-4844-9916-D1BBE378A5A0}"/>
              </a:ext>
            </a:extLst>
          </p:cNvPr>
          <p:cNvSpPr>
            <a:spLocks noGrp="1"/>
          </p:cNvSpPr>
          <p:nvPr>
            <p:ph type="title"/>
          </p:nvPr>
        </p:nvSpPr>
        <p:spPr/>
        <p:txBody>
          <a:bodyPr/>
          <a:lstStyle/>
          <a:p>
            <a:r>
              <a:rPr lang="en-US" dirty="0"/>
              <a:t>Best Practices</a:t>
            </a:r>
          </a:p>
        </p:txBody>
      </p:sp>
      <p:sp>
        <p:nvSpPr>
          <p:cNvPr id="11" name="Arrow: Bent 10">
            <a:extLst>
              <a:ext uri="{FF2B5EF4-FFF2-40B4-BE49-F238E27FC236}">
                <a16:creationId xmlns:a16="http://schemas.microsoft.com/office/drawing/2014/main" id="{F64E3E97-2F7C-4608-BEDD-1C1C460F6383}"/>
              </a:ext>
            </a:extLst>
          </p:cNvPr>
          <p:cNvSpPr/>
          <p:nvPr/>
        </p:nvSpPr>
        <p:spPr bwMode="auto">
          <a:xfrm rot="5400000">
            <a:off x="-2484658" y="3798671"/>
            <a:ext cx="5680513" cy="711200"/>
          </a:xfrm>
          <a:prstGeom prst="bentArrow">
            <a:avLst>
              <a:gd name="adj1" fmla="val 0"/>
              <a:gd name="adj2" fmla="val 0"/>
              <a:gd name="adj3" fmla="val 0"/>
              <a:gd name="adj4" fmla="val 1732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0165825A-9A96-442B-BBB1-013E2E4ED7D9}"/>
              </a:ext>
            </a:extLst>
          </p:cNvPr>
          <p:cNvGrpSpPr/>
          <p:nvPr/>
        </p:nvGrpSpPr>
        <p:grpSpPr>
          <a:xfrm>
            <a:off x="929640" y="1431113"/>
            <a:ext cx="11041698" cy="5136767"/>
            <a:chOff x="860108" y="1431113"/>
            <a:chExt cx="11111230" cy="5136767"/>
          </a:xfrm>
        </p:grpSpPr>
        <p:sp>
          <p:nvSpPr>
            <p:cNvPr id="9" name="Rectangle 8">
              <a:extLst>
                <a:ext uri="{FF2B5EF4-FFF2-40B4-BE49-F238E27FC236}">
                  <a16:creationId xmlns:a16="http://schemas.microsoft.com/office/drawing/2014/main" id="{C74368D3-A063-4472-9552-1AFADEBD0763}"/>
                </a:ext>
              </a:extLst>
            </p:cNvPr>
            <p:cNvSpPr/>
            <p:nvPr/>
          </p:nvSpPr>
          <p:spPr>
            <a:xfrm>
              <a:off x="882701" y="1431113"/>
              <a:ext cx="11088637" cy="677108"/>
            </a:xfrm>
            <a:prstGeom prst="rect">
              <a:avLst/>
            </a:prstGeom>
          </p:spPr>
          <p:txBody>
            <a:bodyPr wrap="square" lIns="0" tIns="0" rIns="0" bIns="0">
              <a:spAutoFit/>
            </a:bodyPr>
            <a:lstStyle/>
            <a:p>
              <a:r>
                <a:rPr lang="en-US" sz="2200" dirty="0">
                  <a:solidFill>
                    <a:schemeClr val="tx2"/>
                  </a:solidFill>
                  <a:latin typeface="+mj-lt"/>
                </a:rPr>
                <a:t>Cost is not the only deciding factor for customers. SLA, certifications, development strategy, rich service portfolio can be more important for long-term considerations</a:t>
              </a:r>
            </a:p>
          </p:txBody>
        </p:sp>
        <p:sp>
          <p:nvSpPr>
            <p:cNvPr id="10" name="Rectangle 9">
              <a:extLst>
                <a:ext uri="{FF2B5EF4-FFF2-40B4-BE49-F238E27FC236}">
                  <a16:creationId xmlns:a16="http://schemas.microsoft.com/office/drawing/2014/main" id="{75EB07CD-49CC-44B8-B0E1-6E07CE457D0E}"/>
                </a:ext>
              </a:extLst>
            </p:cNvPr>
            <p:cNvSpPr/>
            <p:nvPr/>
          </p:nvSpPr>
          <p:spPr>
            <a:xfrm>
              <a:off x="882701" y="2316889"/>
              <a:ext cx="11088637" cy="677108"/>
            </a:xfrm>
            <a:prstGeom prst="rect">
              <a:avLst/>
            </a:prstGeom>
          </p:spPr>
          <p:txBody>
            <a:bodyPr wrap="square" lIns="0" tIns="0" rIns="0" bIns="0">
              <a:spAutoFit/>
            </a:bodyPr>
            <a:lstStyle/>
            <a:p>
              <a:r>
                <a:rPr lang="en-US" sz="2200" dirty="0">
                  <a:solidFill>
                    <a:schemeClr val="tx2"/>
                  </a:solidFill>
                  <a:latin typeface="+mj-lt"/>
                </a:rPr>
                <a:t>Try to unveil hidden opportunities during the assessment. Include more </a:t>
              </a:r>
              <a:r>
                <a:rPr lang="en-US" sz="2200" dirty="0" err="1">
                  <a:solidFill>
                    <a:schemeClr val="tx2"/>
                  </a:solidFill>
                  <a:latin typeface="+mj-lt"/>
                </a:rPr>
                <a:t>VMs</a:t>
              </a:r>
              <a:r>
                <a:rPr lang="en-US" sz="2200" dirty="0">
                  <a:solidFill>
                    <a:schemeClr val="tx2"/>
                  </a:solidFill>
                  <a:latin typeface="+mj-lt"/>
                </a:rPr>
                <a:t> to the discovery scope using free </a:t>
              </a:r>
              <a:r>
                <a:rPr lang="en-US" sz="2200" dirty="0" err="1">
                  <a:solidFill>
                    <a:schemeClr val="tx2"/>
                  </a:solidFill>
                  <a:latin typeface="+mj-lt"/>
                </a:rPr>
                <a:t>Cloudamize</a:t>
              </a:r>
              <a:r>
                <a:rPr lang="en-US" sz="2200" dirty="0">
                  <a:solidFill>
                    <a:schemeClr val="tx2"/>
                  </a:solidFill>
                  <a:latin typeface="+mj-lt"/>
                </a:rPr>
                <a:t> licenses benefit</a:t>
              </a:r>
            </a:p>
          </p:txBody>
        </p:sp>
        <p:sp>
          <p:nvSpPr>
            <p:cNvPr id="12" name="Rectangle 11">
              <a:extLst>
                <a:ext uri="{FF2B5EF4-FFF2-40B4-BE49-F238E27FC236}">
                  <a16:creationId xmlns:a16="http://schemas.microsoft.com/office/drawing/2014/main" id="{2FFE2616-91D4-4E86-80CD-0D9956B66499}"/>
                </a:ext>
              </a:extLst>
            </p:cNvPr>
            <p:cNvSpPr/>
            <p:nvPr/>
          </p:nvSpPr>
          <p:spPr>
            <a:xfrm>
              <a:off x="882701" y="3202665"/>
              <a:ext cx="11088637" cy="677108"/>
            </a:xfrm>
            <a:prstGeom prst="rect">
              <a:avLst/>
            </a:prstGeom>
          </p:spPr>
          <p:txBody>
            <a:bodyPr wrap="square" lIns="0" tIns="0" rIns="0" bIns="0">
              <a:spAutoFit/>
            </a:bodyPr>
            <a:lstStyle/>
            <a:p>
              <a:r>
                <a:rPr lang="en-US" sz="2200" dirty="0">
                  <a:solidFill>
                    <a:schemeClr val="tx2"/>
                  </a:solidFill>
                  <a:latin typeface="+mj-lt"/>
                </a:rPr>
                <a:t>Every customer runs databases. That’s a huge revenue opportunity for </a:t>
              </a:r>
              <a:r>
                <a:rPr lang="en-US" sz="2200" dirty="0" err="1">
                  <a:solidFill>
                    <a:schemeClr val="tx2"/>
                  </a:solidFill>
                  <a:latin typeface="+mj-lt"/>
                </a:rPr>
                <a:t>CSP</a:t>
              </a:r>
              <a:r>
                <a:rPr lang="en-US" sz="2200" dirty="0">
                  <a:solidFill>
                    <a:schemeClr val="tx2"/>
                  </a:solidFill>
                  <a:latin typeface="+mj-lt"/>
                </a:rPr>
                <a:t> partners, especially for SQL Server. Don’t miss it</a:t>
              </a:r>
            </a:p>
          </p:txBody>
        </p:sp>
        <p:sp>
          <p:nvSpPr>
            <p:cNvPr id="13" name="Rectangle 12">
              <a:extLst>
                <a:ext uri="{FF2B5EF4-FFF2-40B4-BE49-F238E27FC236}">
                  <a16:creationId xmlns:a16="http://schemas.microsoft.com/office/drawing/2014/main" id="{2AB25C70-9174-4F39-8C80-ECB90C1A8BDE}"/>
                </a:ext>
              </a:extLst>
            </p:cNvPr>
            <p:cNvSpPr/>
            <p:nvPr/>
          </p:nvSpPr>
          <p:spPr>
            <a:xfrm>
              <a:off x="882701" y="4088441"/>
              <a:ext cx="11088637" cy="1015663"/>
            </a:xfrm>
            <a:prstGeom prst="rect">
              <a:avLst/>
            </a:prstGeom>
          </p:spPr>
          <p:txBody>
            <a:bodyPr wrap="square" lIns="0" tIns="0" rIns="0" bIns="0">
              <a:spAutoFit/>
            </a:bodyPr>
            <a:lstStyle/>
            <a:p>
              <a:r>
                <a:rPr lang="en-US" sz="2200" dirty="0">
                  <a:solidFill>
                    <a:schemeClr val="tx2"/>
                  </a:solidFill>
                  <a:latin typeface="+mj-lt"/>
                </a:rPr>
                <a:t>Migration with downtime is a good option if possible. Re-deploy usually requires less efforts and fresh environment is usually more stable (don’t bear existing configuration issues and garbage from on-prem)</a:t>
              </a:r>
            </a:p>
          </p:txBody>
        </p:sp>
        <p:sp>
          <p:nvSpPr>
            <p:cNvPr id="14" name="Rectangle 13">
              <a:extLst>
                <a:ext uri="{FF2B5EF4-FFF2-40B4-BE49-F238E27FC236}">
                  <a16:creationId xmlns:a16="http://schemas.microsoft.com/office/drawing/2014/main" id="{D85941C2-F995-4934-83F9-34948FF3CE03}"/>
                </a:ext>
              </a:extLst>
            </p:cNvPr>
            <p:cNvSpPr/>
            <p:nvPr/>
          </p:nvSpPr>
          <p:spPr>
            <a:xfrm>
              <a:off x="882701" y="5343549"/>
              <a:ext cx="11088637" cy="677108"/>
            </a:xfrm>
            <a:prstGeom prst="rect">
              <a:avLst/>
            </a:prstGeom>
          </p:spPr>
          <p:txBody>
            <a:bodyPr wrap="square" lIns="0" tIns="0" rIns="0" bIns="0">
              <a:spAutoFit/>
            </a:bodyPr>
            <a:lstStyle/>
            <a:p>
              <a:r>
                <a:rPr lang="en-US" sz="2200" dirty="0">
                  <a:solidFill>
                    <a:schemeClr val="tx2"/>
                  </a:solidFill>
                  <a:latin typeface="+mj-lt"/>
                </a:rPr>
                <a:t>Uptime of the workload is different from </a:t>
              </a:r>
              <a:r>
                <a:rPr lang="en-US" sz="2200" dirty="0" err="1">
                  <a:solidFill>
                    <a:schemeClr val="tx2"/>
                  </a:solidFill>
                  <a:latin typeface="+mj-lt"/>
                </a:rPr>
                <a:t>VM</a:t>
              </a:r>
              <a:r>
                <a:rPr lang="en-US" sz="2200" dirty="0">
                  <a:solidFill>
                    <a:schemeClr val="tx2"/>
                  </a:solidFill>
                  <a:latin typeface="+mj-lt"/>
                </a:rPr>
                <a:t> uptime. Customers may not even notice that </a:t>
              </a:r>
              <a:r>
                <a:rPr lang="en-US" sz="2200" dirty="0" err="1">
                  <a:solidFill>
                    <a:schemeClr val="tx2"/>
                  </a:solidFill>
                  <a:latin typeface="+mj-lt"/>
                </a:rPr>
                <a:t>VM</a:t>
              </a:r>
              <a:r>
                <a:rPr lang="en-US" sz="2200" dirty="0">
                  <a:solidFill>
                    <a:schemeClr val="tx2"/>
                  </a:solidFill>
                  <a:latin typeface="+mj-lt"/>
                </a:rPr>
                <a:t> was disabled during the migration if workload remains accessible</a:t>
              </a:r>
            </a:p>
          </p:txBody>
        </p:sp>
        <p:sp>
          <p:nvSpPr>
            <p:cNvPr id="15" name="Rectangle 14">
              <a:extLst>
                <a:ext uri="{FF2B5EF4-FFF2-40B4-BE49-F238E27FC236}">
                  <a16:creationId xmlns:a16="http://schemas.microsoft.com/office/drawing/2014/main" id="{DD12FFAF-2256-44CE-814C-06DD665299E6}"/>
                </a:ext>
              </a:extLst>
            </p:cNvPr>
            <p:cNvSpPr/>
            <p:nvPr/>
          </p:nvSpPr>
          <p:spPr>
            <a:xfrm>
              <a:off x="860108" y="6229326"/>
              <a:ext cx="11088637" cy="338554"/>
            </a:xfrm>
            <a:prstGeom prst="rect">
              <a:avLst/>
            </a:prstGeom>
          </p:spPr>
          <p:txBody>
            <a:bodyPr wrap="square" lIns="0" tIns="0" rIns="0" bIns="0">
              <a:spAutoFit/>
            </a:bodyPr>
            <a:lstStyle/>
            <a:p>
              <a:r>
                <a:rPr lang="en-US" sz="2200" dirty="0">
                  <a:solidFill>
                    <a:schemeClr val="tx2"/>
                  </a:solidFill>
                  <a:latin typeface="+mj-lt"/>
                </a:rPr>
                <a:t>Azure Traffic Manager can help with IP address changes during the migration.</a:t>
              </a:r>
            </a:p>
          </p:txBody>
        </p:sp>
        <p:grpSp>
          <p:nvGrpSpPr>
            <p:cNvPr id="3" name="Group 2">
              <a:extLst>
                <a:ext uri="{FF2B5EF4-FFF2-40B4-BE49-F238E27FC236}">
                  <a16:creationId xmlns:a16="http://schemas.microsoft.com/office/drawing/2014/main" id="{15EC54E2-FD03-4E75-B711-DAACF7B5E051}"/>
                </a:ext>
              </a:extLst>
            </p:cNvPr>
            <p:cNvGrpSpPr/>
            <p:nvPr/>
          </p:nvGrpSpPr>
          <p:grpSpPr>
            <a:xfrm>
              <a:off x="882701" y="2220621"/>
              <a:ext cx="11088637" cy="3912437"/>
              <a:chOff x="711199" y="2220621"/>
              <a:chExt cx="11260139" cy="3912437"/>
            </a:xfrm>
          </p:grpSpPr>
          <p:cxnSp>
            <p:nvCxnSpPr>
              <p:cNvPr id="17" name="Straight Connector 16">
                <a:extLst>
                  <a:ext uri="{FF2B5EF4-FFF2-40B4-BE49-F238E27FC236}">
                    <a16:creationId xmlns:a16="http://schemas.microsoft.com/office/drawing/2014/main" id="{734636CD-C373-4B43-A4FC-33FFC84A8A04}"/>
                  </a:ext>
                </a:extLst>
              </p:cNvPr>
              <p:cNvCxnSpPr>
                <a:cxnSpLocks/>
              </p:cNvCxnSpPr>
              <p:nvPr/>
            </p:nvCxnSpPr>
            <p:spPr>
              <a:xfrm>
                <a:off x="711199" y="2220621"/>
                <a:ext cx="11260139"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75CC668-A9D4-411D-A5B6-2571E55B08BD}"/>
                  </a:ext>
                </a:extLst>
              </p:cNvPr>
              <p:cNvCxnSpPr>
                <a:cxnSpLocks/>
              </p:cNvCxnSpPr>
              <p:nvPr/>
            </p:nvCxnSpPr>
            <p:spPr>
              <a:xfrm>
                <a:off x="711199" y="3106397"/>
                <a:ext cx="11260139"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2287CE5-4510-46E9-A1CE-9C0794D49CE9}"/>
                  </a:ext>
                </a:extLst>
              </p:cNvPr>
              <p:cNvCxnSpPr>
                <a:cxnSpLocks/>
              </p:cNvCxnSpPr>
              <p:nvPr/>
            </p:nvCxnSpPr>
            <p:spPr>
              <a:xfrm>
                <a:off x="711199" y="3992173"/>
                <a:ext cx="11260139"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576D663-36CA-486B-9387-F2E1FD04A2B8}"/>
                  </a:ext>
                </a:extLst>
              </p:cNvPr>
              <p:cNvCxnSpPr>
                <a:cxnSpLocks/>
              </p:cNvCxnSpPr>
              <p:nvPr/>
            </p:nvCxnSpPr>
            <p:spPr>
              <a:xfrm>
                <a:off x="711199" y="5231893"/>
                <a:ext cx="11260139"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51E6292-B023-4542-9007-08EA72E1B736}"/>
                  </a:ext>
                </a:extLst>
              </p:cNvPr>
              <p:cNvCxnSpPr>
                <a:cxnSpLocks/>
              </p:cNvCxnSpPr>
              <p:nvPr/>
            </p:nvCxnSpPr>
            <p:spPr>
              <a:xfrm>
                <a:off x="711199" y="6133058"/>
                <a:ext cx="11260139"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3" name="Flowchart: Connector 22">
            <a:extLst>
              <a:ext uri="{FF2B5EF4-FFF2-40B4-BE49-F238E27FC236}">
                <a16:creationId xmlns:a16="http://schemas.microsoft.com/office/drawing/2014/main" id="{3767654A-1E3E-44C1-B157-0E729239272B}"/>
              </a:ext>
            </a:extLst>
          </p:cNvPr>
          <p:cNvSpPr/>
          <p:nvPr/>
        </p:nvSpPr>
        <p:spPr bwMode="auto">
          <a:xfrm>
            <a:off x="605287" y="1686293"/>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Flowchart: Connector 23">
            <a:extLst>
              <a:ext uri="{FF2B5EF4-FFF2-40B4-BE49-F238E27FC236}">
                <a16:creationId xmlns:a16="http://schemas.microsoft.com/office/drawing/2014/main" id="{B4EC3DA6-E098-42C0-8B43-6BEC96943BE6}"/>
              </a:ext>
            </a:extLst>
          </p:cNvPr>
          <p:cNvSpPr/>
          <p:nvPr/>
        </p:nvSpPr>
        <p:spPr bwMode="auto">
          <a:xfrm>
            <a:off x="605287" y="2572069"/>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Flowchart: Connector 24">
            <a:extLst>
              <a:ext uri="{FF2B5EF4-FFF2-40B4-BE49-F238E27FC236}">
                <a16:creationId xmlns:a16="http://schemas.microsoft.com/office/drawing/2014/main" id="{7232FF3C-4CCE-4675-B2A3-6EF1C247C64C}"/>
              </a:ext>
            </a:extLst>
          </p:cNvPr>
          <p:cNvSpPr/>
          <p:nvPr/>
        </p:nvSpPr>
        <p:spPr bwMode="auto">
          <a:xfrm>
            <a:off x="605287" y="3457845"/>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Flowchart: Connector 25">
            <a:extLst>
              <a:ext uri="{FF2B5EF4-FFF2-40B4-BE49-F238E27FC236}">
                <a16:creationId xmlns:a16="http://schemas.microsoft.com/office/drawing/2014/main" id="{0F8487A8-FECC-4F25-9964-C16117296B67}"/>
              </a:ext>
            </a:extLst>
          </p:cNvPr>
          <p:cNvSpPr/>
          <p:nvPr/>
        </p:nvSpPr>
        <p:spPr bwMode="auto">
          <a:xfrm>
            <a:off x="605287" y="4512899"/>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Flowchart: Connector 26">
            <a:extLst>
              <a:ext uri="{FF2B5EF4-FFF2-40B4-BE49-F238E27FC236}">
                <a16:creationId xmlns:a16="http://schemas.microsoft.com/office/drawing/2014/main" id="{A3AD3527-A2CF-4EF3-B79D-E0B14708032F}"/>
              </a:ext>
            </a:extLst>
          </p:cNvPr>
          <p:cNvSpPr/>
          <p:nvPr/>
        </p:nvSpPr>
        <p:spPr bwMode="auto">
          <a:xfrm>
            <a:off x="605287" y="5598729"/>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Flowchart: Connector 27">
            <a:extLst>
              <a:ext uri="{FF2B5EF4-FFF2-40B4-BE49-F238E27FC236}">
                <a16:creationId xmlns:a16="http://schemas.microsoft.com/office/drawing/2014/main" id="{0EA21E38-35CC-4A5D-8F8E-82FFE13CB267}"/>
              </a:ext>
            </a:extLst>
          </p:cNvPr>
          <p:cNvSpPr/>
          <p:nvPr/>
        </p:nvSpPr>
        <p:spPr bwMode="auto">
          <a:xfrm>
            <a:off x="605287" y="6315229"/>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1658675"/>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EF451A2-7D72-4248-AE94-E218333A9DA0}"/>
              </a:ext>
            </a:extLst>
          </p:cNvPr>
          <p:cNvSpPr/>
          <p:nvPr/>
        </p:nvSpPr>
        <p:spPr>
          <a:xfrm>
            <a:off x="465138" y="422390"/>
            <a:ext cx="11506200" cy="1852815"/>
          </a:xfrm>
          <a:prstGeom prst="rect">
            <a:avLst/>
          </a:prstGeom>
        </p:spPr>
        <p:txBody>
          <a:bodyPr wrap="square" lIns="0" tIns="0" rIns="0">
            <a:spAutoFit/>
          </a:bodyPr>
          <a:lstStyle/>
          <a:p>
            <a:pPr>
              <a:lnSpc>
                <a:spcPct val="90000"/>
              </a:lnSpc>
              <a:spcAft>
                <a:spcPts val="600"/>
              </a:spcAft>
            </a:pPr>
            <a:r>
              <a:rPr lang="en-US" sz="4400" dirty="0">
                <a:solidFill>
                  <a:schemeClr val="bg1"/>
                </a:solidFill>
                <a:latin typeface="+mj-lt"/>
              </a:rPr>
              <a:t>Next Steps</a:t>
            </a:r>
          </a:p>
          <a:p>
            <a:pPr marL="346075" indent="-346075">
              <a:lnSpc>
                <a:spcPct val="90000"/>
              </a:lnSpc>
              <a:spcAft>
                <a:spcPts val="600"/>
              </a:spcAft>
              <a:buFont typeface="Arial" panose="020B0604020202020204" pitchFamily="34" charset="0"/>
              <a:buChar char="•"/>
            </a:pPr>
            <a:r>
              <a:rPr lang="en-US" sz="3600" dirty="0">
                <a:solidFill>
                  <a:schemeClr val="bg1"/>
                </a:solidFill>
                <a:latin typeface="+mj-lt"/>
              </a:rPr>
              <a:t>Review aka.ms/dcmkit</a:t>
            </a:r>
          </a:p>
          <a:p>
            <a:pPr marL="346075" indent="-346075">
              <a:lnSpc>
                <a:spcPct val="90000"/>
              </a:lnSpc>
              <a:spcAft>
                <a:spcPts val="600"/>
              </a:spcAft>
              <a:buFont typeface="Arial" panose="020B0604020202020204" pitchFamily="34" charset="0"/>
              <a:buChar char="•"/>
            </a:pPr>
            <a:r>
              <a:rPr lang="en-US" sz="3600" dirty="0">
                <a:solidFill>
                  <a:schemeClr val="bg1"/>
                </a:solidFill>
                <a:latin typeface="+mj-lt"/>
              </a:rPr>
              <a:t>Reach us at dcmsupport@microsoft.com</a:t>
            </a:r>
            <a:endParaRPr lang="ru-RU" sz="3600" dirty="0" err="1">
              <a:solidFill>
                <a:schemeClr val="bg1"/>
              </a:solidFill>
              <a:latin typeface="+mj-lt"/>
            </a:endParaRPr>
          </a:p>
        </p:txBody>
      </p:sp>
    </p:spTree>
    <p:extLst>
      <p:ext uri="{BB962C8B-B14F-4D97-AF65-F5344CB8AC3E}">
        <p14:creationId xmlns:p14="http://schemas.microsoft.com/office/powerpoint/2010/main" val="27913396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6711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F6198-1BC5-4D53-9EB6-146AA3906E7B}"/>
              </a:ext>
            </a:extLst>
          </p:cNvPr>
          <p:cNvSpPr>
            <a:spLocks noGrp="1"/>
          </p:cNvSpPr>
          <p:nvPr>
            <p:ph type="title"/>
          </p:nvPr>
        </p:nvSpPr>
        <p:spPr/>
        <p:txBody>
          <a:bodyPr/>
          <a:lstStyle/>
          <a:p>
            <a:r>
              <a:rPr lang="en-US" dirty="0"/>
              <a:t>Right customers for migration</a:t>
            </a:r>
            <a:endParaRPr lang="en-IN" dirty="0"/>
          </a:p>
        </p:txBody>
      </p:sp>
      <p:cxnSp>
        <p:nvCxnSpPr>
          <p:cNvPr id="3" name="Straight Connector 2">
            <a:extLst>
              <a:ext uri="{FF2B5EF4-FFF2-40B4-BE49-F238E27FC236}">
                <a16:creationId xmlns:a16="http://schemas.microsoft.com/office/drawing/2014/main" id="{4AB45FCC-CB97-4ED5-A616-09C727586F8E}"/>
              </a:ext>
            </a:extLst>
          </p:cNvPr>
          <p:cNvCxnSpPr>
            <a:cxnSpLocks/>
            <a:endCxn id="11" idx="4"/>
          </p:cNvCxnSpPr>
          <p:nvPr/>
        </p:nvCxnSpPr>
        <p:spPr>
          <a:xfrm flipV="1">
            <a:off x="737144" y="1830569"/>
            <a:ext cx="0" cy="5163956"/>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20C72F3B-C838-41A9-A598-DF3B7A35D8AF}"/>
              </a:ext>
            </a:extLst>
          </p:cNvPr>
          <p:cNvGrpSpPr/>
          <p:nvPr/>
        </p:nvGrpSpPr>
        <p:grpSpPr>
          <a:xfrm>
            <a:off x="415108" y="1236528"/>
            <a:ext cx="644072" cy="644072"/>
            <a:chOff x="415108" y="1236528"/>
            <a:chExt cx="644072" cy="644072"/>
          </a:xfrm>
        </p:grpSpPr>
        <p:sp>
          <p:nvSpPr>
            <p:cNvPr id="4" name="Arc 3">
              <a:extLst>
                <a:ext uri="{FF2B5EF4-FFF2-40B4-BE49-F238E27FC236}">
                  <a16:creationId xmlns:a16="http://schemas.microsoft.com/office/drawing/2014/main" id="{20E3728A-6545-4609-A0C9-C4BDB8CE81E8}"/>
                </a:ext>
              </a:extLst>
            </p:cNvPr>
            <p:cNvSpPr/>
            <p:nvPr/>
          </p:nvSpPr>
          <p:spPr>
            <a:xfrm>
              <a:off x="415108" y="12365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1" name="Oval 10">
              <a:extLst>
                <a:ext uri="{FF2B5EF4-FFF2-40B4-BE49-F238E27FC236}">
                  <a16:creationId xmlns:a16="http://schemas.microsoft.com/office/drawing/2014/main" id="{FBA0236D-A053-4843-886D-8C15F40C9A68}"/>
                </a:ext>
              </a:extLst>
            </p:cNvPr>
            <p:cNvSpPr/>
            <p:nvPr/>
          </p:nvSpPr>
          <p:spPr bwMode="auto">
            <a:xfrm>
              <a:off x="465138" y="128655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1</a:t>
              </a:r>
              <a:endParaRPr lang="en-IN" sz="2400" b="1" dirty="0" err="1">
                <a:solidFill>
                  <a:schemeClr val="bg1"/>
                </a:solidFill>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FD6BC187-A607-4337-B3E0-76C1D6EAF055}"/>
              </a:ext>
            </a:extLst>
          </p:cNvPr>
          <p:cNvGrpSpPr/>
          <p:nvPr/>
        </p:nvGrpSpPr>
        <p:grpSpPr>
          <a:xfrm>
            <a:off x="415108" y="2179150"/>
            <a:ext cx="644072" cy="644072"/>
            <a:chOff x="415108" y="2036628"/>
            <a:chExt cx="644072" cy="644072"/>
          </a:xfrm>
        </p:grpSpPr>
        <p:sp>
          <p:nvSpPr>
            <p:cNvPr id="5" name="Arc 4">
              <a:extLst>
                <a:ext uri="{FF2B5EF4-FFF2-40B4-BE49-F238E27FC236}">
                  <a16:creationId xmlns:a16="http://schemas.microsoft.com/office/drawing/2014/main" id="{A35385CD-2D1F-407F-A266-FECD0B8DDE80}"/>
                </a:ext>
              </a:extLst>
            </p:cNvPr>
            <p:cNvSpPr/>
            <p:nvPr/>
          </p:nvSpPr>
          <p:spPr>
            <a:xfrm flipH="1">
              <a:off x="415108" y="20366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2" name="Oval 11">
              <a:extLst>
                <a:ext uri="{FF2B5EF4-FFF2-40B4-BE49-F238E27FC236}">
                  <a16:creationId xmlns:a16="http://schemas.microsoft.com/office/drawing/2014/main" id="{4929DB6D-FBB4-4362-BF05-F08C13346960}"/>
                </a:ext>
              </a:extLst>
            </p:cNvPr>
            <p:cNvSpPr/>
            <p:nvPr/>
          </p:nvSpPr>
          <p:spPr bwMode="auto">
            <a:xfrm>
              <a:off x="465138" y="208723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2</a:t>
              </a:r>
              <a:endParaRPr lang="en-IN" sz="2400" b="1" dirty="0" err="1">
                <a:solidFill>
                  <a:schemeClr val="bg1"/>
                </a:solidFill>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CA018E97-1D2D-4D32-9A0D-67B791630D52}"/>
              </a:ext>
            </a:extLst>
          </p:cNvPr>
          <p:cNvGrpSpPr/>
          <p:nvPr/>
        </p:nvGrpSpPr>
        <p:grpSpPr>
          <a:xfrm>
            <a:off x="415108" y="3121772"/>
            <a:ext cx="644072" cy="644072"/>
            <a:chOff x="415108" y="2836728"/>
            <a:chExt cx="644072" cy="644072"/>
          </a:xfrm>
        </p:grpSpPr>
        <p:sp>
          <p:nvSpPr>
            <p:cNvPr id="6" name="Arc 5">
              <a:extLst>
                <a:ext uri="{FF2B5EF4-FFF2-40B4-BE49-F238E27FC236}">
                  <a16:creationId xmlns:a16="http://schemas.microsoft.com/office/drawing/2014/main" id="{32FD5164-2A59-4D1D-B4EB-2CA4050873B0}"/>
                </a:ext>
              </a:extLst>
            </p:cNvPr>
            <p:cNvSpPr/>
            <p:nvPr/>
          </p:nvSpPr>
          <p:spPr>
            <a:xfrm>
              <a:off x="415108" y="28367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3" name="Oval 12">
              <a:extLst>
                <a:ext uri="{FF2B5EF4-FFF2-40B4-BE49-F238E27FC236}">
                  <a16:creationId xmlns:a16="http://schemas.microsoft.com/office/drawing/2014/main" id="{020440A8-8005-481E-A285-4237C8F34C51}"/>
                </a:ext>
              </a:extLst>
            </p:cNvPr>
            <p:cNvSpPr/>
            <p:nvPr/>
          </p:nvSpPr>
          <p:spPr bwMode="auto">
            <a:xfrm>
              <a:off x="465138" y="288790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3</a:t>
              </a:r>
              <a:endParaRPr lang="en-IN" sz="2400" b="1" dirty="0" err="1">
                <a:solidFill>
                  <a:schemeClr val="bg1"/>
                </a:solidFill>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715AEA6A-F19C-4A6C-9FBA-543A2D8CC75D}"/>
              </a:ext>
            </a:extLst>
          </p:cNvPr>
          <p:cNvGrpSpPr/>
          <p:nvPr/>
        </p:nvGrpSpPr>
        <p:grpSpPr>
          <a:xfrm>
            <a:off x="415108" y="4064394"/>
            <a:ext cx="644072" cy="644072"/>
            <a:chOff x="415108" y="3636828"/>
            <a:chExt cx="644072" cy="644072"/>
          </a:xfrm>
        </p:grpSpPr>
        <p:sp>
          <p:nvSpPr>
            <p:cNvPr id="7" name="Arc 6">
              <a:extLst>
                <a:ext uri="{FF2B5EF4-FFF2-40B4-BE49-F238E27FC236}">
                  <a16:creationId xmlns:a16="http://schemas.microsoft.com/office/drawing/2014/main" id="{A2563552-BB36-4826-845F-A4462C8D05DE}"/>
                </a:ext>
              </a:extLst>
            </p:cNvPr>
            <p:cNvSpPr/>
            <p:nvPr/>
          </p:nvSpPr>
          <p:spPr>
            <a:xfrm flipH="1">
              <a:off x="415108" y="36368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4" name="Oval 13">
              <a:extLst>
                <a:ext uri="{FF2B5EF4-FFF2-40B4-BE49-F238E27FC236}">
                  <a16:creationId xmlns:a16="http://schemas.microsoft.com/office/drawing/2014/main" id="{D90A746A-EC6F-4FD0-8CDE-F1BD4B12AC35}"/>
                </a:ext>
              </a:extLst>
            </p:cNvPr>
            <p:cNvSpPr/>
            <p:nvPr/>
          </p:nvSpPr>
          <p:spPr bwMode="auto">
            <a:xfrm>
              <a:off x="465138" y="368858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4</a:t>
              </a:r>
              <a:endParaRPr lang="en-IN" sz="2400" b="1" dirty="0" err="1">
                <a:solidFill>
                  <a:schemeClr val="bg1"/>
                </a:solidFill>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1BC358B8-7C62-45EB-B201-5D48042FE43F}"/>
              </a:ext>
            </a:extLst>
          </p:cNvPr>
          <p:cNvGrpSpPr/>
          <p:nvPr/>
        </p:nvGrpSpPr>
        <p:grpSpPr>
          <a:xfrm>
            <a:off x="415108" y="5007016"/>
            <a:ext cx="644072" cy="644072"/>
            <a:chOff x="415108" y="4436928"/>
            <a:chExt cx="644072" cy="644072"/>
          </a:xfrm>
        </p:grpSpPr>
        <p:sp>
          <p:nvSpPr>
            <p:cNvPr id="8" name="Arc 7">
              <a:extLst>
                <a:ext uri="{FF2B5EF4-FFF2-40B4-BE49-F238E27FC236}">
                  <a16:creationId xmlns:a16="http://schemas.microsoft.com/office/drawing/2014/main" id="{489D318B-E214-41A3-948B-3B2816076EE5}"/>
                </a:ext>
              </a:extLst>
            </p:cNvPr>
            <p:cNvSpPr/>
            <p:nvPr/>
          </p:nvSpPr>
          <p:spPr>
            <a:xfrm>
              <a:off x="415108" y="44369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5" name="Oval 14">
              <a:extLst>
                <a:ext uri="{FF2B5EF4-FFF2-40B4-BE49-F238E27FC236}">
                  <a16:creationId xmlns:a16="http://schemas.microsoft.com/office/drawing/2014/main" id="{814CDCA6-6600-4B64-92FC-9DAA79FE725A}"/>
                </a:ext>
              </a:extLst>
            </p:cNvPr>
            <p:cNvSpPr/>
            <p:nvPr/>
          </p:nvSpPr>
          <p:spPr bwMode="auto">
            <a:xfrm>
              <a:off x="465138" y="448925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5</a:t>
              </a:r>
              <a:endParaRPr lang="en-IN" sz="2400" b="1" dirty="0" err="1">
                <a:solidFill>
                  <a:schemeClr val="bg1"/>
                </a:solidFill>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6C72E031-A80F-47B9-A07B-3DE9FFB9FA88}"/>
              </a:ext>
            </a:extLst>
          </p:cNvPr>
          <p:cNvGrpSpPr/>
          <p:nvPr/>
        </p:nvGrpSpPr>
        <p:grpSpPr>
          <a:xfrm>
            <a:off x="415108" y="5949640"/>
            <a:ext cx="644072" cy="644072"/>
            <a:chOff x="415108" y="5237028"/>
            <a:chExt cx="644072" cy="644072"/>
          </a:xfrm>
        </p:grpSpPr>
        <p:sp>
          <p:nvSpPr>
            <p:cNvPr id="9" name="Arc 8">
              <a:extLst>
                <a:ext uri="{FF2B5EF4-FFF2-40B4-BE49-F238E27FC236}">
                  <a16:creationId xmlns:a16="http://schemas.microsoft.com/office/drawing/2014/main" id="{5832FDA0-03F4-4243-9517-B5EF70116A6C}"/>
                </a:ext>
              </a:extLst>
            </p:cNvPr>
            <p:cNvSpPr/>
            <p:nvPr/>
          </p:nvSpPr>
          <p:spPr>
            <a:xfrm flipH="1">
              <a:off x="415108" y="52370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6" name="Oval 15">
              <a:extLst>
                <a:ext uri="{FF2B5EF4-FFF2-40B4-BE49-F238E27FC236}">
                  <a16:creationId xmlns:a16="http://schemas.microsoft.com/office/drawing/2014/main" id="{960375EA-8F79-4735-B7EB-4E02784C52C6}"/>
                </a:ext>
              </a:extLst>
            </p:cNvPr>
            <p:cNvSpPr/>
            <p:nvPr/>
          </p:nvSpPr>
          <p:spPr bwMode="auto">
            <a:xfrm>
              <a:off x="465138" y="528993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6</a:t>
              </a:r>
              <a:endParaRPr lang="en-IN" sz="2400" b="1" dirty="0" err="1">
                <a:solidFill>
                  <a:schemeClr val="bg1"/>
                </a:solidFill>
                <a:ea typeface="Segoe UI" pitchFamily="34" charset="0"/>
                <a:cs typeface="Segoe UI" pitchFamily="34" charset="0"/>
              </a:endParaRPr>
            </a:p>
          </p:txBody>
        </p:sp>
      </p:grpSp>
      <p:sp>
        <p:nvSpPr>
          <p:cNvPr id="18" name="Rectangle 17">
            <a:extLst>
              <a:ext uri="{FF2B5EF4-FFF2-40B4-BE49-F238E27FC236}">
                <a16:creationId xmlns:a16="http://schemas.microsoft.com/office/drawing/2014/main" id="{BDA49E01-0E95-4903-A017-9A8D1F0F5D2B}"/>
              </a:ext>
            </a:extLst>
          </p:cNvPr>
          <p:cNvSpPr/>
          <p:nvPr/>
        </p:nvSpPr>
        <p:spPr>
          <a:xfrm>
            <a:off x="1257524" y="1336965"/>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Customers that pay you annually</a:t>
            </a:r>
          </a:p>
        </p:txBody>
      </p:sp>
      <p:sp>
        <p:nvSpPr>
          <p:cNvPr id="19" name="Rectangle 18">
            <a:extLst>
              <a:ext uri="{FF2B5EF4-FFF2-40B4-BE49-F238E27FC236}">
                <a16:creationId xmlns:a16="http://schemas.microsoft.com/office/drawing/2014/main" id="{C76D02CB-EC28-494A-A37C-A540BAC46A6C}"/>
              </a:ext>
            </a:extLst>
          </p:cNvPr>
          <p:cNvSpPr/>
          <p:nvPr/>
        </p:nvSpPr>
        <p:spPr>
          <a:xfrm>
            <a:off x="1257524" y="2279587"/>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Customers that want more elasticity</a:t>
            </a:r>
          </a:p>
        </p:txBody>
      </p:sp>
      <p:sp>
        <p:nvSpPr>
          <p:cNvPr id="20" name="Rectangle 19">
            <a:extLst>
              <a:ext uri="{FF2B5EF4-FFF2-40B4-BE49-F238E27FC236}">
                <a16:creationId xmlns:a16="http://schemas.microsoft.com/office/drawing/2014/main" id="{8252A6FE-9F36-4F7B-AD83-998C75077896}"/>
              </a:ext>
            </a:extLst>
          </p:cNvPr>
          <p:cNvSpPr/>
          <p:nvPr/>
        </p:nvSpPr>
        <p:spPr>
          <a:xfrm>
            <a:off x="1257524" y="3017249"/>
            <a:ext cx="10771688" cy="88639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Customers with own licenses for Windows Server and SQL Server</a:t>
            </a:r>
          </a:p>
        </p:txBody>
      </p:sp>
      <p:sp>
        <p:nvSpPr>
          <p:cNvPr id="21" name="Rectangle 20">
            <a:extLst>
              <a:ext uri="{FF2B5EF4-FFF2-40B4-BE49-F238E27FC236}">
                <a16:creationId xmlns:a16="http://schemas.microsoft.com/office/drawing/2014/main" id="{90244BFC-BB0A-4579-912A-76E453906452}"/>
              </a:ext>
            </a:extLst>
          </p:cNvPr>
          <p:cNvSpPr/>
          <p:nvPr/>
        </p:nvSpPr>
        <p:spPr>
          <a:xfrm>
            <a:off x="1257524" y="4164831"/>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Enterprise customers with specific compliance requirements</a:t>
            </a:r>
          </a:p>
        </p:txBody>
      </p:sp>
      <p:sp>
        <p:nvSpPr>
          <p:cNvPr id="22" name="Rectangle 21">
            <a:extLst>
              <a:ext uri="{FF2B5EF4-FFF2-40B4-BE49-F238E27FC236}">
                <a16:creationId xmlns:a16="http://schemas.microsoft.com/office/drawing/2014/main" id="{C2FDC632-BB13-4248-922B-4D36293CAD1D}"/>
              </a:ext>
            </a:extLst>
          </p:cNvPr>
          <p:cNvSpPr/>
          <p:nvPr/>
        </p:nvSpPr>
        <p:spPr>
          <a:xfrm>
            <a:off x="1257524" y="5107453"/>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Customers that are interested in geo-expansion</a:t>
            </a:r>
          </a:p>
        </p:txBody>
      </p:sp>
      <p:sp>
        <p:nvSpPr>
          <p:cNvPr id="23" name="Rectangle 22">
            <a:extLst>
              <a:ext uri="{FF2B5EF4-FFF2-40B4-BE49-F238E27FC236}">
                <a16:creationId xmlns:a16="http://schemas.microsoft.com/office/drawing/2014/main" id="{0EDF73C5-5A6C-423E-81D4-DDB438B6F6BE}"/>
              </a:ext>
            </a:extLst>
          </p:cNvPr>
          <p:cNvSpPr/>
          <p:nvPr/>
        </p:nvSpPr>
        <p:spPr>
          <a:xfrm>
            <a:off x="1257524" y="5882329"/>
            <a:ext cx="10771688" cy="88639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Customers that want to use rich public cloud service portfolio and go beyond IaaS</a:t>
            </a:r>
          </a:p>
        </p:txBody>
      </p:sp>
      <p:cxnSp>
        <p:nvCxnSpPr>
          <p:cNvPr id="25" name="Straight Connector 24">
            <a:extLst>
              <a:ext uri="{FF2B5EF4-FFF2-40B4-BE49-F238E27FC236}">
                <a16:creationId xmlns:a16="http://schemas.microsoft.com/office/drawing/2014/main" id="{F4BA46E1-6E7F-4A5C-AABF-BB709CB82E6E}"/>
              </a:ext>
            </a:extLst>
          </p:cNvPr>
          <p:cNvCxnSpPr>
            <a:cxnSpLocks/>
            <a:endCxn id="4" idx="0"/>
          </p:cNvCxnSpPr>
          <p:nvPr/>
        </p:nvCxnSpPr>
        <p:spPr>
          <a:xfrm>
            <a:off x="0" y="1236528"/>
            <a:ext cx="73714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A8C4717-E4CC-4834-BEF1-5FE7A00DD12F}"/>
              </a:ext>
            </a:extLst>
          </p:cNvPr>
          <p:cNvCxnSpPr/>
          <p:nvPr/>
        </p:nvCxnSpPr>
        <p:spPr>
          <a:xfrm>
            <a:off x="1257524" y="2029875"/>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BE95850-FC96-4B8B-9901-ADED94CF3019}"/>
              </a:ext>
            </a:extLst>
          </p:cNvPr>
          <p:cNvCxnSpPr/>
          <p:nvPr/>
        </p:nvCxnSpPr>
        <p:spPr>
          <a:xfrm>
            <a:off x="1257524" y="2972497"/>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4067C8E-2622-4D04-8B49-B646A6BA4338}"/>
              </a:ext>
            </a:extLst>
          </p:cNvPr>
          <p:cNvCxnSpPr/>
          <p:nvPr/>
        </p:nvCxnSpPr>
        <p:spPr>
          <a:xfrm>
            <a:off x="1257524" y="3915119"/>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D7B5861-1652-409F-84A8-5DD93A19BC25}"/>
              </a:ext>
            </a:extLst>
          </p:cNvPr>
          <p:cNvCxnSpPr/>
          <p:nvPr/>
        </p:nvCxnSpPr>
        <p:spPr>
          <a:xfrm>
            <a:off x="1257524" y="4857741"/>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1B9FDFE-A498-491B-ADA8-70A0D2828187}"/>
              </a:ext>
            </a:extLst>
          </p:cNvPr>
          <p:cNvCxnSpPr/>
          <p:nvPr/>
        </p:nvCxnSpPr>
        <p:spPr>
          <a:xfrm>
            <a:off x="1257524" y="5800363"/>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922865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A13D9-2BBB-42BD-9B09-69579C340083}"/>
              </a:ext>
            </a:extLst>
          </p:cNvPr>
          <p:cNvSpPr>
            <a:spLocks noGrp="1"/>
          </p:cNvSpPr>
          <p:nvPr>
            <p:ph type="title"/>
          </p:nvPr>
        </p:nvSpPr>
        <p:spPr/>
        <p:txBody>
          <a:bodyPr/>
          <a:lstStyle/>
          <a:p>
            <a:r>
              <a:rPr lang="en-US" dirty="0"/>
              <a:t>Right Workloads</a:t>
            </a:r>
            <a:endParaRPr lang="en-IN" dirty="0"/>
          </a:p>
        </p:txBody>
      </p:sp>
      <p:cxnSp>
        <p:nvCxnSpPr>
          <p:cNvPr id="4" name="Straight Connector 3">
            <a:extLst>
              <a:ext uri="{FF2B5EF4-FFF2-40B4-BE49-F238E27FC236}">
                <a16:creationId xmlns:a16="http://schemas.microsoft.com/office/drawing/2014/main" id="{685CFA9C-EDF9-4B52-B011-8537164CE97A}"/>
              </a:ext>
            </a:extLst>
          </p:cNvPr>
          <p:cNvCxnSpPr>
            <a:cxnSpLocks/>
            <a:endCxn id="7" idx="4"/>
          </p:cNvCxnSpPr>
          <p:nvPr/>
        </p:nvCxnSpPr>
        <p:spPr>
          <a:xfrm flipV="1">
            <a:off x="737144" y="1830569"/>
            <a:ext cx="0" cy="5163956"/>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DB78BDFA-A879-4639-A912-40F084D0F54B}"/>
              </a:ext>
            </a:extLst>
          </p:cNvPr>
          <p:cNvGrpSpPr/>
          <p:nvPr/>
        </p:nvGrpSpPr>
        <p:grpSpPr>
          <a:xfrm>
            <a:off x="415108" y="1236528"/>
            <a:ext cx="644072" cy="644072"/>
            <a:chOff x="415108" y="1236528"/>
            <a:chExt cx="644072" cy="644072"/>
          </a:xfrm>
        </p:grpSpPr>
        <p:sp>
          <p:nvSpPr>
            <p:cNvPr id="6" name="Arc 5">
              <a:extLst>
                <a:ext uri="{FF2B5EF4-FFF2-40B4-BE49-F238E27FC236}">
                  <a16:creationId xmlns:a16="http://schemas.microsoft.com/office/drawing/2014/main" id="{E6C7226C-6430-4002-817A-3D721C07371C}"/>
                </a:ext>
              </a:extLst>
            </p:cNvPr>
            <p:cNvSpPr/>
            <p:nvPr/>
          </p:nvSpPr>
          <p:spPr>
            <a:xfrm>
              <a:off x="415108" y="12365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7" name="Oval 6">
              <a:extLst>
                <a:ext uri="{FF2B5EF4-FFF2-40B4-BE49-F238E27FC236}">
                  <a16:creationId xmlns:a16="http://schemas.microsoft.com/office/drawing/2014/main" id="{0A703C33-0B0F-4509-90E3-9CA7C51DFEBF}"/>
                </a:ext>
              </a:extLst>
            </p:cNvPr>
            <p:cNvSpPr/>
            <p:nvPr/>
          </p:nvSpPr>
          <p:spPr bwMode="auto">
            <a:xfrm>
              <a:off x="465138" y="128655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1</a:t>
              </a:r>
              <a:endParaRPr lang="en-IN" sz="2400" b="1" dirty="0" err="1">
                <a:solidFill>
                  <a:schemeClr val="bg1"/>
                </a:solidFill>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66EC31F3-3C83-449E-B7B7-1F6FFB8A4B70}"/>
              </a:ext>
            </a:extLst>
          </p:cNvPr>
          <p:cNvGrpSpPr/>
          <p:nvPr/>
        </p:nvGrpSpPr>
        <p:grpSpPr>
          <a:xfrm>
            <a:off x="415108" y="2179150"/>
            <a:ext cx="644072" cy="644072"/>
            <a:chOff x="415108" y="2036628"/>
            <a:chExt cx="644072" cy="644072"/>
          </a:xfrm>
        </p:grpSpPr>
        <p:sp>
          <p:nvSpPr>
            <p:cNvPr id="9" name="Arc 8">
              <a:extLst>
                <a:ext uri="{FF2B5EF4-FFF2-40B4-BE49-F238E27FC236}">
                  <a16:creationId xmlns:a16="http://schemas.microsoft.com/office/drawing/2014/main" id="{F5C3E2FD-8EF4-473F-8DA4-3687697FF311}"/>
                </a:ext>
              </a:extLst>
            </p:cNvPr>
            <p:cNvSpPr/>
            <p:nvPr/>
          </p:nvSpPr>
          <p:spPr>
            <a:xfrm flipH="1">
              <a:off x="415108" y="20366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0" name="Oval 9">
              <a:extLst>
                <a:ext uri="{FF2B5EF4-FFF2-40B4-BE49-F238E27FC236}">
                  <a16:creationId xmlns:a16="http://schemas.microsoft.com/office/drawing/2014/main" id="{DAA5EEFA-D573-4D89-B998-89013DB020AF}"/>
                </a:ext>
              </a:extLst>
            </p:cNvPr>
            <p:cNvSpPr/>
            <p:nvPr/>
          </p:nvSpPr>
          <p:spPr bwMode="auto">
            <a:xfrm>
              <a:off x="465138" y="208723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2</a:t>
              </a:r>
              <a:endParaRPr lang="en-IN" sz="2400" b="1" dirty="0" err="1">
                <a:solidFill>
                  <a:schemeClr val="bg1"/>
                </a:solidFill>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50759CFE-68D1-4300-BB0C-F00A4CF3C01A}"/>
              </a:ext>
            </a:extLst>
          </p:cNvPr>
          <p:cNvGrpSpPr/>
          <p:nvPr/>
        </p:nvGrpSpPr>
        <p:grpSpPr>
          <a:xfrm>
            <a:off x="415108" y="3121772"/>
            <a:ext cx="644072" cy="644072"/>
            <a:chOff x="415108" y="2836728"/>
            <a:chExt cx="644072" cy="644072"/>
          </a:xfrm>
        </p:grpSpPr>
        <p:sp>
          <p:nvSpPr>
            <p:cNvPr id="12" name="Arc 11">
              <a:extLst>
                <a:ext uri="{FF2B5EF4-FFF2-40B4-BE49-F238E27FC236}">
                  <a16:creationId xmlns:a16="http://schemas.microsoft.com/office/drawing/2014/main" id="{9D9C886D-8514-4282-B7E8-FFFFF3DEAC7A}"/>
                </a:ext>
              </a:extLst>
            </p:cNvPr>
            <p:cNvSpPr/>
            <p:nvPr/>
          </p:nvSpPr>
          <p:spPr>
            <a:xfrm>
              <a:off x="415108" y="28367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3" name="Oval 12">
              <a:extLst>
                <a:ext uri="{FF2B5EF4-FFF2-40B4-BE49-F238E27FC236}">
                  <a16:creationId xmlns:a16="http://schemas.microsoft.com/office/drawing/2014/main" id="{22E45FAF-88C5-4EF9-8FA7-6A6EB20FD958}"/>
                </a:ext>
              </a:extLst>
            </p:cNvPr>
            <p:cNvSpPr/>
            <p:nvPr/>
          </p:nvSpPr>
          <p:spPr bwMode="auto">
            <a:xfrm>
              <a:off x="465138" y="288790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3</a:t>
              </a:r>
              <a:endParaRPr lang="en-IN" sz="2400" b="1" dirty="0" err="1">
                <a:solidFill>
                  <a:schemeClr val="bg1"/>
                </a:solidFill>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D852D31B-29DD-4CE5-9E26-114F06B49FF6}"/>
              </a:ext>
            </a:extLst>
          </p:cNvPr>
          <p:cNvGrpSpPr/>
          <p:nvPr/>
        </p:nvGrpSpPr>
        <p:grpSpPr>
          <a:xfrm>
            <a:off x="415108" y="4064394"/>
            <a:ext cx="644072" cy="644072"/>
            <a:chOff x="415108" y="3636828"/>
            <a:chExt cx="644072" cy="644072"/>
          </a:xfrm>
        </p:grpSpPr>
        <p:sp>
          <p:nvSpPr>
            <p:cNvPr id="15" name="Arc 14">
              <a:extLst>
                <a:ext uri="{FF2B5EF4-FFF2-40B4-BE49-F238E27FC236}">
                  <a16:creationId xmlns:a16="http://schemas.microsoft.com/office/drawing/2014/main" id="{E7B88C1A-4161-4D5F-A922-D562C981A7FB}"/>
                </a:ext>
              </a:extLst>
            </p:cNvPr>
            <p:cNvSpPr/>
            <p:nvPr/>
          </p:nvSpPr>
          <p:spPr>
            <a:xfrm flipH="1">
              <a:off x="415108" y="36368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6" name="Oval 15">
              <a:extLst>
                <a:ext uri="{FF2B5EF4-FFF2-40B4-BE49-F238E27FC236}">
                  <a16:creationId xmlns:a16="http://schemas.microsoft.com/office/drawing/2014/main" id="{DB39657C-C474-4FD0-8940-41EFBB1879D5}"/>
                </a:ext>
              </a:extLst>
            </p:cNvPr>
            <p:cNvSpPr/>
            <p:nvPr/>
          </p:nvSpPr>
          <p:spPr bwMode="auto">
            <a:xfrm>
              <a:off x="465138" y="368858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4</a:t>
              </a:r>
              <a:endParaRPr lang="en-IN" sz="2400" b="1" dirty="0" err="1">
                <a:solidFill>
                  <a:schemeClr val="bg1"/>
                </a:solidFill>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8B52D8F0-4DAF-4197-A7F1-0C9AD96FABBA}"/>
              </a:ext>
            </a:extLst>
          </p:cNvPr>
          <p:cNvGrpSpPr/>
          <p:nvPr/>
        </p:nvGrpSpPr>
        <p:grpSpPr>
          <a:xfrm>
            <a:off x="415108" y="5007016"/>
            <a:ext cx="644072" cy="644072"/>
            <a:chOff x="415108" y="4436928"/>
            <a:chExt cx="644072" cy="644072"/>
          </a:xfrm>
        </p:grpSpPr>
        <p:sp>
          <p:nvSpPr>
            <p:cNvPr id="18" name="Arc 17">
              <a:extLst>
                <a:ext uri="{FF2B5EF4-FFF2-40B4-BE49-F238E27FC236}">
                  <a16:creationId xmlns:a16="http://schemas.microsoft.com/office/drawing/2014/main" id="{E28B9787-6B2C-4E42-BE5A-09302AFA5352}"/>
                </a:ext>
              </a:extLst>
            </p:cNvPr>
            <p:cNvSpPr/>
            <p:nvPr/>
          </p:nvSpPr>
          <p:spPr>
            <a:xfrm>
              <a:off x="415108" y="44369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9" name="Oval 18">
              <a:extLst>
                <a:ext uri="{FF2B5EF4-FFF2-40B4-BE49-F238E27FC236}">
                  <a16:creationId xmlns:a16="http://schemas.microsoft.com/office/drawing/2014/main" id="{730AC349-FA8A-4FCE-8E3A-9F39DFFF3A6F}"/>
                </a:ext>
              </a:extLst>
            </p:cNvPr>
            <p:cNvSpPr/>
            <p:nvPr/>
          </p:nvSpPr>
          <p:spPr bwMode="auto">
            <a:xfrm>
              <a:off x="465138" y="448925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5</a:t>
              </a:r>
              <a:endParaRPr lang="en-IN" sz="2400" b="1" dirty="0" err="1">
                <a:solidFill>
                  <a:schemeClr val="bg1"/>
                </a:solidFill>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034E2DE4-F0BD-464B-BED1-66ED4ADB2AF2}"/>
              </a:ext>
            </a:extLst>
          </p:cNvPr>
          <p:cNvGrpSpPr/>
          <p:nvPr/>
        </p:nvGrpSpPr>
        <p:grpSpPr>
          <a:xfrm>
            <a:off x="415108" y="5949640"/>
            <a:ext cx="644072" cy="644072"/>
            <a:chOff x="415108" y="5237028"/>
            <a:chExt cx="644072" cy="644072"/>
          </a:xfrm>
        </p:grpSpPr>
        <p:sp>
          <p:nvSpPr>
            <p:cNvPr id="21" name="Arc 20">
              <a:extLst>
                <a:ext uri="{FF2B5EF4-FFF2-40B4-BE49-F238E27FC236}">
                  <a16:creationId xmlns:a16="http://schemas.microsoft.com/office/drawing/2014/main" id="{9C7334BE-418A-4562-9FDD-9A9C4872EF89}"/>
                </a:ext>
              </a:extLst>
            </p:cNvPr>
            <p:cNvSpPr/>
            <p:nvPr/>
          </p:nvSpPr>
          <p:spPr>
            <a:xfrm flipH="1">
              <a:off x="415108" y="52370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22" name="Oval 21">
              <a:extLst>
                <a:ext uri="{FF2B5EF4-FFF2-40B4-BE49-F238E27FC236}">
                  <a16:creationId xmlns:a16="http://schemas.microsoft.com/office/drawing/2014/main" id="{5C7139C6-7E6C-4DDE-887A-A9A1D179F8C2}"/>
                </a:ext>
              </a:extLst>
            </p:cNvPr>
            <p:cNvSpPr/>
            <p:nvPr/>
          </p:nvSpPr>
          <p:spPr bwMode="auto">
            <a:xfrm>
              <a:off x="465138" y="528993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6</a:t>
              </a:r>
              <a:endParaRPr lang="en-IN" sz="2400" b="1" dirty="0" err="1">
                <a:solidFill>
                  <a:schemeClr val="bg1"/>
                </a:solidFill>
                <a:ea typeface="Segoe UI" pitchFamily="34" charset="0"/>
                <a:cs typeface="Segoe UI" pitchFamily="34" charset="0"/>
              </a:endParaRPr>
            </a:p>
          </p:txBody>
        </p:sp>
      </p:grpSp>
      <p:sp>
        <p:nvSpPr>
          <p:cNvPr id="23" name="Rectangle 22">
            <a:extLst>
              <a:ext uri="{FF2B5EF4-FFF2-40B4-BE49-F238E27FC236}">
                <a16:creationId xmlns:a16="http://schemas.microsoft.com/office/drawing/2014/main" id="{E40B4CA0-0691-40E9-A01F-C705A9D34789}"/>
              </a:ext>
            </a:extLst>
          </p:cNvPr>
          <p:cNvSpPr/>
          <p:nvPr/>
        </p:nvSpPr>
        <p:spPr>
          <a:xfrm>
            <a:off x="1257524" y="1336965"/>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Workloads that can benefit from running not 24/7</a:t>
            </a:r>
          </a:p>
        </p:txBody>
      </p:sp>
      <p:sp>
        <p:nvSpPr>
          <p:cNvPr id="24" name="Rectangle 23">
            <a:extLst>
              <a:ext uri="{FF2B5EF4-FFF2-40B4-BE49-F238E27FC236}">
                <a16:creationId xmlns:a16="http://schemas.microsoft.com/office/drawing/2014/main" id="{1AC9EA97-F94E-4960-B97A-E4F595E0AA03}"/>
              </a:ext>
            </a:extLst>
          </p:cNvPr>
          <p:cNvSpPr/>
          <p:nvPr/>
        </p:nvSpPr>
        <p:spPr>
          <a:xfrm>
            <a:off x="1257524" y="2279587"/>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Business-critical workloads, running 24/7</a:t>
            </a:r>
          </a:p>
        </p:txBody>
      </p:sp>
      <p:sp>
        <p:nvSpPr>
          <p:cNvPr id="25" name="Rectangle 24">
            <a:extLst>
              <a:ext uri="{FF2B5EF4-FFF2-40B4-BE49-F238E27FC236}">
                <a16:creationId xmlns:a16="http://schemas.microsoft.com/office/drawing/2014/main" id="{C0F2244F-4ACD-429C-B968-37203C6A36BA}"/>
              </a:ext>
            </a:extLst>
          </p:cNvPr>
          <p:cNvSpPr/>
          <p:nvPr/>
        </p:nvSpPr>
        <p:spPr>
          <a:xfrm>
            <a:off x="1257524" y="3252698"/>
            <a:ext cx="10771688" cy="4154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Windows-based workloads</a:t>
            </a:r>
          </a:p>
        </p:txBody>
      </p:sp>
      <p:sp>
        <p:nvSpPr>
          <p:cNvPr id="26" name="Rectangle 25">
            <a:extLst>
              <a:ext uri="{FF2B5EF4-FFF2-40B4-BE49-F238E27FC236}">
                <a16:creationId xmlns:a16="http://schemas.microsoft.com/office/drawing/2014/main" id="{1145E62D-CA55-4F31-AB14-BA67F19ACABF}"/>
              </a:ext>
            </a:extLst>
          </p:cNvPr>
          <p:cNvSpPr/>
          <p:nvPr/>
        </p:nvSpPr>
        <p:spPr>
          <a:xfrm>
            <a:off x="1257524" y="4164831"/>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SQL Server DBs</a:t>
            </a:r>
          </a:p>
        </p:txBody>
      </p:sp>
      <p:sp>
        <p:nvSpPr>
          <p:cNvPr id="27" name="Rectangle 26">
            <a:extLst>
              <a:ext uri="{FF2B5EF4-FFF2-40B4-BE49-F238E27FC236}">
                <a16:creationId xmlns:a16="http://schemas.microsoft.com/office/drawing/2014/main" id="{22ACB2E1-F254-458D-B8DC-2973F5C9D549}"/>
              </a:ext>
            </a:extLst>
          </p:cNvPr>
          <p:cNvSpPr/>
          <p:nvPr/>
        </p:nvSpPr>
        <p:spPr>
          <a:xfrm>
            <a:off x="1257524" y="5107453"/>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Heavy web apps</a:t>
            </a:r>
          </a:p>
        </p:txBody>
      </p:sp>
      <p:sp>
        <p:nvSpPr>
          <p:cNvPr id="28" name="Rectangle 27">
            <a:extLst>
              <a:ext uri="{FF2B5EF4-FFF2-40B4-BE49-F238E27FC236}">
                <a16:creationId xmlns:a16="http://schemas.microsoft.com/office/drawing/2014/main" id="{50EBBD5A-AF5E-48A6-96FE-58F1A4BD3641}"/>
              </a:ext>
            </a:extLst>
          </p:cNvPr>
          <p:cNvSpPr/>
          <p:nvPr/>
        </p:nvSpPr>
        <p:spPr>
          <a:xfrm>
            <a:off x="1257524" y="6117778"/>
            <a:ext cx="10771688" cy="4154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Stateless workloads, that can be containerized</a:t>
            </a:r>
          </a:p>
        </p:txBody>
      </p:sp>
      <p:cxnSp>
        <p:nvCxnSpPr>
          <p:cNvPr id="29" name="Straight Connector 28">
            <a:extLst>
              <a:ext uri="{FF2B5EF4-FFF2-40B4-BE49-F238E27FC236}">
                <a16:creationId xmlns:a16="http://schemas.microsoft.com/office/drawing/2014/main" id="{04C48768-47C5-4330-BB52-0FB92CBC1896}"/>
              </a:ext>
            </a:extLst>
          </p:cNvPr>
          <p:cNvCxnSpPr>
            <a:cxnSpLocks/>
            <a:endCxn id="6" idx="0"/>
          </p:cNvCxnSpPr>
          <p:nvPr/>
        </p:nvCxnSpPr>
        <p:spPr>
          <a:xfrm>
            <a:off x="0" y="1236528"/>
            <a:ext cx="73714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E64F40E-C164-402C-A2D3-418F5853E9F9}"/>
              </a:ext>
            </a:extLst>
          </p:cNvPr>
          <p:cNvCxnSpPr/>
          <p:nvPr/>
        </p:nvCxnSpPr>
        <p:spPr>
          <a:xfrm>
            <a:off x="1257524" y="2029875"/>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2E7A696-7E47-42E4-BD98-2CF0CDEF7AE7}"/>
              </a:ext>
            </a:extLst>
          </p:cNvPr>
          <p:cNvCxnSpPr/>
          <p:nvPr/>
        </p:nvCxnSpPr>
        <p:spPr>
          <a:xfrm>
            <a:off x="1257524" y="2972497"/>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418B199-F538-4610-B35C-887C6BC838B8}"/>
              </a:ext>
            </a:extLst>
          </p:cNvPr>
          <p:cNvCxnSpPr/>
          <p:nvPr/>
        </p:nvCxnSpPr>
        <p:spPr>
          <a:xfrm>
            <a:off x="1257524" y="3915119"/>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D55A684-97B0-4795-9D0C-9A3588B6045D}"/>
              </a:ext>
            </a:extLst>
          </p:cNvPr>
          <p:cNvCxnSpPr/>
          <p:nvPr/>
        </p:nvCxnSpPr>
        <p:spPr>
          <a:xfrm>
            <a:off x="1257524" y="4857741"/>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4F4E86E-7854-4993-B6A5-B4EB6658B698}"/>
              </a:ext>
            </a:extLst>
          </p:cNvPr>
          <p:cNvCxnSpPr/>
          <p:nvPr/>
        </p:nvCxnSpPr>
        <p:spPr>
          <a:xfrm>
            <a:off x="1257524" y="5800363"/>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821059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Bu1aqxrXkCxZC6sLuJIHw"/>
</p:tagLst>
</file>

<file path=ppt/theme/theme1.xml><?xml version="1.0" encoding="utf-8"?>
<a:theme xmlns:a="http://schemas.openxmlformats.org/drawingml/2006/main" name="3_WHITE TEMPLATE">
  <a:themeElements>
    <a:clrScheme name="Win 2016">
      <a:dk1>
        <a:srgbClr val="002050"/>
      </a:dk1>
      <a:lt1>
        <a:srgbClr val="FFFFFF"/>
      </a:lt1>
      <a:dk2>
        <a:srgbClr val="505050"/>
      </a:dk2>
      <a:lt2>
        <a:srgbClr val="0078D7"/>
      </a:lt2>
      <a:accent1>
        <a:srgbClr val="002050"/>
      </a:accent1>
      <a:accent2>
        <a:srgbClr val="0078D7"/>
      </a:accent2>
      <a:accent3>
        <a:srgbClr val="00BCF2"/>
      </a:accent3>
      <a:accent4>
        <a:srgbClr val="505050"/>
      </a:accent4>
      <a:accent5>
        <a:srgbClr val="737373"/>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75000"/>
            </a:schemeClr>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FF400E18DBE449B1933769BB01003B" ma:contentTypeVersion="4" ma:contentTypeDescription="Create a new document." ma:contentTypeScope="" ma:versionID="ef031bd5c291066380211378c182750f">
  <xsd:schema xmlns:xsd="http://www.w3.org/2001/XMLSchema" xmlns:xs="http://www.w3.org/2001/XMLSchema" xmlns:p="http://schemas.microsoft.com/office/2006/metadata/properties" xmlns:ns2="c562dace-07c3-4841-a4b9-f4d0620b55f2" targetNamespace="http://schemas.microsoft.com/office/2006/metadata/properties" ma:root="true" ma:fieldsID="e87f60c7b3dc1d8ba66bedba6838f37e" ns2:_="">
    <xsd:import namespace="c562dace-07c3-4841-a4b9-f4d0620b55f2"/>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62dace-07c3-4841-a4b9-f4d0620b55f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hidden="true" ma:internalName="LastSharedByUser" ma:readOnly="true">
      <xsd:simpleType>
        <xsd:restriction base="dms:Note"/>
      </xsd:simpleType>
    </xsd:element>
    <xsd:element name="LastSharedByTime" ma:index="11"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8552ECA-3229-4E88-8ED0-8D34319ACBEC}">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c562dace-07c3-4841-a4b9-f4d0620b55f2"/>
    <ds:schemaRef ds:uri="http://www.w3.org/XML/1998/namespace"/>
    <ds:schemaRef ds:uri="http://purl.org/dc/dcmitype/"/>
  </ds:schemaRefs>
</ds:datastoreItem>
</file>

<file path=customXml/itemProps2.xml><?xml version="1.0" encoding="utf-8"?>
<ds:datastoreItem xmlns:ds="http://schemas.openxmlformats.org/officeDocument/2006/customXml" ds:itemID="{6EAEB442-D7A0-411F-8A97-8D9CDB191C9A}">
  <ds:schemaRefs>
    <ds:schemaRef ds:uri="http://schemas.microsoft.com/sharepoint/v3/contenttype/forms"/>
  </ds:schemaRefs>
</ds:datastoreItem>
</file>

<file path=customXml/itemProps3.xml><?xml version="1.0" encoding="utf-8"?>
<ds:datastoreItem xmlns:ds="http://schemas.openxmlformats.org/officeDocument/2006/customXml" ds:itemID="{CF3EE004-4DE9-43A1-BA98-AC6398B542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62dace-07c3-4841-a4b9-f4d0620b55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7449</Words>
  <Application>Microsoft Office PowerPoint</Application>
  <PresentationFormat>Custom</PresentationFormat>
  <Paragraphs>1293</Paragraphs>
  <Slides>76</Slides>
  <Notes>37</Notes>
  <HiddenSlides>17</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76</vt:i4>
      </vt:variant>
    </vt:vector>
  </HeadingPairs>
  <TitlesOfParts>
    <vt:vector size="92" baseType="lpstr">
      <vt:lpstr>MS PGothic</vt:lpstr>
      <vt:lpstr>MS PGothic</vt:lpstr>
      <vt:lpstr>Arial</vt:lpstr>
      <vt:lpstr>Calibri</vt:lpstr>
      <vt:lpstr>Consolas</vt:lpstr>
      <vt:lpstr>Courier New</vt:lpstr>
      <vt:lpstr>Engravers MT</vt:lpstr>
      <vt:lpstr>Segoe Light</vt:lpstr>
      <vt:lpstr>Segoe UI</vt:lpstr>
      <vt:lpstr>Segoe UI Light</vt:lpstr>
      <vt:lpstr>Segoe UI Semibold</vt:lpstr>
      <vt:lpstr>Segoe UI Semilight</vt:lpstr>
      <vt:lpstr>Times New Roman</vt:lpstr>
      <vt:lpstr>Wingdings</vt:lpstr>
      <vt:lpstr>3_WHITE TEMPLATE</vt:lpstr>
      <vt:lpstr>CorelDRAW</vt:lpstr>
      <vt:lpstr>Datacenter Migration Journey Overview</vt:lpstr>
      <vt:lpstr>Workshop Agenda</vt:lpstr>
      <vt:lpstr>Datacenter Migration Journey</vt:lpstr>
      <vt:lpstr>What are Customers looking to migrate  to the Cloud?</vt:lpstr>
      <vt:lpstr>Two options to consider</vt:lpstr>
      <vt:lpstr>CSP Direct Partners get</vt:lpstr>
      <vt:lpstr>Demo: Azure Calculator for CSP Partners</vt:lpstr>
      <vt:lpstr>Right customers for migration</vt:lpstr>
      <vt:lpstr>Right Workloads</vt:lpstr>
      <vt:lpstr>Migration Plan v1</vt:lpstr>
      <vt:lpstr>Azure in CSP model</vt:lpstr>
      <vt:lpstr>Cloud Solution Provider (CSP) – Innovative Business model for Microsoft Partners</vt:lpstr>
      <vt:lpstr>Azure in CSP enables Partners to…</vt:lpstr>
      <vt:lpstr>One program, two different Business Models</vt:lpstr>
      <vt:lpstr>Partner Center Portal</vt:lpstr>
      <vt:lpstr>Selling Azure through CSP </vt:lpstr>
      <vt:lpstr>Demo: Partner Center</vt:lpstr>
      <vt:lpstr>Azure CSP Practices</vt:lpstr>
      <vt:lpstr>Microsoft doesn’t provide any support to CSP Customers</vt:lpstr>
      <vt:lpstr>Technical support for Azure services</vt:lpstr>
      <vt:lpstr>Support options for CSP Partners</vt:lpstr>
      <vt:lpstr>Pricing and billing of Azure services</vt:lpstr>
      <vt:lpstr>Possible integrations</vt:lpstr>
      <vt:lpstr>Azure IaaS</vt:lpstr>
      <vt:lpstr>PowerPoint Presentation</vt:lpstr>
      <vt:lpstr>Core Components of Azure IaaS </vt:lpstr>
      <vt:lpstr>Virtual Machines</vt:lpstr>
      <vt:lpstr>Compute Options for all Types of Apps</vt:lpstr>
      <vt:lpstr>…from Entry-level to Storage Optimized…</vt:lpstr>
      <vt:lpstr>…from Memory Optimized to HPC</vt:lpstr>
      <vt:lpstr>Leverage Azure Marketplace</vt:lpstr>
      <vt:lpstr>VM Scale Sets</vt:lpstr>
      <vt:lpstr>Why VM Scale Sets?</vt:lpstr>
      <vt:lpstr>Azure Batch </vt:lpstr>
      <vt:lpstr>Azure Container Service</vt:lpstr>
      <vt:lpstr>Azure Container Instances</vt:lpstr>
      <vt:lpstr>Azure App Service</vt:lpstr>
      <vt:lpstr>Microsoft Global Network</vt:lpstr>
      <vt:lpstr>Robust Networking Infrastructure Services </vt:lpstr>
      <vt:lpstr>Connectivity to Azure</vt:lpstr>
      <vt:lpstr>Connectivity within Azure</vt:lpstr>
      <vt:lpstr>Azure Storage Services</vt:lpstr>
      <vt:lpstr>What are Managed Disks?</vt:lpstr>
      <vt:lpstr>Managed Disks – Best Practices</vt:lpstr>
      <vt:lpstr>Azure Database Services</vt:lpstr>
      <vt:lpstr>Why Azure SQL Managed Instance?</vt:lpstr>
      <vt:lpstr>What is SQL Database Managed Instance? DBaaS designed to for all SQL Server applications</vt:lpstr>
      <vt:lpstr>Managed Instance: Unmatched PaaS Capabilities</vt:lpstr>
      <vt:lpstr>How to Choose Between PaaS and IaaS?</vt:lpstr>
      <vt:lpstr>Some Apps don’t need Managed Instance</vt:lpstr>
      <vt:lpstr>Managed Instance: Destination for Even the Most Demanding Applications</vt:lpstr>
      <vt:lpstr>Full Security &amp; Isolation</vt:lpstr>
      <vt:lpstr>Nearly 100% Compatibility with SQL Server</vt:lpstr>
      <vt:lpstr>Migration: Version compatibility</vt:lpstr>
      <vt:lpstr>Reliable and seamless migrations Azure Database Migration Service (DMS) </vt:lpstr>
      <vt:lpstr>Migration: SSIS/SSAS/SSRS</vt:lpstr>
      <vt:lpstr>SSIS PaaS Service (In Preview)</vt:lpstr>
      <vt:lpstr>Demo: Migrate Easily to Managed Instance</vt:lpstr>
      <vt:lpstr>DATA CDN for your Edge  Geo-Replication to edges of your deployments</vt:lpstr>
      <vt:lpstr>SQL Azure Data Sync (v2) Keep data up-to-date across all SQL databases Distributed Applications</vt:lpstr>
      <vt:lpstr>Seamless Cloud Integration  Easy lift-and-shift, integrate and distribute</vt:lpstr>
      <vt:lpstr>Azure is the most economical destination for SQL Workloads*</vt:lpstr>
      <vt:lpstr>Applying Azure hybrid benefit for SQL Server</vt:lpstr>
      <vt:lpstr>High-Virtualization benefit for AHB for SQL Server</vt:lpstr>
      <vt:lpstr>Azure Database for MySQL/PostgreSQL/MariaDB Managed community version of MySQL, PostgreSQL, and MariaDB</vt:lpstr>
      <vt:lpstr>Migration Technics</vt:lpstr>
      <vt:lpstr>Migration Approaches</vt:lpstr>
      <vt:lpstr>Uploading large amounts of data to Azure</vt:lpstr>
      <vt:lpstr>Migration Assessment</vt:lpstr>
      <vt:lpstr>VM assessment with Cloudamize</vt:lpstr>
      <vt:lpstr>Database Assessment With DMA</vt:lpstr>
      <vt:lpstr>Building V2 of the Migration Plan</vt:lpstr>
      <vt:lpstr>Execute the Migration Plan</vt:lpstr>
      <vt:lpstr>Best Practic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CM Migration Overview</dc:title>
  <dc:creator/>
  <cp:lastModifiedBy/>
  <cp:revision>1</cp:revision>
  <dcterms:modified xsi:type="dcterms:W3CDTF">2018-06-07T18:3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FF400E18DBE449B1933769BB01003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kirilk@microsoft.com</vt:lpwstr>
  </property>
  <property fmtid="{D5CDD505-2E9C-101B-9397-08002B2CF9AE}" pid="6" name="MSIP_Label_f42aa342-8706-4288-bd11-ebb85995028c_SetDate">
    <vt:lpwstr>2017-11-07T22:11:45.4023127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